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3.xml" ContentType="application/vnd.openxmlformats-officedocument.theme+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4.xml" ContentType="application/vnd.openxmlformats-officedocument.theme+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5.xml" ContentType="application/vnd.openxmlformats-officedocument.theme+xml"/>
  <Override PartName="/ppt/tags/tag967.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6.xml" ContentType="application/vnd.openxmlformats-officedocument.theme+xml"/>
  <Override PartName="/ppt/tags/tag968.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7.xml" ContentType="application/vnd.openxmlformats-officedocument.theme+xml"/>
  <Override PartName="/ppt/tags/tag969.xml" ContentType="application/vnd.openxmlformats-officedocument.presentationml.tags+xml"/>
  <Override PartName="/ppt/theme/theme8.xml" ContentType="application/vnd.openxmlformats-officedocument.theme+xml"/>
  <Override PartName="/ppt/tags/tag970.xml" ContentType="application/vnd.openxmlformats-officedocument.presentationml.tags+xml"/>
  <Override PartName="/ppt/notesSlides/notesSlide1.xml" ContentType="application/vnd.openxmlformats-officedocument.presentationml.notesSlide+xml"/>
  <Override PartName="/ppt/tags/tag97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72.xml" ContentType="application/vnd.openxmlformats-officedocument.presentationml.tags+xml"/>
  <Override PartName="/ppt/notesSlides/notesSlide4.xml" ContentType="application/vnd.openxmlformats-officedocument.presentationml.notesSlide+xml"/>
  <Override PartName="/ppt/tags/tag973.xml" ContentType="application/vnd.openxmlformats-officedocument.presentationml.tags+xml"/>
  <Override PartName="/ppt/notesSlides/notesSlide5.xml" ContentType="application/vnd.openxmlformats-officedocument.presentationml.notesSlide+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tags/tag988.xml" ContentType="application/vnd.openxmlformats-officedocument.presentationml.tags+xml"/>
  <Override PartName="/ppt/notesSlides/notesSlide7.xml" ContentType="application/vnd.openxmlformats-officedocument.presentationml.notesSlide+xml"/>
  <Override PartName="/ppt/tags/tag989.xml" ContentType="application/vnd.openxmlformats-officedocument.presentationml.tags+xml"/>
  <Override PartName="/ppt/notesSlides/notesSlide8.xml" ContentType="application/vnd.openxmlformats-officedocument.presentationml.notesSlide+xml"/>
  <Override PartName="/ppt/tags/tag990.xml" ContentType="application/vnd.openxmlformats-officedocument.presentationml.tags+xml"/>
  <Override PartName="/ppt/notesSlides/notesSlide9.xml" ContentType="application/vnd.openxmlformats-officedocument.presentationml.notesSlide+xml"/>
  <Override PartName="/ppt/tags/tag991.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notesSlides/notesSlide11.xml" ContentType="application/vnd.openxmlformats-officedocument.presentationml.notesSlide+xml"/>
  <Override PartName="/ppt/charts/chart4.xml" ContentType="application/vnd.openxmlformats-officedocument.drawingml.chart+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16.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017.xml" ContentType="application/vnd.openxmlformats-officedocument.presentationml.tags+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018.xml" ContentType="application/vnd.openxmlformats-officedocument.presentationml.tags+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019.xml" ContentType="application/vnd.openxmlformats-officedocument.presentationml.tags+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notesSlides/notesSlide1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043.xml" ContentType="application/vnd.openxmlformats-officedocument.presentationml.tags+xml"/>
  <Override PartName="/ppt/notesSlides/notesSlide17.xml" ContentType="application/vnd.openxmlformats-officedocument.presentationml.notesSlide+xml"/>
  <Override PartName="/ppt/tags/tag104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3" r:id="rId38"/>
    <p:sldMasterId id="2147483705" r:id="rId39"/>
    <p:sldMasterId id="2147483737" r:id="rId40"/>
    <p:sldMasterId id="2147483773" r:id="rId41"/>
    <p:sldMasterId id="2147483807" r:id="rId42"/>
    <p:sldMasterId id="2147483873" r:id="rId43"/>
    <p:sldMasterId id="2147483924" r:id="rId44"/>
  </p:sldMasterIdLst>
  <p:notesMasterIdLst>
    <p:notesMasterId r:id="rId70"/>
  </p:notesMasterIdLst>
  <p:sldIdLst>
    <p:sldId id="5149" r:id="rId45"/>
    <p:sldId id="2147348039" r:id="rId46"/>
    <p:sldId id="257" r:id="rId47"/>
    <p:sldId id="2147348022" r:id="rId48"/>
    <p:sldId id="2147348059" r:id="rId49"/>
    <p:sldId id="2147348065" r:id="rId50"/>
    <p:sldId id="2147348048" r:id="rId51"/>
    <p:sldId id="2147348063" r:id="rId52"/>
    <p:sldId id="2147348034" r:id="rId53"/>
    <p:sldId id="2147348033" r:id="rId54"/>
    <p:sldId id="2147348024" r:id="rId55"/>
    <p:sldId id="2147348036" r:id="rId56"/>
    <p:sldId id="2147348061" r:id="rId57"/>
    <p:sldId id="2147348032" r:id="rId58"/>
    <p:sldId id="2147348031" r:id="rId59"/>
    <p:sldId id="2147348013" r:id="rId60"/>
    <p:sldId id="2147348035" r:id="rId61"/>
    <p:sldId id="2147348060" r:id="rId62"/>
    <p:sldId id="2147348029" r:id="rId63"/>
    <p:sldId id="2147348003" r:id="rId64"/>
    <p:sldId id="2147348044" r:id="rId65"/>
    <p:sldId id="2147347998" r:id="rId66"/>
    <p:sldId id="2147347988" r:id="rId67"/>
    <p:sldId id="2147348043" r:id="rId68"/>
    <p:sldId id="272" r:id="rId69"/>
  </p:sldIdLst>
  <p:sldSz cx="12192000" cy="6858000"/>
  <p:notesSz cx="6858000" cy="9144000"/>
  <p:custDataLst>
    <p:custData r:id="rId37"/>
    <p:tags r:id="rId7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EDB918-7E87-4231-A64C-AB7052EC6950}">
          <p14:sldIdLst>
            <p14:sldId id="5149"/>
            <p14:sldId id="2147348039"/>
            <p14:sldId id="257"/>
            <p14:sldId id="2147348022"/>
            <p14:sldId id="2147348059"/>
            <p14:sldId id="2147348065"/>
            <p14:sldId id="2147348048"/>
            <p14:sldId id="2147348063"/>
            <p14:sldId id="2147348034"/>
            <p14:sldId id="2147348033"/>
            <p14:sldId id="2147348024"/>
            <p14:sldId id="2147348036"/>
            <p14:sldId id="2147348061"/>
            <p14:sldId id="2147348032"/>
            <p14:sldId id="2147348031"/>
            <p14:sldId id="2147348013"/>
            <p14:sldId id="2147348035"/>
            <p14:sldId id="2147348060"/>
            <p14:sldId id="2147348029"/>
            <p14:sldId id="2147348003"/>
            <p14:sldId id="2147348044"/>
            <p14:sldId id="2147347998"/>
            <p14:sldId id="2147347988"/>
            <p14:sldId id="2147348043"/>
            <p14:sldId id="27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A678BF-F811-C8E3-B016-BC15B7D237D6}" name="Shubhojeet Chakravarty (IN)" initials="S(" userId="S::shubhojeet.chakravarty@pwc.com::4e3963b2-2d3d-4185-a1e3-131fb8bedf7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0505"/>
    <a:srgbClr val="F9D5D2"/>
    <a:srgbClr val="BB2740"/>
    <a:srgbClr val="464646"/>
    <a:srgbClr val="C00000"/>
    <a:srgbClr val="FFE9C8"/>
    <a:srgbClr val="D04A02"/>
    <a:srgbClr val="000000"/>
    <a:srgbClr val="FFB600"/>
    <a:srgbClr val="DB53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Master" Target="slideMasters/slideMaster2.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slideMaster" Target="slideMasters/slideMaster5.xml"/><Relationship Id="rId47" Type="http://schemas.openxmlformats.org/officeDocument/2006/relationships/slide" Target="slides/slide3.xml"/><Relationship Id="rId50" Type="http://schemas.openxmlformats.org/officeDocument/2006/relationships/slide" Target="slides/slide6.xml"/><Relationship Id="rId55" Type="http://schemas.openxmlformats.org/officeDocument/2006/relationships/slide" Target="slides/slide11.xml"/><Relationship Id="rId63" Type="http://schemas.openxmlformats.org/officeDocument/2006/relationships/slide" Target="slides/slide19.xml"/><Relationship Id="rId68" Type="http://schemas.openxmlformats.org/officeDocument/2006/relationships/slide" Target="slides/slide24.xml"/><Relationship Id="rId76" Type="http://schemas.microsoft.com/office/2016/11/relationships/changesInfo" Target="changesInfos/changesInfo1.xml"/><Relationship Id="rId7" Type="http://schemas.openxmlformats.org/officeDocument/2006/relationships/customXml" Target="../customXml/item7.xml"/><Relationship Id="rId71"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slideMaster" Target="slideMasters/slideMaster3.xml"/><Relationship Id="rId45" Type="http://schemas.openxmlformats.org/officeDocument/2006/relationships/slide" Target="slides/slide1.xml"/><Relationship Id="rId53" Type="http://schemas.openxmlformats.org/officeDocument/2006/relationships/slide" Target="slides/slide9.xml"/><Relationship Id="rId58" Type="http://schemas.openxmlformats.org/officeDocument/2006/relationships/slide" Target="slides/slide14.xml"/><Relationship Id="rId66" Type="http://schemas.openxmlformats.org/officeDocument/2006/relationships/slide" Target="slides/slide22.xml"/><Relationship Id="rId7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5.xml"/><Relationship Id="rId57" Type="http://schemas.openxmlformats.org/officeDocument/2006/relationships/slide" Target="slides/slide13.xml"/><Relationship Id="rId61" Type="http://schemas.openxmlformats.org/officeDocument/2006/relationships/slide" Target="slides/slide17.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Master" Target="slideMasters/slideMaster7.xml"/><Relationship Id="rId52" Type="http://schemas.openxmlformats.org/officeDocument/2006/relationships/slide" Target="slides/slide8.xml"/><Relationship Id="rId60" Type="http://schemas.openxmlformats.org/officeDocument/2006/relationships/slide" Target="slides/slide16.xml"/><Relationship Id="rId65" Type="http://schemas.openxmlformats.org/officeDocument/2006/relationships/slide" Target="slides/slide21.xml"/><Relationship Id="rId73"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Master" Target="slideMasters/slideMaster6.xml"/><Relationship Id="rId48" Type="http://schemas.openxmlformats.org/officeDocument/2006/relationships/slide" Target="slides/slide4.xml"/><Relationship Id="rId56" Type="http://schemas.openxmlformats.org/officeDocument/2006/relationships/slide" Target="slides/slide12.xml"/><Relationship Id="rId64" Type="http://schemas.openxmlformats.org/officeDocument/2006/relationships/slide" Target="slides/slide20.xml"/><Relationship Id="rId69" Type="http://schemas.openxmlformats.org/officeDocument/2006/relationships/slide" Target="slides/slide25.xml"/><Relationship Id="rId77" Type="http://schemas.microsoft.com/office/2018/10/relationships/authors" Target="authors.xml"/><Relationship Id="rId8" Type="http://schemas.openxmlformats.org/officeDocument/2006/relationships/customXml" Target="../customXml/item8.xml"/><Relationship Id="rId51" Type="http://schemas.openxmlformats.org/officeDocument/2006/relationships/slide" Target="slides/slide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Master" Target="slideMasters/slideMaster1.xml"/><Relationship Id="rId46" Type="http://schemas.openxmlformats.org/officeDocument/2006/relationships/slide" Target="slides/slide2.xml"/><Relationship Id="rId59" Type="http://schemas.openxmlformats.org/officeDocument/2006/relationships/slide" Target="slides/slide15.xml"/><Relationship Id="rId67" Type="http://schemas.openxmlformats.org/officeDocument/2006/relationships/slide" Target="slides/slide23.xml"/><Relationship Id="rId20" Type="http://schemas.openxmlformats.org/officeDocument/2006/relationships/customXml" Target="../customXml/item20.xml"/><Relationship Id="rId41" Type="http://schemas.openxmlformats.org/officeDocument/2006/relationships/slideMaster" Target="slideMasters/slideMaster4.xml"/><Relationship Id="rId54" Type="http://schemas.openxmlformats.org/officeDocument/2006/relationships/slide" Target="slides/slide10.xml"/><Relationship Id="rId62" Type="http://schemas.openxmlformats.org/officeDocument/2006/relationships/slide" Target="slides/slide18.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inglan Hu" userId="61035392-b8e6-43fa-b39d-a05287957c90" providerId="ADAL" clId="{CEF7E2A8-73A4-4690-8985-26CCE759EB60}"/>
    <pc:docChg chg="undo custSel modSld">
      <pc:chgData name="Xinglan Hu" userId="61035392-b8e6-43fa-b39d-a05287957c90" providerId="ADAL" clId="{CEF7E2A8-73A4-4690-8985-26CCE759EB60}" dt="2023-09-05T05:58:33.719" v="96" actId="20577"/>
      <pc:docMkLst>
        <pc:docMk/>
      </pc:docMkLst>
      <pc:sldChg chg="modSp mod">
        <pc:chgData name="Xinglan Hu" userId="61035392-b8e6-43fa-b39d-a05287957c90" providerId="ADAL" clId="{CEF7E2A8-73A4-4690-8985-26CCE759EB60}" dt="2023-09-05T05:47:07.597" v="11" actId="20577"/>
        <pc:sldMkLst>
          <pc:docMk/>
          <pc:sldMk cId="0" sldId="257"/>
        </pc:sldMkLst>
        <pc:spChg chg="mod">
          <ac:chgData name="Xinglan Hu" userId="61035392-b8e6-43fa-b39d-a05287957c90" providerId="ADAL" clId="{CEF7E2A8-73A4-4690-8985-26CCE759EB60}" dt="2023-09-05T05:46:49.925" v="3" actId="20577"/>
          <ac:spMkLst>
            <pc:docMk/>
            <pc:sldMk cId="0" sldId="257"/>
            <ac:spMk id="26" creationId="{E90608CF-2B67-4E7F-9B70-F539F438F144}"/>
          </ac:spMkLst>
        </pc:spChg>
        <pc:spChg chg="mod">
          <ac:chgData name="Xinglan Hu" userId="61035392-b8e6-43fa-b39d-a05287957c90" providerId="ADAL" clId="{CEF7E2A8-73A4-4690-8985-26CCE759EB60}" dt="2023-09-05T05:47:00.584" v="7" actId="20577"/>
          <ac:spMkLst>
            <pc:docMk/>
            <pc:sldMk cId="0" sldId="257"/>
            <ac:spMk id="30" creationId="{C9AB18D2-031E-4451-8CDB-5C35ABCCBF57}"/>
          </ac:spMkLst>
        </pc:spChg>
        <pc:spChg chg="mod">
          <ac:chgData name="Xinglan Hu" userId="61035392-b8e6-43fa-b39d-a05287957c90" providerId="ADAL" clId="{CEF7E2A8-73A4-4690-8985-26CCE759EB60}" dt="2023-09-05T05:47:07.597" v="11" actId="20577"/>
          <ac:spMkLst>
            <pc:docMk/>
            <pc:sldMk cId="0" sldId="257"/>
            <ac:spMk id="38" creationId="{EC0C8A2B-23B8-411E-9435-6C49090456EE}"/>
          </ac:spMkLst>
        </pc:spChg>
        <pc:spChg chg="mod">
          <ac:chgData name="Xinglan Hu" userId="61035392-b8e6-43fa-b39d-a05287957c90" providerId="ADAL" clId="{CEF7E2A8-73A4-4690-8985-26CCE759EB60}" dt="2023-09-05T05:46:54.695" v="5" actId="20577"/>
          <ac:spMkLst>
            <pc:docMk/>
            <pc:sldMk cId="0" sldId="257"/>
            <ac:spMk id="39" creationId="{C191A723-D20E-431A-B531-EA05667C76ED}"/>
          </ac:spMkLst>
        </pc:spChg>
        <pc:spChg chg="mod">
          <ac:chgData name="Xinglan Hu" userId="61035392-b8e6-43fa-b39d-a05287957c90" providerId="ADAL" clId="{CEF7E2A8-73A4-4690-8985-26CCE759EB60}" dt="2023-09-05T05:46:46.785" v="1" actId="20577"/>
          <ac:spMkLst>
            <pc:docMk/>
            <pc:sldMk cId="0" sldId="257"/>
            <ac:spMk id="71" creationId="{5E08A3F0-2CD2-4E62-9783-0F492F274868}"/>
          </ac:spMkLst>
        </pc:spChg>
        <pc:spChg chg="mod">
          <ac:chgData name="Xinglan Hu" userId="61035392-b8e6-43fa-b39d-a05287957c90" providerId="ADAL" clId="{CEF7E2A8-73A4-4690-8985-26CCE759EB60}" dt="2023-09-05T05:47:03.754" v="9" actId="20577"/>
          <ac:spMkLst>
            <pc:docMk/>
            <pc:sldMk cId="0" sldId="257"/>
            <ac:spMk id="73" creationId="{387A40F4-096E-4D27-AB75-BEC21287E1FC}"/>
          </ac:spMkLst>
        </pc:spChg>
      </pc:sldChg>
      <pc:sldChg chg="modSp mod">
        <pc:chgData name="Xinglan Hu" userId="61035392-b8e6-43fa-b39d-a05287957c90" providerId="ADAL" clId="{CEF7E2A8-73A4-4690-8985-26CCE759EB60}" dt="2023-09-05T05:58:33.719" v="96" actId="20577"/>
        <pc:sldMkLst>
          <pc:docMk/>
          <pc:sldMk cId="2952679768" sldId="272"/>
        </pc:sldMkLst>
        <pc:spChg chg="mod">
          <ac:chgData name="Xinglan Hu" userId="61035392-b8e6-43fa-b39d-a05287957c90" providerId="ADAL" clId="{CEF7E2A8-73A4-4690-8985-26CCE759EB60}" dt="2023-09-05T05:58:33.719" v="96" actId="20577"/>
          <ac:spMkLst>
            <pc:docMk/>
            <pc:sldMk cId="2952679768" sldId="272"/>
            <ac:spMk id="2" creationId="{00000000-0000-0000-0000-000000000000}"/>
          </ac:spMkLst>
        </pc:spChg>
      </pc:sldChg>
      <pc:sldChg chg="modSp mod">
        <pc:chgData name="Xinglan Hu" userId="61035392-b8e6-43fa-b39d-a05287957c90" providerId="ADAL" clId="{CEF7E2A8-73A4-4690-8985-26CCE759EB60}" dt="2023-09-05T05:52:24.739" v="84" actId="20577"/>
        <pc:sldMkLst>
          <pc:docMk/>
          <pc:sldMk cId="1408224408" sldId="2147347988"/>
        </pc:sldMkLst>
        <pc:spChg chg="mod">
          <ac:chgData name="Xinglan Hu" userId="61035392-b8e6-43fa-b39d-a05287957c90" providerId="ADAL" clId="{CEF7E2A8-73A4-4690-8985-26CCE759EB60}" dt="2023-09-05T05:52:24.739" v="84" actId="20577"/>
          <ac:spMkLst>
            <pc:docMk/>
            <pc:sldMk cId="1408224408" sldId="2147347988"/>
            <ac:spMk id="37" creationId="{7A8A06F4-EDC1-4CC3-9433-DDBAAC98CF3B}"/>
          </ac:spMkLst>
        </pc:spChg>
        <pc:spChg chg="mod">
          <ac:chgData name="Xinglan Hu" userId="61035392-b8e6-43fa-b39d-a05287957c90" providerId="ADAL" clId="{CEF7E2A8-73A4-4690-8985-26CCE759EB60}" dt="2023-09-05T05:51:44.812" v="77" actId="20577"/>
          <ac:spMkLst>
            <pc:docMk/>
            <pc:sldMk cId="1408224408" sldId="2147347988"/>
            <ac:spMk id="79" creationId="{1AB6B992-7EFE-47E7-B708-6DFE940955CF}"/>
          </ac:spMkLst>
        </pc:spChg>
        <pc:spChg chg="mod">
          <ac:chgData name="Xinglan Hu" userId="61035392-b8e6-43fa-b39d-a05287957c90" providerId="ADAL" clId="{CEF7E2A8-73A4-4690-8985-26CCE759EB60}" dt="2023-09-05T05:52:11.192" v="82" actId="20577"/>
          <ac:spMkLst>
            <pc:docMk/>
            <pc:sldMk cId="1408224408" sldId="2147347988"/>
            <ac:spMk id="102" creationId="{EF4C357A-B4D8-47D0-A983-0CB72DC650C5}"/>
          </ac:spMkLst>
        </pc:spChg>
        <pc:spChg chg="mod">
          <ac:chgData name="Xinglan Hu" userId="61035392-b8e6-43fa-b39d-a05287957c90" providerId="ADAL" clId="{CEF7E2A8-73A4-4690-8985-26CCE759EB60}" dt="2023-09-05T05:51:48.123" v="78" actId="20577"/>
          <ac:spMkLst>
            <pc:docMk/>
            <pc:sldMk cId="1408224408" sldId="2147347988"/>
            <ac:spMk id="104" creationId="{8FFFF3EC-3024-4556-AFD2-B893441DFBBF}"/>
          </ac:spMkLst>
        </pc:spChg>
      </pc:sldChg>
      <pc:sldChg chg="modSp mod">
        <pc:chgData name="Xinglan Hu" userId="61035392-b8e6-43fa-b39d-a05287957c90" providerId="ADAL" clId="{CEF7E2A8-73A4-4690-8985-26CCE759EB60}" dt="2023-09-05T05:57:42.225" v="88" actId="20577"/>
        <pc:sldMkLst>
          <pc:docMk/>
          <pc:sldMk cId="323040935" sldId="2147348022"/>
        </pc:sldMkLst>
        <pc:spChg chg="mod">
          <ac:chgData name="Xinglan Hu" userId="61035392-b8e6-43fa-b39d-a05287957c90" providerId="ADAL" clId="{CEF7E2A8-73A4-4690-8985-26CCE759EB60}" dt="2023-09-05T05:57:42.225" v="88" actId="20577"/>
          <ac:spMkLst>
            <pc:docMk/>
            <pc:sldMk cId="323040935" sldId="2147348022"/>
            <ac:spMk id="8" creationId="{F2379AA2-ED46-4BD9-A397-5BBD93295767}"/>
          </ac:spMkLst>
        </pc:spChg>
      </pc:sldChg>
      <pc:sldChg chg="modSp mod">
        <pc:chgData name="Xinglan Hu" userId="61035392-b8e6-43fa-b39d-a05287957c90" providerId="ADAL" clId="{CEF7E2A8-73A4-4690-8985-26CCE759EB60}" dt="2023-09-05T05:50:37.799" v="62" actId="20577"/>
        <pc:sldMkLst>
          <pc:docMk/>
          <pc:sldMk cId="1209487091" sldId="2147348031"/>
        </pc:sldMkLst>
        <pc:spChg chg="mod">
          <ac:chgData name="Xinglan Hu" userId="61035392-b8e6-43fa-b39d-a05287957c90" providerId="ADAL" clId="{CEF7E2A8-73A4-4690-8985-26CCE759EB60}" dt="2023-09-05T05:50:37.799" v="62" actId="20577"/>
          <ac:spMkLst>
            <pc:docMk/>
            <pc:sldMk cId="1209487091" sldId="2147348031"/>
            <ac:spMk id="50" creationId="{00000000-0000-0000-0000-000000000000}"/>
          </ac:spMkLst>
        </pc:spChg>
      </pc:sldChg>
      <pc:sldChg chg="modSp mod">
        <pc:chgData name="Xinglan Hu" userId="61035392-b8e6-43fa-b39d-a05287957c90" providerId="ADAL" clId="{CEF7E2A8-73A4-4690-8985-26CCE759EB60}" dt="2023-09-05T05:50:17.091" v="54" actId="20577"/>
        <pc:sldMkLst>
          <pc:docMk/>
          <pc:sldMk cId="2289842308" sldId="2147348032"/>
        </pc:sldMkLst>
        <pc:spChg chg="mod">
          <ac:chgData name="Xinglan Hu" userId="61035392-b8e6-43fa-b39d-a05287957c90" providerId="ADAL" clId="{CEF7E2A8-73A4-4690-8985-26CCE759EB60}" dt="2023-09-05T05:50:17.091" v="54" actId="20577"/>
          <ac:spMkLst>
            <pc:docMk/>
            <pc:sldMk cId="2289842308" sldId="2147348032"/>
            <ac:spMk id="50" creationId="{00000000-0000-0000-0000-000000000000}"/>
          </ac:spMkLst>
        </pc:spChg>
      </pc:sldChg>
      <pc:sldChg chg="modSp mod">
        <pc:chgData name="Xinglan Hu" userId="61035392-b8e6-43fa-b39d-a05287957c90" providerId="ADAL" clId="{CEF7E2A8-73A4-4690-8985-26CCE759EB60}" dt="2023-09-05T05:48:38.172" v="37" actId="20577"/>
        <pc:sldMkLst>
          <pc:docMk/>
          <pc:sldMk cId="172032320" sldId="2147348033"/>
        </pc:sldMkLst>
        <pc:spChg chg="mod">
          <ac:chgData name="Xinglan Hu" userId="61035392-b8e6-43fa-b39d-a05287957c90" providerId="ADAL" clId="{CEF7E2A8-73A4-4690-8985-26CCE759EB60}" dt="2023-09-05T05:48:38.172" v="37" actId="20577"/>
          <ac:spMkLst>
            <pc:docMk/>
            <pc:sldMk cId="172032320" sldId="2147348033"/>
            <ac:spMk id="50" creationId="{00000000-0000-0000-0000-000000000000}"/>
          </ac:spMkLst>
        </pc:spChg>
      </pc:sldChg>
      <pc:sldChg chg="modSp mod">
        <pc:chgData name="Xinglan Hu" userId="61035392-b8e6-43fa-b39d-a05287957c90" providerId="ADAL" clId="{CEF7E2A8-73A4-4690-8985-26CCE759EB60}" dt="2023-09-05T05:48:27.498" v="35" actId="20577"/>
        <pc:sldMkLst>
          <pc:docMk/>
          <pc:sldMk cId="3538977937" sldId="2147348034"/>
        </pc:sldMkLst>
        <pc:spChg chg="mod">
          <ac:chgData name="Xinglan Hu" userId="61035392-b8e6-43fa-b39d-a05287957c90" providerId="ADAL" clId="{CEF7E2A8-73A4-4690-8985-26CCE759EB60}" dt="2023-09-05T05:48:27.498" v="35" actId="20577"/>
          <ac:spMkLst>
            <pc:docMk/>
            <pc:sldMk cId="3538977937" sldId="2147348034"/>
            <ac:spMk id="50" creationId="{00000000-0000-0000-0000-000000000000}"/>
          </ac:spMkLst>
        </pc:spChg>
      </pc:sldChg>
      <pc:sldChg chg="modSp mod">
        <pc:chgData name="Xinglan Hu" userId="61035392-b8e6-43fa-b39d-a05287957c90" providerId="ADAL" clId="{CEF7E2A8-73A4-4690-8985-26CCE759EB60}" dt="2023-09-05T05:49:00.387" v="44" actId="20577"/>
        <pc:sldMkLst>
          <pc:docMk/>
          <pc:sldMk cId="3961152223" sldId="2147348036"/>
        </pc:sldMkLst>
        <pc:spChg chg="mod">
          <ac:chgData name="Xinglan Hu" userId="61035392-b8e6-43fa-b39d-a05287957c90" providerId="ADAL" clId="{CEF7E2A8-73A4-4690-8985-26CCE759EB60}" dt="2023-09-05T05:49:00.387" v="44" actId="20577"/>
          <ac:spMkLst>
            <pc:docMk/>
            <pc:sldMk cId="3961152223" sldId="2147348036"/>
            <ac:spMk id="2" creationId="{B5FF7BFF-3987-4659-B09E-27AED13D7865}"/>
          </ac:spMkLst>
        </pc:spChg>
      </pc:sldChg>
      <pc:sldChg chg="modSp mod">
        <pc:chgData name="Xinglan Hu" userId="61035392-b8e6-43fa-b39d-a05287957c90" providerId="ADAL" clId="{CEF7E2A8-73A4-4690-8985-26CCE759EB60}" dt="2023-09-05T05:57:34.230" v="86" actId="20577"/>
        <pc:sldMkLst>
          <pc:docMk/>
          <pc:sldMk cId="3552410287" sldId="2147348039"/>
        </pc:sldMkLst>
        <pc:spChg chg="mod">
          <ac:chgData name="Xinglan Hu" userId="61035392-b8e6-43fa-b39d-a05287957c90" providerId="ADAL" clId="{CEF7E2A8-73A4-4690-8985-26CCE759EB60}" dt="2023-09-05T05:57:34.230" v="86" actId="20577"/>
          <ac:spMkLst>
            <pc:docMk/>
            <pc:sldMk cId="3552410287" sldId="2147348039"/>
            <ac:spMk id="45" creationId="{1E1BF9E0-F2E1-471B-B392-102A7AFBDF00}"/>
          </ac:spMkLst>
        </pc:spChg>
      </pc:sldChg>
      <pc:sldChg chg="modSp mod">
        <pc:chgData name="Xinglan Hu" userId="61035392-b8e6-43fa-b39d-a05287957c90" providerId="ADAL" clId="{CEF7E2A8-73A4-4690-8985-26CCE759EB60}" dt="2023-09-05T05:58:29.029" v="94" actId="20577"/>
        <pc:sldMkLst>
          <pc:docMk/>
          <pc:sldMk cId="1236100640" sldId="2147348043"/>
        </pc:sldMkLst>
        <pc:spChg chg="mod">
          <ac:chgData name="Xinglan Hu" userId="61035392-b8e6-43fa-b39d-a05287957c90" providerId="ADAL" clId="{CEF7E2A8-73A4-4690-8985-26CCE759EB60}" dt="2023-09-05T05:58:29.029" v="94" actId="20577"/>
          <ac:spMkLst>
            <pc:docMk/>
            <pc:sldMk cId="1236100640" sldId="2147348043"/>
            <ac:spMk id="8" creationId="{F2379AA2-ED46-4BD9-A397-5BBD93295767}"/>
          </ac:spMkLst>
        </pc:spChg>
      </pc:sldChg>
      <pc:sldChg chg="modSp mod">
        <pc:chgData name="Xinglan Hu" userId="61035392-b8e6-43fa-b39d-a05287957c90" providerId="ADAL" clId="{CEF7E2A8-73A4-4690-8985-26CCE759EB60}" dt="2023-09-05T05:57:56.868" v="90" actId="20577"/>
        <pc:sldMkLst>
          <pc:docMk/>
          <pc:sldMk cId="153918991" sldId="2147348048"/>
        </pc:sldMkLst>
        <pc:spChg chg="mod">
          <ac:chgData name="Xinglan Hu" userId="61035392-b8e6-43fa-b39d-a05287957c90" providerId="ADAL" clId="{CEF7E2A8-73A4-4690-8985-26CCE759EB60}" dt="2023-09-05T05:57:56.868" v="90" actId="20577"/>
          <ac:spMkLst>
            <pc:docMk/>
            <pc:sldMk cId="153918991" sldId="2147348048"/>
            <ac:spMk id="8" creationId="{F2379AA2-ED46-4BD9-A397-5BBD93295767}"/>
          </ac:spMkLst>
        </pc:spChg>
      </pc:sldChg>
      <pc:sldChg chg="modSp mod">
        <pc:chgData name="Xinglan Hu" userId="61035392-b8e6-43fa-b39d-a05287957c90" providerId="ADAL" clId="{CEF7E2A8-73A4-4690-8985-26CCE759EB60}" dt="2023-09-05T05:47:26.784" v="17" actId="20577"/>
        <pc:sldMkLst>
          <pc:docMk/>
          <pc:sldMk cId="1139591385" sldId="2147348059"/>
        </pc:sldMkLst>
        <pc:spChg chg="mod">
          <ac:chgData name="Xinglan Hu" userId="61035392-b8e6-43fa-b39d-a05287957c90" providerId="ADAL" clId="{CEF7E2A8-73A4-4690-8985-26CCE759EB60}" dt="2023-09-05T05:47:26.784" v="17" actId="20577"/>
          <ac:spMkLst>
            <pc:docMk/>
            <pc:sldMk cId="1139591385" sldId="2147348059"/>
            <ac:spMk id="50" creationId="{00000000-0000-0000-0000-000000000000}"/>
          </ac:spMkLst>
        </pc:spChg>
      </pc:sldChg>
      <pc:sldChg chg="modSp mod">
        <pc:chgData name="Xinglan Hu" userId="61035392-b8e6-43fa-b39d-a05287957c90" providerId="ADAL" clId="{CEF7E2A8-73A4-4690-8985-26CCE759EB60}" dt="2023-09-05T05:51:05.881" v="72" actId="20577"/>
        <pc:sldMkLst>
          <pc:docMk/>
          <pc:sldMk cId="1221196610" sldId="2147348060"/>
        </pc:sldMkLst>
        <pc:spChg chg="mod">
          <ac:chgData name="Xinglan Hu" userId="61035392-b8e6-43fa-b39d-a05287957c90" providerId="ADAL" clId="{CEF7E2A8-73A4-4690-8985-26CCE759EB60}" dt="2023-09-05T05:51:05.881" v="72" actId="20577"/>
          <ac:spMkLst>
            <pc:docMk/>
            <pc:sldMk cId="1221196610" sldId="2147348060"/>
            <ac:spMk id="50" creationId="{00000000-0000-0000-0000-000000000000}"/>
          </ac:spMkLst>
        </pc:spChg>
      </pc:sldChg>
      <pc:sldChg chg="modSp mod">
        <pc:chgData name="Xinglan Hu" userId="61035392-b8e6-43fa-b39d-a05287957c90" providerId="ADAL" clId="{CEF7E2A8-73A4-4690-8985-26CCE759EB60}" dt="2023-09-05T05:49:28.477" v="50" actId="20577"/>
        <pc:sldMkLst>
          <pc:docMk/>
          <pc:sldMk cId="2925344377" sldId="2147348061"/>
        </pc:sldMkLst>
        <pc:spChg chg="mod">
          <ac:chgData name="Xinglan Hu" userId="61035392-b8e6-43fa-b39d-a05287957c90" providerId="ADAL" clId="{CEF7E2A8-73A4-4690-8985-26CCE759EB60}" dt="2023-09-05T05:49:28.477" v="50" actId="20577"/>
          <ac:spMkLst>
            <pc:docMk/>
            <pc:sldMk cId="2925344377" sldId="2147348061"/>
            <ac:spMk id="50" creationId="{00000000-0000-0000-0000-000000000000}"/>
          </ac:spMkLst>
        </pc:spChg>
      </pc:sldChg>
      <pc:sldChg chg="modSp mod">
        <pc:chgData name="Xinglan Hu" userId="61035392-b8e6-43fa-b39d-a05287957c90" providerId="ADAL" clId="{CEF7E2A8-73A4-4690-8985-26CCE759EB60}" dt="2023-09-05T05:48:05.524" v="31" actId="20577"/>
        <pc:sldMkLst>
          <pc:docMk/>
          <pc:sldMk cId="503608078" sldId="2147348063"/>
        </pc:sldMkLst>
        <pc:spChg chg="mod">
          <ac:chgData name="Xinglan Hu" userId="61035392-b8e6-43fa-b39d-a05287957c90" providerId="ADAL" clId="{CEF7E2A8-73A4-4690-8985-26CCE759EB60}" dt="2023-09-05T05:48:05.524" v="31" actId="20577"/>
          <ac:spMkLst>
            <pc:docMk/>
            <pc:sldMk cId="503608078" sldId="2147348063"/>
            <ac:spMk id="50" creationId="{00000000-0000-0000-0000-000000000000}"/>
          </ac:spMkLst>
        </pc:spChg>
      </pc:sldChg>
      <pc:sldChg chg="modSp mod">
        <pc:chgData name="Xinglan Hu" userId="61035392-b8e6-43fa-b39d-a05287957c90" providerId="ADAL" clId="{CEF7E2A8-73A4-4690-8985-26CCE759EB60}" dt="2023-09-05T05:47:49.126" v="25" actId="20577"/>
        <pc:sldMkLst>
          <pc:docMk/>
          <pc:sldMk cId="668767025" sldId="2147348065"/>
        </pc:sldMkLst>
        <pc:spChg chg="mod">
          <ac:chgData name="Xinglan Hu" userId="61035392-b8e6-43fa-b39d-a05287957c90" providerId="ADAL" clId="{CEF7E2A8-73A4-4690-8985-26CCE759EB60}" dt="2023-09-05T05:47:49.126" v="25" actId="20577"/>
          <ac:spMkLst>
            <pc:docMk/>
            <pc:sldMk cId="668767025" sldId="2147348065"/>
            <ac:spMk id="50"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User\Documents\4_ADB_STKEC%203\Work\PwC%20Reports\ICIC%20Report\Data%20for%20ICIC%20Repor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User\Documents\4_ADB_STKEC%203\Work\PwC%20Reports\ICIC%20Report\Data%20for%20ICIC%20Repor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59088353740247"/>
          <c:y val="0.15531995846956478"/>
          <c:w val="0.62081858649572708"/>
          <c:h val="0.75488014858093599"/>
        </c:manualLayout>
      </c:layout>
      <c:pieChart>
        <c:varyColors val="1"/>
        <c:ser>
          <c:idx val="0"/>
          <c:order val="0"/>
          <c:spPr>
            <a:ln>
              <a:solidFill>
                <a:schemeClr val="bg1"/>
              </a:solidFill>
            </a:ln>
          </c:spPr>
          <c:dPt>
            <c:idx val="0"/>
            <c:bubble3D val="0"/>
            <c:spPr>
              <a:solidFill>
                <a:srgbClr val="A6390A"/>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1500-43AF-983C-FB96631ADB9F}"/>
              </c:ext>
            </c:extLst>
          </c:dPt>
          <c:dPt>
            <c:idx val="1"/>
            <c:bubble3D val="0"/>
            <c:spPr>
              <a:solidFill>
                <a:srgbClr val="6A3719"/>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1500-43AF-983C-FB96631ADB9F}"/>
              </c:ext>
            </c:extLst>
          </c:dPt>
          <c:dPt>
            <c:idx val="2"/>
            <c:bubble3D val="0"/>
            <c:spPr>
              <a:solidFill>
                <a:srgbClr val="F87815"/>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1500-43AF-983C-FB96631ADB9F}"/>
              </c:ext>
            </c:extLst>
          </c:dPt>
          <c:dPt>
            <c:idx val="3"/>
            <c:bubble3D val="0"/>
            <c:spPr>
              <a:solidFill>
                <a:srgbClr val="FDBF4A"/>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1500-43AF-983C-FB96631ADB9F}"/>
              </c:ext>
            </c:extLst>
          </c:dPt>
          <c:dPt>
            <c:idx val="4"/>
            <c:bubble3D val="0"/>
            <c:spPr>
              <a:solidFill>
                <a:srgbClr val="376BC6"/>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1500-43AF-983C-FB96631ADB9F}"/>
              </c:ext>
            </c:extLst>
          </c:dPt>
          <c:dPt>
            <c:idx val="5"/>
            <c:bubble3D val="0"/>
            <c:spPr>
              <a:solidFill>
                <a:srgbClr val="003049"/>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1500-43AF-983C-FB96631ADB9F}"/>
              </c:ext>
            </c:extLst>
          </c:dPt>
          <c:dPt>
            <c:idx val="6"/>
            <c:bubble3D val="0"/>
            <c:spPr>
              <a:solidFill>
                <a:schemeClr val="bg1">
                  <a:lumMod val="75000"/>
                </a:schemeClr>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1500-43AF-983C-FB96631ADB9F}"/>
              </c:ext>
            </c:extLst>
          </c:dPt>
          <c:dLbls>
            <c:dLbl>
              <c:idx val="0"/>
              <c:layout>
                <c:manualLayout>
                  <c:x val="-4.4903457566232499E-3"/>
                  <c:y val="0.16380016380016371"/>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Arial" panose="020B0604020202020204" pitchFamily="34"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1500-43AF-983C-FB96631ADB9F}"/>
                </c:ext>
              </c:extLst>
            </c:dLbl>
            <c:dLbl>
              <c:idx val="1"/>
              <c:layout>
                <c:manualLayout>
                  <c:x val="4.4903457566232603E-3"/>
                  <c:y val="2.1840021840021841E-2"/>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Arial" panose="020B0604020202020204" pitchFamily="34"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3-1500-43AF-983C-FB96631ADB9F}"/>
                </c:ext>
              </c:extLst>
            </c:dLbl>
            <c:dLbl>
              <c:idx val="2"/>
              <c:layout>
                <c:manualLayout>
                  <c:x val="-8.9805133168614978E-3"/>
                  <c:y val="1.7358583240103531E-3"/>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Arial" panose="020B0604020202020204" pitchFamily="34"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22575231252173839"/>
                      <c:h val="0.18676409994040399"/>
                    </c:manualLayout>
                  </c15:layout>
                </c:ext>
                <c:ext xmlns:c16="http://schemas.microsoft.com/office/drawing/2014/chart" uri="{C3380CC4-5D6E-409C-BE32-E72D297353CC}">
                  <c16:uniqueId val="{00000005-1500-43AF-983C-FB96631ADB9F}"/>
                </c:ext>
              </c:extLst>
            </c:dLbl>
            <c:dLbl>
              <c:idx val="3"/>
              <c:layout>
                <c:manualLayout>
                  <c:x val="7.8581227526173053E-2"/>
                  <c:y val="-5.6697857485259059E-2"/>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Arial" panose="020B0604020202020204" pitchFamily="34"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8291441118131442"/>
                      <c:h val="0.14695626191689182"/>
                    </c:manualLayout>
                  </c15:layout>
                </c:ext>
                <c:ext xmlns:c16="http://schemas.microsoft.com/office/drawing/2014/chart" uri="{C3380CC4-5D6E-409C-BE32-E72D297353CC}">
                  <c16:uniqueId val="{00000007-1500-43AF-983C-FB96631ADB9F}"/>
                </c:ext>
              </c:extLst>
            </c:dLbl>
            <c:dLbl>
              <c:idx val="4"/>
              <c:layout>
                <c:manualLayout>
                  <c:x val="0.17169704557565407"/>
                  <c:y val="1.0124577564614019E-7"/>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Arial" panose="020B0604020202020204" pitchFamily="34"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6481268683986917"/>
                      <c:h val="0.15787604540676425"/>
                    </c:manualLayout>
                  </c15:layout>
                </c:ext>
                <c:ext xmlns:c16="http://schemas.microsoft.com/office/drawing/2014/chart" uri="{C3380CC4-5D6E-409C-BE32-E72D297353CC}">
                  <c16:uniqueId val="{00000009-1500-43AF-983C-FB96631ADB9F}"/>
                </c:ext>
              </c:extLst>
            </c:dLbl>
            <c:dLbl>
              <c:idx val="5"/>
              <c:layout>
                <c:manualLayout>
                  <c:x val="1.10813048431746E-7"/>
                  <c:y val="6.720976316161037E-2"/>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Arial" panose="020B0604020202020204" pitchFamily="34"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24820426010871358"/>
                      <c:h val="0.25407619086177502"/>
                    </c:manualLayout>
                  </c15:layout>
                </c:ext>
                <c:ext xmlns:c16="http://schemas.microsoft.com/office/drawing/2014/chart" uri="{C3380CC4-5D6E-409C-BE32-E72D297353CC}">
                  <c16:uniqueId val="{0000000B-1500-43AF-983C-FB96631ADB9F}"/>
                </c:ext>
              </c:extLst>
            </c:dLbl>
            <c:dLbl>
              <c:idx val="6"/>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27965873372249661"/>
                      <c:h val="0.18517630013693007"/>
                    </c:manualLayout>
                  </c15:layout>
                </c:ext>
                <c:ext xmlns:c16="http://schemas.microsoft.com/office/drawing/2014/chart" uri="{C3380CC4-5D6E-409C-BE32-E72D297353CC}">
                  <c16:uniqueId val="{0000000D-1500-43AF-983C-FB96631ADB9F}"/>
                </c:ext>
              </c:extLst>
            </c:dLbl>
            <c:numFmt formatCode="\(0.0\)" sourceLinked="0"/>
            <c:spPr>
              <a:noFill/>
              <a:ln>
                <a:noFill/>
              </a:ln>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KAZ Exports to UZB'!$N$53:$N$59</c:f>
              <c:strCache>
                <c:ptCount val="7"/>
                <c:pt idx="0">
                  <c:v>Wheat</c:v>
                </c:pt>
                <c:pt idx="1">
                  <c:v>Flour</c:v>
                </c:pt>
                <c:pt idx="2">
                  <c:v>Oil seeds</c:v>
                </c:pt>
                <c:pt idx="3">
                  <c:v>Oil &amp; oil products</c:v>
                </c:pt>
                <c:pt idx="4">
                  <c:v>Iron &amp; steel</c:v>
                </c:pt>
                <c:pt idx="5">
                  <c:v>Aluminium</c:v>
                </c:pt>
                <c:pt idx="6">
                  <c:v>Other goods</c:v>
                </c:pt>
              </c:strCache>
            </c:strRef>
          </c:cat>
          <c:val>
            <c:numRef>
              <c:f>'KAZ Exports to UZB'!$O$53:$O$59</c:f>
              <c:numCache>
                <c:formatCode>0.0</c:formatCode>
                <c:ptCount val="7"/>
                <c:pt idx="0">
                  <c:v>22.753881928783581</c:v>
                </c:pt>
                <c:pt idx="1">
                  <c:v>4.1926559997183555</c:v>
                </c:pt>
                <c:pt idx="2">
                  <c:v>3.2416720527028637</c:v>
                </c:pt>
                <c:pt idx="3">
                  <c:v>7.9414441888270728</c:v>
                </c:pt>
                <c:pt idx="4">
                  <c:v>16.862617698075827</c:v>
                </c:pt>
                <c:pt idx="5">
                  <c:v>5.9899495126974642</c:v>
                </c:pt>
                <c:pt idx="6">
                  <c:v>39.017778619194843</c:v>
                </c:pt>
              </c:numCache>
            </c:numRef>
          </c:val>
          <c:extLst>
            <c:ext xmlns:c16="http://schemas.microsoft.com/office/drawing/2014/chart" uri="{C3380CC4-5D6E-409C-BE32-E72D297353CC}">
              <c16:uniqueId val="{0000000E-1500-43AF-983C-FB96631ADB9F}"/>
            </c:ext>
          </c:extLst>
        </c:ser>
        <c:dLbls>
          <c:dLblPos val="outEnd"/>
          <c:showLegendKey val="0"/>
          <c:showVal val="0"/>
          <c:showCatName val="1"/>
          <c:showSerName val="0"/>
          <c:showPercent val="0"/>
          <c:showBubbleSize val="0"/>
          <c:showLeaderLines val="1"/>
        </c:dLbls>
        <c:firstSliceAng val="204"/>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2"/>
      </a:solidFill>
      <a:round/>
    </a:ln>
    <a:effectLst>
      <a:outerShdw blurRad="50800" dist="38100" dir="2700000" algn="tl" rotWithShape="0">
        <a:prstClr val="black">
          <a:alpha val="40000"/>
        </a:prstClr>
      </a:outerShdw>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50201789292467"/>
          <c:y val="8.074287790206483E-2"/>
          <c:w val="0.62099631699263402"/>
          <c:h val="0.75514234787663259"/>
        </c:manualLayout>
      </c:layout>
      <c:pieChart>
        <c:varyColors val="1"/>
        <c:ser>
          <c:idx val="0"/>
          <c:order val="0"/>
          <c:spPr>
            <a:ln>
              <a:solidFill>
                <a:schemeClr val="bg1"/>
              </a:solidFill>
            </a:ln>
          </c:spPr>
          <c:dPt>
            <c:idx val="0"/>
            <c:bubble3D val="0"/>
            <c:spPr>
              <a:solidFill>
                <a:srgbClr val="FF0000"/>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5A30-48E9-954E-05F97115DA44}"/>
              </c:ext>
            </c:extLst>
          </c:dPt>
          <c:dPt>
            <c:idx val="1"/>
            <c:bubble3D val="0"/>
            <c:spPr>
              <a:solidFill>
                <a:srgbClr val="A01637"/>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5A30-48E9-954E-05F97115DA44}"/>
              </c:ext>
            </c:extLst>
          </c:dPt>
          <c:dPt>
            <c:idx val="2"/>
            <c:bubble3D val="0"/>
            <c:spPr>
              <a:solidFill>
                <a:srgbClr val="FDBF4A"/>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5A30-48E9-954E-05F97115DA44}"/>
              </c:ext>
            </c:extLst>
          </c:dPt>
          <c:dPt>
            <c:idx val="3"/>
            <c:bubble3D val="0"/>
            <c:spPr>
              <a:solidFill>
                <a:srgbClr val="0072AD"/>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5A30-48E9-954E-05F97115DA44}"/>
              </c:ext>
            </c:extLst>
          </c:dPt>
          <c:dPt>
            <c:idx val="4"/>
            <c:bubble3D val="0"/>
            <c:spPr>
              <a:solidFill>
                <a:srgbClr val="376BC6"/>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5A30-48E9-954E-05F97115DA44}"/>
              </c:ext>
            </c:extLst>
          </c:dPt>
          <c:dPt>
            <c:idx val="5"/>
            <c:bubble3D val="0"/>
            <c:spPr>
              <a:solidFill>
                <a:srgbClr val="522B15"/>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5A30-48E9-954E-05F97115DA44}"/>
              </c:ext>
            </c:extLst>
          </c:dPt>
          <c:dPt>
            <c:idx val="6"/>
            <c:bubble3D val="0"/>
            <c:spPr>
              <a:solidFill>
                <a:schemeClr val="bg1">
                  <a:lumMod val="75000"/>
                </a:schemeClr>
              </a:solidFill>
              <a:ln>
                <a:solidFill>
                  <a:schemeClr val="bg1"/>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5A30-48E9-954E-05F97115DA44}"/>
              </c:ext>
            </c:extLst>
          </c:dPt>
          <c:dLbls>
            <c:dLbl>
              <c:idx val="0"/>
              <c:layout>
                <c:manualLayout>
                  <c:x val="5.8673701652916299E-2"/>
                  <c:y val="3.3357088260362793E-4"/>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3818073663916592"/>
                      <c:h val="0.18477288755981464"/>
                    </c:manualLayout>
                  </c15:layout>
                </c:ext>
                <c:ext xmlns:c16="http://schemas.microsoft.com/office/drawing/2014/chart" uri="{C3380CC4-5D6E-409C-BE32-E72D297353CC}">
                  <c16:uniqueId val="{00000001-5A30-48E9-954E-05F97115DA44}"/>
                </c:ext>
              </c:extLst>
            </c:dLbl>
            <c:dLbl>
              <c:idx val="1"/>
              <c:layout>
                <c:manualLayout>
                  <c:x val="7.8150636015614228E-2"/>
                  <c:y val="3.7553925044341997E-2"/>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3448192283697481"/>
                      <c:h val="0.18477288755981464"/>
                    </c:manualLayout>
                  </c15:layout>
                </c:ext>
                <c:ext xmlns:c16="http://schemas.microsoft.com/office/drawing/2014/chart" uri="{C3380CC4-5D6E-409C-BE32-E72D297353CC}">
                  <c16:uniqueId val="{00000003-5A30-48E9-954E-05F97115DA44}"/>
                </c:ext>
              </c:extLst>
            </c:dLbl>
            <c:dLbl>
              <c:idx val="2"/>
              <c:layout>
                <c:manualLayout>
                  <c:x val="8.9605734767025085E-3"/>
                  <c:y val="-0.12169113919772905"/>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5A30-48E9-954E-05F97115DA44}"/>
                </c:ext>
              </c:extLst>
            </c:dLbl>
            <c:dLbl>
              <c:idx val="3"/>
              <c:layout>
                <c:manualLayout>
                  <c:x val="6.9085853704016875E-2"/>
                  <c:y val="-1.4545006508891746E-7"/>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42611973608186887"/>
                      <c:h val="0.18477288755981464"/>
                    </c:manualLayout>
                  </c15:layout>
                </c:ext>
                <c:ext xmlns:c16="http://schemas.microsoft.com/office/drawing/2014/chart" uri="{C3380CC4-5D6E-409C-BE32-E72D297353CC}">
                  <c16:uniqueId val="{00000007-5A30-48E9-954E-05F97115DA44}"/>
                </c:ext>
              </c:extLst>
            </c:dLbl>
            <c:dLbl>
              <c:idx val="4"/>
              <c:layout>
                <c:manualLayout>
                  <c:x val="0.14286036235335756"/>
                  <c:y val="1.0729491010609831E-2"/>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9221678769884111"/>
                      <c:h val="0.14975897188300213"/>
                    </c:manualLayout>
                  </c15:layout>
                </c:ext>
                <c:ext xmlns:c16="http://schemas.microsoft.com/office/drawing/2014/chart" uri="{C3380CC4-5D6E-409C-BE32-E72D297353CC}">
                  <c16:uniqueId val="{00000009-5A30-48E9-954E-05F97115DA44}"/>
                </c:ext>
              </c:extLst>
            </c:dLbl>
            <c:dLbl>
              <c:idx val="5"/>
              <c:layout>
                <c:manualLayout>
                  <c:x val="-3.1146707016045896E-2"/>
                  <c:y val="-2.8423039009682557E-3"/>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29736107472133017"/>
                      <c:h val="0.20845102465387755"/>
                    </c:manualLayout>
                  </c15:layout>
                </c:ext>
                <c:ext xmlns:c16="http://schemas.microsoft.com/office/drawing/2014/chart" uri="{C3380CC4-5D6E-409C-BE32-E72D297353CC}">
                  <c16:uniqueId val="{0000000B-5A30-48E9-954E-05F97115DA44}"/>
                </c:ext>
              </c:extLst>
            </c:dLbl>
            <c:dLbl>
              <c:idx val="6"/>
              <c:layout>
                <c:manualLayout>
                  <c:x val="-1.3440860215053769E-2"/>
                  <c:y val="-2.6824034334763949E-2"/>
                </c:manualLayout>
              </c:layout>
              <c:numFmt formatCode="\(0.0\)" sourceLinked="0"/>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D-5A30-48E9-954E-05F97115DA44}"/>
                </c:ext>
              </c:extLst>
            </c:dLbl>
            <c:numFmt formatCode="\(0.0\)" sourceLinked="0"/>
            <c:spPr>
              <a:noFill/>
              <a:ln>
                <a:noFill/>
              </a:ln>
            </c:spPr>
            <c:txPr>
              <a:bodyPr rot="0" spcFirstLastPara="1" vertOverflow="clip" horzOverflow="clip" vert="horz" wrap="square" lIns="36576" tIns="18288" rIns="36576" bIns="18288" anchor="ctr" anchorCtr="1">
                <a:spAutoFit/>
              </a:bodyPr>
              <a:lstStyle/>
              <a:p>
                <a:pPr>
                  <a:defRPr sz="800" b="0" i="0" u="none" strike="noStrike" kern="1200" baseline="0">
                    <a:solidFill>
                      <a:schemeClr val="tx1"/>
                    </a:solidFill>
                    <a:latin typeface="+mn-lt"/>
                    <a:ea typeface="+mn-ea"/>
                    <a:cs typeface="+mn-cs"/>
                  </a:defRPr>
                </a:pPr>
                <a:endParaRPr lang="en-US"/>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UZB Exports to KAZ'!$N$62:$N$68</c:f>
              <c:strCache>
                <c:ptCount val="7"/>
                <c:pt idx="0">
                  <c:v>Vegetables</c:v>
                </c:pt>
                <c:pt idx="1">
                  <c:v>Fuits &amp; nuts</c:v>
                </c:pt>
                <c:pt idx="2">
                  <c:v>Natural gas</c:v>
                </c:pt>
                <c:pt idx="3">
                  <c:v>Chemical products</c:v>
                </c:pt>
                <c:pt idx="4">
                  <c:v>Iron &amp; steel</c:v>
                </c:pt>
                <c:pt idx="5">
                  <c:v>Motor vehicles</c:v>
                </c:pt>
                <c:pt idx="6">
                  <c:v>Other goods</c:v>
                </c:pt>
              </c:strCache>
            </c:strRef>
          </c:cat>
          <c:val>
            <c:numRef>
              <c:f>'UZB Exports to KAZ'!$O$62:$O$68</c:f>
              <c:numCache>
                <c:formatCode>0.0</c:formatCode>
                <c:ptCount val="7"/>
                <c:pt idx="0">
                  <c:v>8.9783649810646597</c:v>
                </c:pt>
                <c:pt idx="1">
                  <c:v>21.083171887710986</c:v>
                </c:pt>
                <c:pt idx="2">
                  <c:v>28.239306426687488</c:v>
                </c:pt>
                <c:pt idx="3">
                  <c:v>11.915010080799847</c:v>
                </c:pt>
                <c:pt idx="4">
                  <c:v>3.3900312285846628</c:v>
                </c:pt>
                <c:pt idx="5">
                  <c:v>3.5811251644737734</c:v>
                </c:pt>
                <c:pt idx="6">
                  <c:v>31.791355211743237</c:v>
                </c:pt>
              </c:numCache>
            </c:numRef>
          </c:val>
          <c:extLst>
            <c:ext xmlns:c16="http://schemas.microsoft.com/office/drawing/2014/chart" uri="{C3380CC4-5D6E-409C-BE32-E72D297353CC}">
              <c16:uniqueId val="{0000000E-5A30-48E9-954E-05F97115DA44}"/>
            </c:ext>
          </c:extLst>
        </c:ser>
        <c:dLbls>
          <c:dLblPos val="outEnd"/>
          <c:showLegendKey val="0"/>
          <c:showVal val="0"/>
          <c:showCatName val="1"/>
          <c:showSerName val="0"/>
          <c:showPercent val="0"/>
          <c:showBubbleSize val="0"/>
          <c:showLeaderLines val="1"/>
        </c:dLbls>
        <c:firstSliceAng val="315"/>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800" b="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403230297967136E-3"/>
          <c:y val="0.11517367458866545"/>
          <c:w val="0.98551935394040657"/>
          <c:h val="0.76965265082266909"/>
        </c:manualLayout>
      </c:layout>
      <c:barChart>
        <c:barDir val="col"/>
        <c:grouping val="clustered"/>
        <c:varyColors val="0"/>
        <c:ser>
          <c:idx val="0"/>
          <c:order val="0"/>
          <c:spPr>
            <a:solidFill>
              <a:srgbClr val="A32020"/>
            </a:solidFill>
            <a:ln w="9525" cmpd="sng" algn="ctr">
              <a:solidFill>
                <a:srgbClr val="FFFFFF"/>
              </a:solidFill>
              <a:prstDash val="solid"/>
            </a:ln>
          </c:spPr>
          <c:invertIfNegative val="0"/>
          <c:dLbls>
            <c:dLbl>
              <c:idx val="0"/>
              <c:layout>
                <c:manualLayout>
                  <c:x val="0"/>
                  <c:y val="-0.18281535648994515"/>
                </c:manualLayout>
              </c:layout>
              <c:numFmt formatCode="#,##0.00&quot;%&quot;;&quot;-&quot;#,##0.0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B6-4C7C-994F-3D79CDD8CC9D}"/>
                </c:ext>
              </c:extLst>
            </c:dLbl>
            <c:dLbl>
              <c:idx val="1"/>
              <c:layout>
                <c:manualLayout>
                  <c:x val="0"/>
                  <c:y val="-0.14351005484460694"/>
                </c:manualLayout>
              </c:layout>
              <c:numFmt formatCode="#,##0.00&quot;%&quot;;&quot;-&quot;#,##0.0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B6-4C7C-994F-3D79CDD8CC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2618981187893867</c:v>
                </c:pt>
                <c:pt idx="1">
                  <c:v>2.8994441677955063</c:v>
                </c:pt>
              </c:numCache>
            </c:numRef>
          </c:val>
          <c:extLst>
            <c:ext xmlns:c16="http://schemas.microsoft.com/office/drawing/2014/chart" uri="{C3380CC4-5D6E-409C-BE32-E72D297353CC}">
              <c16:uniqueId val="{00000002-73B6-4C7C-994F-3D79CDD8CC9D}"/>
            </c:ext>
          </c:extLst>
        </c:ser>
        <c:ser>
          <c:idx val="1"/>
          <c:order val="1"/>
          <c:spPr>
            <a:solidFill>
              <a:srgbClr val="DB536A"/>
            </a:solidFill>
            <a:ln w="9525" cmpd="sng" algn="ctr">
              <a:solidFill>
                <a:srgbClr val="FFFFFF"/>
              </a:solidFill>
              <a:prstDash val="solid"/>
            </a:ln>
          </c:spPr>
          <c:invertIfNegative val="0"/>
          <c:dLbls>
            <c:dLbl>
              <c:idx val="0"/>
              <c:layout>
                <c:manualLayout>
                  <c:x val="0"/>
                  <c:y val="-0.26599634369287017"/>
                </c:manualLayout>
              </c:layout>
              <c:numFmt formatCode="#,##0.00&quot;%&quot;;&quot;-&quot;#,##0.0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B6-4C7C-994F-3D79CDD8CC9D}"/>
                </c:ext>
              </c:extLst>
            </c:dLbl>
            <c:dLbl>
              <c:idx val="1"/>
              <c:layout>
                <c:manualLayout>
                  <c:x val="0"/>
                  <c:y val="-3.4734917733089579E-2"/>
                </c:manualLayout>
              </c:layout>
              <c:numFmt formatCode="#,##0.00&quot;%&quot;;&quot;-&quot;#,##0.0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B6-4C7C-994F-3D79CDD8CC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1039564832204638</c:v>
                </c:pt>
                <c:pt idx="1">
                  <c:v>-0.93636665270317998</c:v>
                </c:pt>
              </c:numCache>
            </c:numRef>
          </c:val>
          <c:extLst>
            <c:ext xmlns:c16="http://schemas.microsoft.com/office/drawing/2014/chart" uri="{C3380CC4-5D6E-409C-BE32-E72D297353CC}">
              <c16:uniqueId val="{00000005-73B6-4C7C-994F-3D79CDD8CC9D}"/>
            </c:ext>
          </c:extLst>
        </c:ser>
        <c:ser>
          <c:idx val="2"/>
          <c:order val="2"/>
          <c:spPr>
            <a:solidFill>
              <a:srgbClr val="000000"/>
            </a:solidFill>
            <a:ln w="9525" cmpd="sng" algn="ctr">
              <a:solidFill>
                <a:srgbClr val="FFFFFF"/>
              </a:solidFill>
              <a:prstDash val="solid"/>
            </a:ln>
          </c:spPr>
          <c:invertIfNegative val="0"/>
          <c:dLbls>
            <c:dLbl>
              <c:idx val="0"/>
              <c:layout>
                <c:manualLayout>
                  <c:x val="0"/>
                  <c:y val="-0.32906764168190128"/>
                </c:manualLayout>
              </c:layout>
              <c:numFmt formatCode="#,##0.00&quot;%&quot;;&quot;-&quot;#,##0.0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B6-4C7C-994F-3D79CDD8CC9D}"/>
                </c:ext>
              </c:extLst>
            </c:dLbl>
            <c:dLbl>
              <c:idx val="1"/>
              <c:layout>
                <c:manualLayout>
                  <c:x val="0"/>
                  <c:y val="-0.41590493601462525"/>
                </c:manualLayout>
              </c:layout>
              <c:numFmt formatCode="#,##0.00&quot;%&quot;;&quot;-&quot;#,##0.0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B6-4C7C-994F-3D79CDD8CC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9.2701246454231612</c:v>
                </c:pt>
                <c:pt idx="1">
                  <c:v>12.260511597055658</c:v>
                </c:pt>
              </c:numCache>
            </c:numRef>
          </c:val>
          <c:extLst>
            <c:ext xmlns:c16="http://schemas.microsoft.com/office/drawing/2014/chart" uri="{C3380CC4-5D6E-409C-BE32-E72D297353CC}">
              <c16:uniqueId val="{00000008-73B6-4C7C-994F-3D79CDD8CC9D}"/>
            </c:ext>
          </c:extLst>
        </c:ser>
        <c:ser>
          <c:idx val="3"/>
          <c:order val="3"/>
          <c:spPr>
            <a:solidFill>
              <a:srgbClr val="464646"/>
            </a:solidFill>
            <a:ln w="9525" cmpd="sng" algn="ctr">
              <a:solidFill>
                <a:srgbClr val="FFFFFF"/>
              </a:solidFill>
              <a:prstDash val="solid"/>
            </a:ln>
          </c:spPr>
          <c:invertIfNegative val="0"/>
          <c:dLbls>
            <c:dLbl>
              <c:idx val="0"/>
              <c:layout>
                <c:manualLayout>
                  <c:x val="0"/>
                  <c:y val="-0.13619744058500913"/>
                </c:manualLayout>
              </c:layout>
              <c:numFmt formatCode="#,##0.00&quot;%&quot;;&quot;-&quot;#,##0.0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B6-4C7C-994F-3D79CDD8CC9D}"/>
                </c:ext>
              </c:extLst>
            </c:dLbl>
            <c:dLbl>
              <c:idx val="1"/>
              <c:layout>
                <c:manualLayout>
                  <c:x val="0"/>
                  <c:y val="-9.5978062157221211E-2"/>
                </c:manualLayout>
              </c:layout>
              <c:numFmt formatCode="#,##0.00&quot;%&quot;;&quot;-&quot;#,##0.0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B6-4C7C-994F-3D79CDD8CC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2.6868383010588026</c:v>
                </c:pt>
                <c:pt idx="1">
                  <c:v>1.9976118740055782</c:v>
                </c:pt>
              </c:numCache>
            </c:numRef>
          </c:val>
          <c:extLst>
            <c:ext xmlns:c16="http://schemas.microsoft.com/office/drawing/2014/chart" uri="{C3380CC4-5D6E-409C-BE32-E72D297353CC}">
              <c16:uniqueId val="{0000000B-73B6-4C7C-994F-3D79CDD8CC9D}"/>
            </c:ext>
          </c:extLst>
        </c:ser>
        <c:dLbls>
          <c:showLegendKey val="0"/>
          <c:showVal val="0"/>
          <c:showCatName val="0"/>
          <c:showSerName val="0"/>
          <c:showPercent val="0"/>
          <c:showBubbleSize val="0"/>
        </c:dLbls>
        <c:gapWidth val="80"/>
        <c:axId val="384909631"/>
        <c:axId val="1"/>
      </c:barChart>
      <c:catAx>
        <c:axId val="3849096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2.260511597055658"/>
          <c:min val="-0.93636665270317998"/>
        </c:scaling>
        <c:delete val="1"/>
        <c:axPos val="l"/>
        <c:numFmt formatCode="General" sourceLinked="1"/>
        <c:majorTickMark val="out"/>
        <c:minorTickMark val="none"/>
        <c:tickLblPos val="nextTo"/>
        <c:crossAx val="384909631"/>
        <c:crosses val="min"/>
        <c:crossBetween val="between"/>
      </c:valAx>
    </c:plotArea>
    <c:plotVisOnly val="0"/>
    <c:dispBlanksAs val="gap"/>
    <c:showDLblsOverMax val="1"/>
  </c:chart>
  <c:txPr>
    <a:bodyPr/>
    <a:lstStyle/>
    <a:p>
      <a:pPr>
        <a:defRPr sz="9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803620819713348E-2"/>
          <c:y val="2.8268551236749116E-2"/>
          <c:w val="0.91450842343474981"/>
          <c:h val="0.90388692579505303"/>
        </c:manualLayout>
      </c:layout>
      <c:bubbleChart>
        <c:varyColors val="0"/>
        <c:ser>
          <c:idx val="0"/>
          <c:order val="0"/>
          <c:spPr>
            <a:solidFill>
              <a:schemeClr val="accent1"/>
            </a:solidFill>
            <a:ln w="9525" cmpd="sng" algn="ctr">
              <a:solidFill>
                <a:srgbClr val="FFFFFF"/>
              </a:solidFill>
              <a:prstDash val="solid"/>
            </a:ln>
          </c:spPr>
          <c:invertIfNegative val="0"/>
          <c:xVal>
            <c:numRef>
              <c:f>Sheet1!$A$1:$A$16</c:f>
              <c:numCache>
                <c:formatCode>General</c:formatCode>
                <c:ptCount val="16"/>
                <c:pt idx="0">
                  <c:v>2.9255654659834809</c:v>
                </c:pt>
                <c:pt idx="1">
                  <c:v>3.2298546197698039</c:v>
                </c:pt>
                <c:pt idx="2">
                  <c:v>2.7981914491110231</c:v>
                </c:pt>
                <c:pt idx="3">
                  <c:v>1.4499134191141358</c:v>
                </c:pt>
                <c:pt idx="4">
                  <c:v>1.4687509618906123</c:v>
                </c:pt>
                <c:pt idx="5">
                  <c:v>2.5055752761727055</c:v>
                </c:pt>
                <c:pt idx="6">
                  <c:v>1.4147018064002892</c:v>
                </c:pt>
              </c:numCache>
            </c:numRef>
          </c:xVal>
          <c:yVal>
            <c:numRef>
              <c:f>Sheet1!$B$1:$B$16</c:f>
              <c:numCache>
                <c:formatCode>General</c:formatCode>
                <c:ptCount val="16"/>
                <c:pt idx="0">
                  <c:v>2.3920028443683807</c:v>
                </c:pt>
                <c:pt idx="1">
                  <c:v>2.1408095337797688</c:v>
                </c:pt>
                <c:pt idx="2">
                  <c:v>2.1976912604267427</c:v>
                </c:pt>
                <c:pt idx="3">
                  <c:v>2.8479261880867544</c:v>
                </c:pt>
                <c:pt idx="4">
                  <c:v>1.6590787762799035</c:v>
                </c:pt>
                <c:pt idx="5">
                  <c:v>3.879387552113208</c:v>
                </c:pt>
                <c:pt idx="6">
                  <c:v>1.8139453371351677</c:v>
                </c:pt>
              </c:numCache>
            </c:numRef>
          </c:yVal>
          <c:bubbleSize>
            <c:numRef>
              <c:f>Sheet1!$C$1:$C$16</c:f>
              <c:numCache>
                <c:formatCode>General</c:formatCode>
                <c:ptCount val="16"/>
                <c:pt idx="0">
                  <c:v>22009.06407</c:v>
                </c:pt>
                <c:pt idx="1">
                  <c:v>4668.0229639999998</c:v>
                </c:pt>
                <c:pt idx="2">
                  <c:v>12345.91401</c:v>
                </c:pt>
                <c:pt idx="3">
                  <c:v>886.53604110000003</c:v>
                </c:pt>
                <c:pt idx="4">
                  <c:v>3447.0187900000001</c:v>
                </c:pt>
                <c:pt idx="5">
                  <c:v>4118.8785322000003</c:v>
                </c:pt>
                <c:pt idx="6">
                  <c:v>3420.2685649999999</c:v>
                </c:pt>
              </c:numCache>
            </c:numRef>
          </c:bubbleSize>
          <c:bubble3D val="0"/>
          <c:extLst>
            <c:ext xmlns:c16="http://schemas.microsoft.com/office/drawing/2014/chart" uri="{C3380CC4-5D6E-409C-BE32-E72D297353CC}">
              <c16:uniqueId val="{00000000-9C8B-42D8-8EBB-EB60B6F8DDAA}"/>
            </c:ext>
          </c:extLst>
        </c:ser>
        <c:ser>
          <c:idx val="1"/>
          <c:order val="1"/>
          <c:spPr>
            <a:solidFill>
              <a:schemeClr val="accent2"/>
            </a:solidFill>
            <a:ln w="9525" cmpd="sng" algn="ctr">
              <a:solidFill>
                <a:srgbClr val="FFFFFF"/>
              </a:solidFill>
              <a:prstDash val="solid"/>
            </a:ln>
          </c:spPr>
          <c:invertIfNegative val="0"/>
          <c:xVal>
            <c:numRef>
              <c:f>Sheet1!$A$1:$A$16</c:f>
              <c:numCache>
                <c:formatCode>General</c:formatCode>
                <c:ptCount val="16"/>
                <c:pt idx="7">
                  <c:v>0.64955257632248109</c:v>
                </c:pt>
                <c:pt idx="8">
                  <c:v>0.63676396373148481</c:v>
                </c:pt>
                <c:pt idx="9">
                  <c:v>0.8988048772760211</c:v>
                </c:pt>
                <c:pt idx="10">
                  <c:v>0.83327897802284911</c:v>
                </c:pt>
                <c:pt idx="11">
                  <c:v>1.2012945335040366</c:v>
                </c:pt>
                <c:pt idx="12">
                  <c:v>1.1119844706485498</c:v>
                </c:pt>
                <c:pt idx="13">
                  <c:v>1.0614779902077269</c:v>
                </c:pt>
                <c:pt idx="14">
                  <c:v>1.0349941821229547</c:v>
                </c:pt>
                <c:pt idx="15">
                  <c:v>0.81422062179478527</c:v>
                </c:pt>
              </c:numCache>
            </c:numRef>
          </c:xVal>
          <c:yVal>
            <c:numRef>
              <c:f>Sheet1!$D$1:$D$16</c:f>
              <c:numCache>
                <c:formatCode>General</c:formatCode>
                <c:ptCount val="16"/>
                <c:pt idx="7">
                  <c:v>1.0161491762681845</c:v>
                </c:pt>
                <c:pt idx="8">
                  <c:v>0.71657697194997838</c:v>
                </c:pt>
                <c:pt idx="9">
                  <c:v>1.0461071651105827</c:v>
                </c:pt>
                <c:pt idx="10">
                  <c:v>1.5341419379800074</c:v>
                </c:pt>
                <c:pt idx="11">
                  <c:v>1.8478295846577883</c:v>
                </c:pt>
                <c:pt idx="12">
                  <c:v>3.5076758277649009</c:v>
                </c:pt>
                <c:pt idx="13">
                  <c:v>3.3308332529142648</c:v>
                </c:pt>
                <c:pt idx="14">
                  <c:v>3.3147276305566447</c:v>
                </c:pt>
                <c:pt idx="15">
                  <c:v>1.6525847258206379</c:v>
                </c:pt>
              </c:numCache>
            </c:numRef>
          </c:yVal>
          <c:bubbleSize>
            <c:numRef>
              <c:f>Sheet1!$E$1:$E$16</c:f>
              <c:numCache>
                <c:formatCode>General</c:formatCode>
                <c:ptCount val="16"/>
                <c:pt idx="7">
                  <c:v>250.94942380000001</c:v>
                </c:pt>
                <c:pt idx="8">
                  <c:v>245.04071540000001</c:v>
                </c:pt>
                <c:pt idx="9">
                  <c:v>436.86460080000001</c:v>
                </c:pt>
                <c:pt idx="10">
                  <c:v>1335.308589</c:v>
                </c:pt>
                <c:pt idx="11">
                  <c:v>1445.5451860000001</c:v>
                </c:pt>
                <c:pt idx="12">
                  <c:v>286.49917299999998</c:v>
                </c:pt>
                <c:pt idx="13">
                  <c:v>1265.7743829999999</c:v>
                </c:pt>
                <c:pt idx="14">
                  <c:v>905.22824119999996</c:v>
                </c:pt>
                <c:pt idx="15">
                  <c:v>388.0490178</c:v>
                </c:pt>
              </c:numCache>
            </c:numRef>
          </c:bubbleSize>
          <c:bubble3D val="0"/>
          <c:extLst>
            <c:ext xmlns:c16="http://schemas.microsoft.com/office/drawing/2014/chart" uri="{C3380CC4-5D6E-409C-BE32-E72D297353CC}">
              <c16:uniqueId val="{00000001-9C8B-42D8-8EBB-EB60B6F8DDAA}"/>
            </c:ext>
          </c:extLst>
        </c:ser>
        <c:dLbls>
          <c:showLegendKey val="0"/>
          <c:showVal val="0"/>
          <c:showCatName val="0"/>
          <c:showSerName val="0"/>
          <c:showPercent val="0"/>
          <c:showBubbleSize val="0"/>
        </c:dLbls>
        <c:bubbleScale val="101"/>
        <c:showNegBubbles val="0"/>
        <c:axId val="1080611487"/>
        <c:axId val="1"/>
      </c:bubbleChart>
      <c:valAx>
        <c:axId val="1080611487"/>
        <c:scaling>
          <c:orientation val="minMax"/>
          <c:max val="3.4000000000000004"/>
          <c:min val="0"/>
        </c:scaling>
        <c:delete val="0"/>
        <c:axPos val="b"/>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800" b="1" kern="1200">
                <a:solidFill>
                  <a:schemeClr val="tx1"/>
                </a:solidFill>
                <a:latin typeface="+mn-lt"/>
                <a:ea typeface="+mn-ea"/>
                <a:cs typeface="+mn-cs"/>
              </a:defRPr>
            </a:pPr>
            <a:endParaRPr lang="en-US"/>
          </a:p>
        </c:txPr>
        <c:crossAx val="1"/>
        <c:crosses val="min"/>
        <c:crossBetween val="midCat"/>
        <c:majorUnit val="0.2"/>
      </c:valAx>
      <c:valAx>
        <c:axId val="1"/>
        <c:scaling>
          <c:orientation val="minMax"/>
          <c:max val="4.2"/>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800" b="1" kern="1200">
                <a:solidFill>
                  <a:schemeClr val="tx1"/>
                </a:solidFill>
                <a:latin typeface="+mn-lt"/>
                <a:ea typeface="+mn-ea"/>
                <a:cs typeface="+mn-cs"/>
              </a:defRPr>
            </a:pPr>
            <a:endParaRPr lang="en-US"/>
          </a:p>
        </c:txPr>
        <c:crossAx val="1080611487"/>
        <c:crosses val="min"/>
        <c:crossBetween val="midCat"/>
        <c:majorUnit val="0.2"/>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372342294851524E-3"/>
          <c:y val="0.13829787234042554"/>
          <c:w val="0.98172553154102971"/>
          <c:h val="0.72340425531914898"/>
        </c:manualLayout>
      </c:layout>
      <c:barChart>
        <c:barDir val="bar"/>
        <c:grouping val="stacked"/>
        <c:varyColors val="0"/>
        <c:ser>
          <c:idx val="0"/>
          <c:order val="0"/>
          <c:spPr>
            <a:solidFill>
              <a:srgbClr val="A32020"/>
            </a:solidFill>
            <a:ln w="9525" cmpd="sng" algn="ctr">
              <a:solidFill>
                <a:srgbClr val="FFFFFF"/>
              </a:solidFill>
              <a:prstDash val="solid"/>
            </a:ln>
          </c:spPr>
          <c:invertIfNegative val="0"/>
          <c:val>
            <c:numRef>
              <c:f>Sheet1!$A$1</c:f>
              <c:numCache>
                <c:formatCode>General</c:formatCode>
                <c:ptCount val="1"/>
                <c:pt idx="0">
                  <c:v>6.6580000000000004</c:v>
                </c:pt>
              </c:numCache>
            </c:numRef>
          </c:val>
          <c:extLst>
            <c:ext xmlns:c16="http://schemas.microsoft.com/office/drawing/2014/chart" uri="{C3380CC4-5D6E-409C-BE32-E72D297353CC}">
              <c16:uniqueId val="{00000000-C635-413A-926E-69334F9A36B7}"/>
            </c:ext>
          </c:extLst>
        </c:ser>
        <c:ser>
          <c:idx val="1"/>
          <c:order val="1"/>
          <c:spPr>
            <a:solidFill>
              <a:srgbClr val="DB536A"/>
            </a:solidFill>
            <a:ln w="9525" cmpd="sng" algn="ctr">
              <a:solidFill>
                <a:srgbClr val="FFFFFF"/>
              </a:solidFill>
              <a:prstDash val="solid"/>
            </a:ln>
          </c:spPr>
          <c:invertIfNegative val="0"/>
          <c:val>
            <c:numRef>
              <c:f>Sheet1!$A$2</c:f>
              <c:numCache>
                <c:formatCode>General</c:formatCode>
                <c:ptCount val="1"/>
                <c:pt idx="0">
                  <c:v>11.876999999999999</c:v>
                </c:pt>
              </c:numCache>
            </c:numRef>
          </c:val>
          <c:extLst>
            <c:ext xmlns:c16="http://schemas.microsoft.com/office/drawing/2014/chart" uri="{C3380CC4-5D6E-409C-BE32-E72D297353CC}">
              <c16:uniqueId val="{00000001-C635-413A-926E-69334F9A36B7}"/>
            </c:ext>
          </c:extLst>
        </c:ser>
        <c:ser>
          <c:idx val="2"/>
          <c:order val="2"/>
          <c:spPr>
            <a:solidFill>
              <a:srgbClr val="000000"/>
            </a:solidFill>
            <a:ln w="9525" cmpd="sng" algn="ctr">
              <a:solidFill>
                <a:srgbClr val="FFFFFF"/>
              </a:solidFill>
              <a:prstDash val="solid"/>
            </a:ln>
          </c:spPr>
          <c:invertIfNegative val="0"/>
          <c:val>
            <c:numRef>
              <c:f>Sheet1!$A$3</c:f>
              <c:numCache>
                <c:formatCode>General</c:formatCode>
                <c:ptCount val="1"/>
                <c:pt idx="0">
                  <c:v>8.3390000000000022</c:v>
                </c:pt>
              </c:numCache>
            </c:numRef>
          </c:val>
          <c:extLst>
            <c:ext xmlns:c16="http://schemas.microsoft.com/office/drawing/2014/chart" uri="{C3380CC4-5D6E-409C-BE32-E72D297353CC}">
              <c16:uniqueId val="{00000002-C635-413A-926E-69334F9A36B7}"/>
            </c:ext>
          </c:extLst>
        </c:ser>
        <c:ser>
          <c:idx val="3"/>
          <c:order val="3"/>
          <c:spPr>
            <a:solidFill>
              <a:srgbClr val="464646"/>
            </a:solidFill>
            <a:ln w="9525" cmpd="sng" algn="ctr">
              <a:solidFill>
                <a:srgbClr val="FFFFFF"/>
              </a:solidFill>
              <a:prstDash val="solid"/>
            </a:ln>
          </c:spPr>
          <c:invertIfNegative val="0"/>
          <c:val>
            <c:numRef>
              <c:f>Sheet1!$A$4</c:f>
              <c:numCache>
                <c:formatCode>General</c:formatCode>
                <c:ptCount val="1"/>
                <c:pt idx="0">
                  <c:v>2.6890000000000001</c:v>
                </c:pt>
              </c:numCache>
            </c:numRef>
          </c:val>
          <c:extLst>
            <c:ext xmlns:c16="http://schemas.microsoft.com/office/drawing/2014/chart" uri="{C3380CC4-5D6E-409C-BE32-E72D297353CC}">
              <c16:uniqueId val="{00000003-C635-413A-926E-69334F9A36B7}"/>
            </c:ext>
          </c:extLst>
        </c:ser>
        <c:ser>
          <c:idx val="4"/>
          <c:order val="4"/>
          <c:spPr>
            <a:solidFill>
              <a:srgbClr val="7D7D7D"/>
            </a:solidFill>
            <a:ln w="9525" cmpd="sng" algn="ctr">
              <a:solidFill>
                <a:srgbClr val="FFFFFF"/>
              </a:solidFill>
              <a:prstDash val="solid"/>
            </a:ln>
          </c:spPr>
          <c:invertIfNegative val="0"/>
          <c:val>
            <c:numRef>
              <c:f>Sheet1!$A$5</c:f>
              <c:numCache>
                <c:formatCode>General</c:formatCode>
                <c:ptCount val="1"/>
                <c:pt idx="0">
                  <c:v>2.9579999999999984</c:v>
                </c:pt>
              </c:numCache>
            </c:numRef>
          </c:val>
          <c:extLst>
            <c:ext xmlns:c16="http://schemas.microsoft.com/office/drawing/2014/chart" uri="{C3380CC4-5D6E-409C-BE32-E72D297353CC}">
              <c16:uniqueId val="{00000004-C635-413A-926E-69334F9A36B7}"/>
            </c:ext>
          </c:extLst>
        </c:ser>
        <c:dLbls>
          <c:showLegendKey val="0"/>
          <c:showVal val="0"/>
          <c:showCatName val="0"/>
          <c:showSerName val="0"/>
          <c:showPercent val="0"/>
          <c:showBubbleSize val="0"/>
        </c:dLbls>
        <c:gapWidth val="80"/>
        <c:overlap val="100"/>
        <c:axId val="1289670543"/>
        <c:axId val="1"/>
      </c:barChart>
      <c:catAx>
        <c:axId val="1289670543"/>
        <c:scaling>
          <c:orientation val="maxMin"/>
        </c:scaling>
        <c:delete val="0"/>
        <c:axPos val="l"/>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orientation val="minMax"/>
          <c:max val="32.521000000000001"/>
          <c:min val="0"/>
        </c:scaling>
        <c:delete val="1"/>
        <c:axPos val="t"/>
        <c:numFmt formatCode="General" sourceLinked="1"/>
        <c:majorTickMark val="out"/>
        <c:minorTickMark val="none"/>
        <c:tickLblPos val="nextTo"/>
        <c:crossAx val="128967054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84407146724419E-3"/>
          <c:y val="0.11529933481152993"/>
          <c:w val="0.98592311857065507"/>
          <c:h val="0.56319290465631933"/>
        </c:manualLayout>
      </c:layout>
      <c:barChart>
        <c:barDir val="col"/>
        <c:grouping val="stacked"/>
        <c:varyColors val="0"/>
        <c:ser>
          <c:idx val="0"/>
          <c:order val="0"/>
          <c:spPr>
            <a:solidFill>
              <a:srgbClr val="A32020"/>
            </a:solidFill>
            <a:ln w="9525" cmpd="sng" algn="ctr">
              <a:solidFill>
                <a:srgbClr val="FFFFFF"/>
              </a:solidFill>
              <a:prstDash val="solid"/>
            </a:ln>
          </c:spPr>
          <c:invertIfNegative val="0"/>
          <c:dLbls>
            <c:dLbl>
              <c:idx val="0"/>
              <c:layout>
                <c:manualLayout>
                  <c:x val="0"/>
                  <c:y val="-0.4434589800443459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C9-4F7E-8BC0-32C56E2A70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9018</c:v>
                </c:pt>
                <c:pt idx="1">
                  <c:v>4</c:v>
                </c:pt>
              </c:numCache>
            </c:numRef>
          </c:val>
          <c:extLst>
            <c:ext xmlns:c16="http://schemas.microsoft.com/office/drawing/2014/chart" uri="{C3380CC4-5D6E-409C-BE32-E72D297353CC}">
              <c16:uniqueId val="{00000001-C7C9-4F7E-8BC0-32C56E2A70EC}"/>
            </c:ext>
          </c:extLst>
        </c:ser>
        <c:dLbls>
          <c:showLegendKey val="0"/>
          <c:showVal val="0"/>
          <c:showCatName val="0"/>
          <c:showSerName val="0"/>
          <c:showPercent val="0"/>
          <c:showBubbleSize val="0"/>
        </c:dLbls>
        <c:gapWidth val="80"/>
        <c:overlap val="100"/>
        <c:axId val="886437631"/>
        <c:axId val="1"/>
      </c:barChart>
      <c:catAx>
        <c:axId val="8864376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
        <c:crossesAt val="0"/>
        <c:auto val="0"/>
        <c:lblAlgn val="ctr"/>
        <c:lblOffset val="100"/>
        <c:noMultiLvlLbl val="0"/>
      </c:catAx>
      <c:valAx>
        <c:axId val="1"/>
        <c:scaling>
          <c:orientation val="minMax"/>
          <c:max val="4"/>
          <c:min val="-19018"/>
        </c:scaling>
        <c:delete val="1"/>
        <c:axPos val="l"/>
        <c:numFmt formatCode="General" sourceLinked="1"/>
        <c:majorTickMark val="out"/>
        <c:minorTickMark val="none"/>
        <c:tickLblPos val="nextTo"/>
        <c:crossAx val="886437631"/>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84407146724419E-3"/>
          <c:y val="0.3215077605321508"/>
          <c:w val="0.98592311857065507"/>
          <c:h val="0.56319290465631933"/>
        </c:manualLayout>
      </c:layout>
      <c:barChart>
        <c:barDir val="col"/>
        <c:grouping val="stacked"/>
        <c:varyColors val="0"/>
        <c:ser>
          <c:idx val="0"/>
          <c:order val="0"/>
          <c:spPr>
            <a:solidFill>
              <a:srgbClr val="A32020"/>
            </a:solidFill>
            <a:ln w="9525" cmpd="sng" algn="ctr">
              <a:solidFill>
                <a:srgbClr val="FFFFFF"/>
              </a:solidFill>
              <a:prstDash val="solid"/>
            </a:ln>
          </c:spPr>
          <c:invertIfNegative val="0"/>
          <c:dLbls>
            <c:dLbl>
              <c:idx val="1"/>
              <c:layout>
                <c:manualLayout>
                  <c:x val="0"/>
                  <c:y val="-0.44567627494456763"/>
                </c:manualLayout>
              </c:layout>
              <c:numFmt formatCode="#,##0.0&quot;%&quot;;&quot;-&quot;#,##0.0&quot;%&quot;"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84-489C-A583-E3E24C7A66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1">
                  <c:v>14.299999999999999</c:v>
                </c:pt>
              </c:numCache>
            </c:numRef>
          </c:val>
          <c:extLst>
            <c:ext xmlns:c16="http://schemas.microsoft.com/office/drawing/2014/chart" uri="{C3380CC4-5D6E-409C-BE32-E72D297353CC}">
              <c16:uniqueId val="{00000001-9B84-489C-A583-E3E24C7A6618}"/>
            </c:ext>
          </c:extLst>
        </c:ser>
        <c:dLbls>
          <c:showLegendKey val="0"/>
          <c:showVal val="0"/>
          <c:showCatName val="0"/>
          <c:showSerName val="0"/>
          <c:showPercent val="0"/>
          <c:showBubbleSize val="0"/>
        </c:dLbls>
        <c:gapWidth val="80"/>
        <c:overlap val="100"/>
        <c:axId val="784907231"/>
        <c:axId val="1"/>
      </c:barChart>
      <c:catAx>
        <c:axId val="78490723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orientation val="minMax"/>
          <c:max val="14.299999999999999"/>
          <c:min val="0"/>
        </c:scaling>
        <c:delete val="1"/>
        <c:axPos val="l"/>
        <c:numFmt formatCode="General" sourceLinked="1"/>
        <c:majorTickMark val="out"/>
        <c:minorTickMark val="none"/>
        <c:tickLblPos val="nextTo"/>
        <c:crossAx val="784907231"/>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85EF68-C714-47DF-95F4-839246331BFE}" type="doc">
      <dgm:prSet loTypeId="urn:microsoft.com/office/officeart/2005/8/layout/chevron1" loCatId="process" qsTypeId="urn:microsoft.com/office/officeart/2005/8/quickstyle/simple1" qsCatId="simple" csTypeId="urn:microsoft.com/office/officeart/2005/8/colors/accent1_2" csCatId="accent1" phldr="1"/>
      <dgm:spPr/>
    </dgm:pt>
    <dgm:pt modelId="{5DC8ED4B-2B23-4F96-BE85-F404472F0AEB}">
      <dgm:prSet phldrT="[Text]" custT="1"/>
      <dgm:spPr/>
      <dgm:t>
        <a:bodyPr/>
        <a:lstStyle/>
        <a:p>
          <a:r>
            <a:rPr lang="en-US" sz="1000"/>
            <a:t>1: Location</a:t>
          </a:r>
        </a:p>
      </dgm:t>
    </dgm:pt>
    <dgm:pt modelId="{5BA55E4F-B2BD-4E91-9DFB-5988BC3D0750}" type="parTrans" cxnId="{902495B6-A384-48F2-87CF-A8C2FA314F08}">
      <dgm:prSet/>
      <dgm:spPr/>
      <dgm:t>
        <a:bodyPr/>
        <a:lstStyle/>
        <a:p>
          <a:endParaRPr lang="en-US" sz="1000"/>
        </a:p>
      </dgm:t>
    </dgm:pt>
    <dgm:pt modelId="{6E4AE3C0-A9B2-474A-9530-D9F9DF9D7619}" type="sibTrans" cxnId="{902495B6-A384-48F2-87CF-A8C2FA314F08}">
      <dgm:prSet/>
      <dgm:spPr/>
      <dgm:t>
        <a:bodyPr/>
        <a:lstStyle/>
        <a:p>
          <a:endParaRPr lang="en-US" sz="1000"/>
        </a:p>
      </dgm:t>
    </dgm:pt>
    <dgm:pt modelId="{3AE54B61-3F4C-4A4B-ADFF-CC9CF7BA4F25}">
      <dgm:prSet phldrT="[Text]" custT="1"/>
      <dgm:spPr>
        <a:solidFill>
          <a:srgbClr val="D04A02">
            <a:alpha val="50196"/>
          </a:srgbClr>
        </a:solidFill>
      </dgm:spPr>
      <dgm:t>
        <a:bodyPr/>
        <a:lstStyle/>
        <a:p>
          <a:r>
            <a:rPr lang="en-US" sz="1000"/>
            <a:t>2: Sector selection</a:t>
          </a:r>
        </a:p>
      </dgm:t>
    </dgm:pt>
    <dgm:pt modelId="{AD3697A3-79E9-412C-ABAA-2ECF1B656769}" type="parTrans" cxnId="{057CA1C8-E8EC-4726-BB66-A5F57BE533C4}">
      <dgm:prSet/>
      <dgm:spPr/>
      <dgm:t>
        <a:bodyPr/>
        <a:lstStyle/>
        <a:p>
          <a:endParaRPr lang="en-US" sz="1000"/>
        </a:p>
      </dgm:t>
    </dgm:pt>
    <dgm:pt modelId="{2F26448B-A936-4101-A4C0-886A79BB89DB}" type="sibTrans" cxnId="{057CA1C8-E8EC-4726-BB66-A5F57BE533C4}">
      <dgm:prSet/>
      <dgm:spPr/>
      <dgm:t>
        <a:bodyPr/>
        <a:lstStyle/>
        <a:p>
          <a:endParaRPr lang="en-US" sz="1000"/>
        </a:p>
      </dgm:t>
    </dgm:pt>
    <dgm:pt modelId="{1A4CF166-F76B-49CE-AE8B-8D078B23ACFD}">
      <dgm:prSet phldrT="[Text]" custT="1"/>
      <dgm:spPr>
        <a:solidFill>
          <a:srgbClr val="D04A02">
            <a:alpha val="50196"/>
          </a:srgbClr>
        </a:solidFill>
      </dgm:spPr>
      <dgm:t>
        <a:bodyPr/>
        <a:lstStyle/>
        <a:p>
          <a:r>
            <a:rPr lang="en-US" sz="1000"/>
            <a:t>4: Institutional structure</a:t>
          </a:r>
        </a:p>
      </dgm:t>
    </dgm:pt>
    <dgm:pt modelId="{381AF31E-F69C-425B-9C4C-D6D0674E7B92}" type="parTrans" cxnId="{1EB0BF63-A050-48B5-9150-AFAC381F5A40}">
      <dgm:prSet/>
      <dgm:spPr/>
      <dgm:t>
        <a:bodyPr/>
        <a:lstStyle/>
        <a:p>
          <a:endParaRPr lang="en-US" sz="1000"/>
        </a:p>
      </dgm:t>
    </dgm:pt>
    <dgm:pt modelId="{F7F877CE-DA4A-4070-AD65-36F2C85A2D49}" type="sibTrans" cxnId="{1EB0BF63-A050-48B5-9150-AFAC381F5A40}">
      <dgm:prSet/>
      <dgm:spPr/>
      <dgm:t>
        <a:bodyPr/>
        <a:lstStyle/>
        <a:p>
          <a:endParaRPr lang="en-US" sz="1000"/>
        </a:p>
      </dgm:t>
    </dgm:pt>
    <dgm:pt modelId="{94671029-ABBC-4C5C-96F5-78D438DD3B3F}">
      <dgm:prSet custT="1"/>
      <dgm:spPr>
        <a:solidFill>
          <a:srgbClr val="D04A02">
            <a:alpha val="50196"/>
          </a:srgbClr>
        </a:solidFill>
      </dgm:spPr>
      <dgm:t>
        <a:bodyPr/>
        <a:lstStyle/>
        <a:p>
          <a:r>
            <a:rPr lang="en-US" sz="1000"/>
            <a:t>3: Incentive structure</a:t>
          </a:r>
        </a:p>
      </dgm:t>
    </dgm:pt>
    <dgm:pt modelId="{DB4357C2-AD04-489B-8943-2ACE9784E0F6}" type="parTrans" cxnId="{D9BEF4B7-D874-4C7C-BC5E-CFEFDC8216B8}">
      <dgm:prSet/>
      <dgm:spPr/>
      <dgm:t>
        <a:bodyPr/>
        <a:lstStyle/>
        <a:p>
          <a:endParaRPr lang="en-US" sz="1000"/>
        </a:p>
      </dgm:t>
    </dgm:pt>
    <dgm:pt modelId="{F15A699A-F57A-4CE4-AA9A-294840056294}" type="sibTrans" cxnId="{D9BEF4B7-D874-4C7C-BC5E-CFEFDC8216B8}">
      <dgm:prSet/>
      <dgm:spPr/>
      <dgm:t>
        <a:bodyPr/>
        <a:lstStyle/>
        <a:p>
          <a:endParaRPr lang="en-US" sz="1000"/>
        </a:p>
      </dgm:t>
    </dgm:pt>
    <dgm:pt modelId="{26253FCD-8140-4F93-BC28-C726401BE6B6}">
      <dgm:prSet custT="1"/>
      <dgm:spPr>
        <a:solidFill>
          <a:srgbClr val="D04A02">
            <a:alpha val="50196"/>
          </a:srgbClr>
        </a:solidFill>
      </dgm:spPr>
      <dgm:t>
        <a:bodyPr/>
        <a:lstStyle/>
        <a:p>
          <a:r>
            <a:rPr lang="en-US" sz="1000"/>
            <a:t>5: Component and zoning</a:t>
          </a:r>
        </a:p>
      </dgm:t>
    </dgm:pt>
    <dgm:pt modelId="{452B0562-FD1B-471A-9895-695B23A9DF5B}" type="parTrans" cxnId="{9AD8C5A7-33C3-4600-9392-54EA300F732E}">
      <dgm:prSet/>
      <dgm:spPr/>
      <dgm:t>
        <a:bodyPr/>
        <a:lstStyle/>
        <a:p>
          <a:endParaRPr lang="en-US" sz="1000"/>
        </a:p>
      </dgm:t>
    </dgm:pt>
    <dgm:pt modelId="{56FBD035-58AE-43F9-8724-7207784A7381}" type="sibTrans" cxnId="{9AD8C5A7-33C3-4600-9392-54EA300F732E}">
      <dgm:prSet/>
      <dgm:spPr/>
      <dgm:t>
        <a:bodyPr/>
        <a:lstStyle/>
        <a:p>
          <a:endParaRPr lang="en-US" sz="1000"/>
        </a:p>
      </dgm:t>
    </dgm:pt>
    <dgm:pt modelId="{049F9131-BBF6-4D4A-A739-38633DB3716B}" type="pres">
      <dgm:prSet presAssocID="{6985EF68-C714-47DF-95F4-839246331BFE}" presName="Name0" presStyleCnt="0">
        <dgm:presLayoutVars>
          <dgm:dir/>
          <dgm:animLvl val="lvl"/>
          <dgm:resizeHandles val="exact"/>
        </dgm:presLayoutVars>
      </dgm:prSet>
      <dgm:spPr/>
    </dgm:pt>
    <dgm:pt modelId="{8329E24A-1AAD-44DA-B2CA-9AB294F775A9}" type="pres">
      <dgm:prSet presAssocID="{5DC8ED4B-2B23-4F96-BE85-F404472F0AEB}" presName="parTxOnly" presStyleLbl="node1" presStyleIdx="0" presStyleCnt="5">
        <dgm:presLayoutVars>
          <dgm:chMax val="0"/>
          <dgm:chPref val="0"/>
          <dgm:bulletEnabled val="1"/>
        </dgm:presLayoutVars>
      </dgm:prSet>
      <dgm:spPr/>
    </dgm:pt>
    <dgm:pt modelId="{4A08A57B-51EB-45F4-BCD4-A04EA15CEADE}" type="pres">
      <dgm:prSet presAssocID="{6E4AE3C0-A9B2-474A-9530-D9F9DF9D7619}" presName="parTxOnlySpace" presStyleCnt="0"/>
      <dgm:spPr/>
    </dgm:pt>
    <dgm:pt modelId="{7141E469-82A7-452A-A5A3-3C9DB8A77C4C}" type="pres">
      <dgm:prSet presAssocID="{3AE54B61-3F4C-4A4B-ADFF-CC9CF7BA4F25}" presName="parTxOnly" presStyleLbl="node1" presStyleIdx="1" presStyleCnt="5">
        <dgm:presLayoutVars>
          <dgm:chMax val="0"/>
          <dgm:chPref val="0"/>
          <dgm:bulletEnabled val="1"/>
        </dgm:presLayoutVars>
      </dgm:prSet>
      <dgm:spPr/>
    </dgm:pt>
    <dgm:pt modelId="{4D05AE17-1EBD-4F05-9421-52879486620F}" type="pres">
      <dgm:prSet presAssocID="{2F26448B-A936-4101-A4C0-886A79BB89DB}" presName="parTxOnlySpace" presStyleCnt="0"/>
      <dgm:spPr/>
    </dgm:pt>
    <dgm:pt modelId="{8DBE70E2-0F02-4BE3-872D-1EAADD9D5F11}" type="pres">
      <dgm:prSet presAssocID="{94671029-ABBC-4C5C-96F5-78D438DD3B3F}" presName="parTxOnly" presStyleLbl="node1" presStyleIdx="2" presStyleCnt="5">
        <dgm:presLayoutVars>
          <dgm:chMax val="0"/>
          <dgm:chPref val="0"/>
          <dgm:bulletEnabled val="1"/>
        </dgm:presLayoutVars>
      </dgm:prSet>
      <dgm:spPr/>
    </dgm:pt>
    <dgm:pt modelId="{087083BF-88D1-4C3F-A748-2996D859E2FC}" type="pres">
      <dgm:prSet presAssocID="{F15A699A-F57A-4CE4-AA9A-294840056294}" presName="parTxOnlySpace" presStyleCnt="0"/>
      <dgm:spPr/>
    </dgm:pt>
    <dgm:pt modelId="{97FACA6A-B18A-4801-AE02-0D2B659B5EDD}" type="pres">
      <dgm:prSet presAssocID="{1A4CF166-F76B-49CE-AE8B-8D078B23ACFD}" presName="parTxOnly" presStyleLbl="node1" presStyleIdx="3" presStyleCnt="5">
        <dgm:presLayoutVars>
          <dgm:chMax val="0"/>
          <dgm:chPref val="0"/>
          <dgm:bulletEnabled val="1"/>
        </dgm:presLayoutVars>
      </dgm:prSet>
      <dgm:spPr/>
    </dgm:pt>
    <dgm:pt modelId="{A38AEC4D-9F29-49AE-9561-58057C627CFF}" type="pres">
      <dgm:prSet presAssocID="{F7F877CE-DA4A-4070-AD65-36F2C85A2D49}" presName="parTxOnlySpace" presStyleCnt="0"/>
      <dgm:spPr/>
    </dgm:pt>
    <dgm:pt modelId="{39EF0538-AF7D-4C6B-897E-A3D180C2621C}" type="pres">
      <dgm:prSet presAssocID="{26253FCD-8140-4F93-BC28-C726401BE6B6}" presName="parTxOnly" presStyleLbl="node1" presStyleIdx="4" presStyleCnt="5">
        <dgm:presLayoutVars>
          <dgm:chMax val="0"/>
          <dgm:chPref val="0"/>
          <dgm:bulletEnabled val="1"/>
        </dgm:presLayoutVars>
      </dgm:prSet>
      <dgm:spPr/>
    </dgm:pt>
  </dgm:ptLst>
  <dgm:cxnLst>
    <dgm:cxn modelId="{61C89834-F50D-4C95-B2F2-CBF5FC5D4485}" type="presOf" srcId="{26253FCD-8140-4F93-BC28-C726401BE6B6}" destId="{39EF0538-AF7D-4C6B-897E-A3D180C2621C}" srcOrd="0" destOrd="0" presId="urn:microsoft.com/office/officeart/2005/8/layout/chevron1"/>
    <dgm:cxn modelId="{DED4D15F-0982-4E31-9776-FD222430D8E9}" type="presOf" srcId="{94671029-ABBC-4C5C-96F5-78D438DD3B3F}" destId="{8DBE70E2-0F02-4BE3-872D-1EAADD9D5F11}" srcOrd="0" destOrd="0" presId="urn:microsoft.com/office/officeart/2005/8/layout/chevron1"/>
    <dgm:cxn modelId="{1EB0BF63-A050-48B5-9150-AFAC381F5A40}" srcId="{6985EF68-C714-47DF-95F4-839246331BFE}" destId="{1A4CF166-F76B-49CE-AE8B-8D078B23ACFD}" srcOrd="3" destOrd="0" parTransId="{381AF31E-F69C-425B-9C4C-D6D0674E7B92}" sibTransId="{F7F877CE-DA4A-4070-AD65-36F2C85A2D49}"/>
    <dgm:cxn modelId="{0605664D-781C-4C09-86F1-6BD49AAB0F83}" type="presOf" srcId="{3AE54B61-3F4C-4A4B-ADFF-CC9CF7BA4F25}" destId="{7141E469-82A7-452A-A5A3-3C9DB8A77C4C}" srcOrd="0" destOrd="0" presId="urn:microsoft.com/office/officeart/2005/8/layout/chevron1"/>
    <dgm:cxn modelId="{DC2AEE74-2E62-468C-B5CF-E41BB1C0C01B}" type="presOf" srcId="{1A4CF166-F76B-49CE-AE8B-8D078B23ACFD}" destId="{97FACA6A-B18A-4801-AE02-0D2B659B5EDD}" srcOrd="0" destOrd="0" presId="urn:microsoft.com/office/officeart/2005/8/layout/chevron1"/>
    <dgm:cxn modelId="{3D98D7A5-4FE3-494D-847C-E069351B6B53}" type="presOf" srcId="{6985EF68-C714-47DF-95F4-839246331BFE}" destId="{049F9131-BBF6-4D4A-A739-38633DB3716B}" srcOrd="0" destOrd="0" presId="urn:microsoft.com/office/officeart/2005/8/layout/chevron1"/>
    <dgm:cxn modelId="{9AD8C5A7-33C3-4600-9392-54EA300F732E}" srcId="{6985EF68-C714-47DF-95F4-839246331BFE}" destId="{26253FCD-8140-4F93-BC28-C726401BE6B6}" srcOrd="4" destOrd="0" parTransId="{452B0562-FD1B-471A-9895-695B23A9DF5B}" sibTransId="{56FBD035-58AE-43F9-8724-7207784A7381}"/>
    <dgm:cxn modelId="{902495B6-A384-48F2-87CF-A8C2FA314F08}" srcId="{6985EF68-C714-47DF-95F4-839246331BFE}" destId="{5DC8ED4B-2B23-4F96-BE85-F404472F0AEB}" srcOrd="0" destOrd="0" parTransId="{5BA55E4F-B2BD-4E91-9DFB-5988BC3D0750}" sibTransId="{6E4AE3C0-A9B2-474A-9530-D9F9DF9D7619}"/>
    <dgm:cxn modelId="{D9BEF4B7-D874-4C7C-BC5E-CFEFDC8216B8}" srcId="{6985EF68-C714-47DF-95F4-839246331BFE}" destId="{94671029-ABBC-4C5C-96F5-78D438DD3B3F}" srcOrd="2" destOrd="0" parTransId="{DB4357C2-AD04-489B-8943-2ACE9784E0F6}" sibTransId="{F15A699A-F57A-4CE4-AA9A-294840056294}"/>
    <dgm:cxn modelId="{057CA1C8-E8EC-4726-BB66-A5F57BE533C4}" srcId="{6985EF68-C714-47DF-95F4-839246331BFE}" destId="{3AE54B61-3F4C-4A4B-ADFF-CC9CF7BA4F25}" srcOrd="1" destOrd="0" parTransId="{AD3697A3-79E9-412C-ABAA-2ECF1B656769}" sibTransId="{2F26448B-A936-4101-A4C0-886A79BB89DB}"/>
    <dgm:cxn modelId="{48B928ED-CB2B-489C-8C9A-465DC60F6EBC}" type="presOf" srcId="{5DC8ED4B-2B23-4F96-BE85-F404472F0AEB}" destId="{8329E24A-1AAD-44DA-B2CA-9AB294F775A9}" srcOrd="0" destOrd="0" presId="urn:microsoft.com/office/officeart/2005/8/layout/chevron1"/>
    <dgm:cxn modelId="{93AEFD44-C108-4566-8987-04836697D542}" type="presParOf" srcId="{049F9131-BBF6-4D4A-A739-38633DB3716B}" destId="{8329E24A-1AAD-44DA-B2CA-9AB294F775A9}" srcOrd="0" destOrd="0" presId="urn:microsoft.com/office/officeart/2005/8/layout/chevron1"/>
    <dgm:cxn modelId="{94C090E7-5294-4EFA-B92B-8A638262C9E3}" type="presParOf" srcId="{049F9131-BBF6-4D4A-A739-38633DB3716B}" destId="{4A08A57B-51EB-45F4-BCD4-A04EA15CEADE}" srcOrd="1" destOrd="0" presId="urn:microsoft.com/office/officeart/2005/8/layout/chevron1"/>
    <dgm:cxn modelId="{497D8F31-B3DF-4AC6-BF48-D4408EB7FEB6}" type="presParOf" srcId="{049F9131-BBF6-4D4A-A739-38633DB3716B}" destId="{7141E469-82A7-452A-A5A3-3C9DB8A77C4C}" srcOrd="2" destOrd="0" presId="urn:microsoft.com/office/officeart/2005/8/layout/chevron1"/>
    <dgm:cxn modelId="{ACD095B8-B0CB-4464-9A25-197BBAFA172B}" type="presParOf" srcId="{049F9131-BBF6-4D4A-A739-38633DB3716B}" destId="{4D05AE17-1EBD-4F05-9421-52879486620F}" srcOrd="3" destOrd="0" presId="urn:microsoft.com/office/officeart/2005/8/layout/chevron1"/>
    <dgm:cxn modelId="{14BEFFA9-BF86-46D2-82DB-506A750758A2}" type="presParOf" srcId="{049F9131-BBF6-4D4A-A739-38633DB3716B}" destId="{8DBE70E2-0F02-4BE3-872D-1EAADD9D5F11}" srcOrd="4" destOrd="0" presId="urn:microsoft.com/office/officeart/2005/8/layout/chevron1"/>
    <dgm:cxn modelId="{4D7AB57E-986A-4895-B244-E554CA135A6A}" type="presParOf" srcId="{049F9131-BBF6-4D4A-A739-38633DB3716B}" destId="{087083BF-88D1-4C3F-A748-2996D859E2FC}" srcOrd="5" destOrd="0" presId="urn:microsoft.com/office/officeart/2005/8/layout/chevron1"/>
    <dgm:cxn modelId="{3D15D4E9-4298-4DA0-B835-C46E2BAC4CD8}" type="presParOf" srcId="{049F9131-BBF6-4D4A-A739-38633DB3716B}" destId="{97FACA6A-B18A-4801-AE02-0D2B659B5EDD}" srcOrd="6" destOrd="0" presId="urn:microsoft.com/office/officeart/2005/8/layout/chevron1"/>
    <dgm:cxn modelId="{0919B2B9-25CF-423B-896B-54A04E5B9DB0}" type="presParOf" srcId="{049F9131-BBF6-4D4A-A739-38633DB3716B}" destId="{A38AEC4D-9F29-49AE-9561-58057C627CFF}" srcOrd="7" destOrd="0" presId="urn:microsoft.com/office/officeart/2005/8/layout/chevron1"/>
    <dgm:cxn modelId="{951B4E5A-690D-4859-BAC9-100096C55CB4}" type="presParOf" srcId="{049F9131-BBF6-4D4A-A739-38633DB3716B}" destId="{39EF0538-AF7D-4C6B-897E-A3D180C2621C}" srcOrd="8"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85EF68-C714-47DF-95F4-839246331BFE}" type="doc">
      <dgm:prSet loTypeId="urn:microsoft.com/office/officeart/2005/8/layout/chevron1" loCatId="process" qsTypeId="urn:microsoft.com/office/officeart/2005/8/quickstyle/simple1" qsCatId="simple" csTypeId="urn:microsoft.com/office/officeart/2005/8/colors/accent1_2" csCatId="accent1" phldr="1"/>
      <dgm:spPr/>
    </dgm:pt>
    <dgm:pt modelId="{5DC8ED4B-2B23-4F96-BE85-F404472F0AEB}">
      <dgm:prSet phldrT="[Text]" custT="1"/>
      <dgm:spPr>
        <a:solidFill>
          <a:srgbClr val="D04A02">
            <a:alpha val="50196"/>
          </a:srgbClr>
        </a:solidFill>
      </dgm:spPr>
      <dgm:t>
        <a:bodyPr/>
        <a:lstStyle/>
        <a:p>
          <a:r>
            <a:rPr lang="en-US" sz="1000"/>
            <a:t>1: Location</a:t>
          </a:r>
        </a:p>
      </dgm:t>
    </dgm:pt>
    <dgm:pt modelId="{5BA55E4F-B2BD-4E91-9DFB-5988BC3D0750}" type="parTrans" cxnId="{902495B6-A384-48F2-87CF-A8C2FA314F08}">
      <dgm:prSet/>
      <dgm:spPr/>
      <dgm:t>
        <a:bodyPr/>
        <a:lstStyle/>
        <a:p>
          <a:endParaRPr lang="en-US" sz="1000"/>
        </a:p>
      </dgm:t>
    </dgm:pt>
    <dgm:pt modelId="{6E4AE3C0-A9B2-474A-9530-D9F9DF9D7619}" type="sibTrans" cxnId="{902495B6-A384-48F2-87CF-A8C2FA314F08}">
      <dgm:prSet/>
      <dgm:spPr/>
      <dgm:t>
        <a:bodyPr/>
        <a:lstStyle/>
        <a:p>
          <a:endParaRPr lang="en-US" sz="1000"/>
        </a:p>
      </dgm:t>
    </dgm:pt>
    <dgm:pt modelId="{3AE54B61-3F4C-4A4B-ADFF-CC9CF7BA4F25}">
      <dgm:prSet phldrT="[Text]" custT="1"/>
      <dgm:spPr>
        <a:solidFill>
          <a:srgbClr val="D04A02"/>
        </a:solidFill>
      </dgm:spPr>
      <dgm:t>
        <a:bodyPr/>
        <a:lstStyle/>
        <a:p>
          <a:r>
            <a:rPr lang="en-US" sz="1000"/>
            <a:t>2: Sector selection</a:t>
          </a:r>
        </a:p>
      </dgm:t>
    </dgm:pt>
    <dgm:pt modelId="{AD3697A3-79E9-412C-ABAA-2ECF1B656769}" type="parTrans" cxnId="{057CA1C8-E8EC-4726-BB66-A5F57BE533C4}">
      <dgm:prSet/>
      <dgm:spPr/>
      <dgm:t>
        <a:bodyPr/>
        <a:lstStyle/>
        <a:p>
          <a:endParaRPr lang="en-US" sz="1000"/>
        </a:p>
      </dgm:t>
    </dgm:pt>
    <dgm:pt modelId="{2F26448B-A936-4101-A4C0-886A79BB89DB}" type="sibTrans" cxnId="{057CA1C8-E8EC-4726-BB66-A5F57BE533C4}">
      <dgm:prSet/>
      <dgm:spPr/>
      <dgm:t>
        <a:bodyPr/>
        <a:lstStyle/>
        <a:p>
          <a:endParaRPr lang="en-US" sz="1000"/>
        </a:p>
      </dgm:t>
    </dgm:pt>
    <dgm:pt modelId="{1A4CF166-F76B-49CE-AE8B-8D078B23ACFD}">
      <dgm:prSet phldrT="[Text]" custT="1"/>
      <dgm:spPr>
        <a:solidFill>
          <a:srgbClr val="D04A02">
            <a:alpha val="50196"/>
          </a:srgbClr>
        </a:solidFill>
      </dgm:spPr>
      <dgm:t>
        <a:bodyPr/>
        <a:lstStyle/>
        <a:p>
          <a:r>
            <a:rPr lang="en-US" sz="1000"/>
            <a:t>4: Institutional structure</a:t>
          </a:r>
        </a:p>
      </dgm:t>
    </dgm:pt>
    <dgm:pt modelId="{381AF31E-F69C-425B-9C4C-D6D0674E7B92}" type="parTrans" cxnId="{1EB0BF63-A050-48B5-9150-AFAC381F5A40}">
      <dgm:prSet/>
      <dgm:spPr/>
      <dgm:t>
        <a:bodyPr/>
        <a:lstStyle/>
        <a:p>
          <a:endParaRPr lang="en-US" sz="1000"/>
        </a:p>
      </dgm:t>
    </dgm:pt>
    <dgm:pt modelId="{F7F877CE-DA4A-4070-AD65-36F2C85A2D49}" type="sibTrans" cxnId="{1EB0BF63-A050-48B5-9150-AFAC381F5A40}">
      <dgm:prSet/>
      <dgm:spPr/>
      <dgm:t>
        <a:bodyPr/>
        <a:lstStyle/>
        <a:p>
          <a:endParaRPr lang="en-US" sz="1000"/>
        </a:p>
      </dgm:t>
    </dgm:pt>
    <dgm:pt modelId="{94671029-ABBC-4C5C-96F5-78D438DD3B3F}">
      <dgm:prSet custT="1"/>
      <dgm:spPr>
        <a:solidFill>
          <a:srgbClr val="D04A02">
            <a:alpha val="50196"/>
          </a:srgbClr>
        </a:solidFill>
      </dgm:spPr>
      <dgm:t>
        <a:bodyPr/>
        <a:lstStyle/>
        <a:p>
          <a:r>
            <a:rPr lang="en-US" sz="1000"/>
            <a:t>3: Incentive structure</a:t>
          </a:r>
        </a:p>
      </dgm:t>
    </dgm:pt>
    <dgm:pt modelId="{DB4357C2-AD04-489B-8943-2ACE9784E0F6}" type="parTrans" cxnId="{D9BEF4B7-D874-4C7C-BC5E-CFEFDC8216B8}">
      <dgm:prSet/>
      <dgm:spPr/>
      <dgm:t>
        <a:bodyPr/>
        <a:lstStyle/>
        <a:p>
          <a:endParaRPr lang="en-US" sz="1000"/>
        </a:p>
      </dgm:t>
    </dgm:pt>
    <dgm:pt modelId="{F15A699A-F57A-4CE4-AA9A-294840056294}" type="sibTrans" cxnId="{D9BEF4B7-D874-4C7C-BC5E-CFEFDC8216B8}">
      <dgm:prSet/>
      <dgm:spPr/>
      <dgm:t>
        <a:bodyPr/>
        <a:lstStyle/>
        <a:p>
          <a:endParaRPr lang="en-US" sz="1000"/>
        </a:p>
      </dgm:t>
    </dgm:pt>
    <dgm:pt modelId="{26253FCD-8140-4F93-BC28-C726401BE6B6}">
      <dgm:prSet custT="1"/>
      <dgm:spPr>
        <a:solidFill>
          <a:srgbClr val="D04A02">
            <a:alpha val="50196"/>
          </a:srgbClr>
        </a:solidFill>
      </dgm:spPr>
      <dgm:t>
        <a:bodyPr/>
        <a:lstStyle/>
        <a:p>
          <a:r>
            <a:rPr lang="en-US" sz="1000"/>
            <a:t>5: Component and zoning</a:t>
          </a:r>
        </a:p>
      </dgm:t>
    </dgm:pt>
    <dgm:pt modelId="{452B0562-FD1B-471A-9895-695B23A9DF5B}" type="parTrans" cxnId="{9AD8C5A7-33C3-4600-9392-54EA300F732E}">
      <dgm:prSet/>
      <dgm:spPr/>
      <dgm:t>
        <a:bodyPr/>
        <a:lstStyle/>
        <a:p>
          <a:endParaRPr lang="en-US" sz="1000"/>
        </a:p>
      </dgm:t>
    </dgm:pt>
    <dgm:pt modelId="{56FBD035-58AE-43F9-8724-7207784A7381}" type="sibTrans" cxnId="{9AD8C5A7-33C3-4600-9392-54EA300F732E}">
      <dgm:prSet/>
      <dgm:spPr/>
      <dgm:t>
        <a:bodyPr/>
        <a:lstStyle/>
        <a:p>
          <a:endParaRPr lang="en-US" sz="1000"/>
        </a:p>
      </dgm:t>
    </dgm:pt>
    <dgm:pt modelId="{049F9131-BBF6-4D4A-A739-38633DB3716B}" type="pres">
      <dgm:prSet presAssocID="{6985EF68-C714-47DF-95F4-839246331BFE}" presName="Name0" presStyleCnt="0">
        <dgm:presLayoutVars>
          <dgm:dir/>
          <dgm:animLvl val="lvl"/>
          <dgm:resizeHandles val="exact"/>
        </dgm:presLayoutVars>
      </dgm:prSet>
      <dgm:spPr/>
    </dgm:pt>
    <dgm:pt modelId="{8329E24A-1AAD-44DA-B2CA-9AB294F775A9}" type="pres">
      <dgm:prSet presAssocID="{5DC8ED4B-2B23-4F96-BE85-F404472F0AEB}" presName="parTxOnly" presStyleLbl="node1" presStyleIdx="0" presStyleCnt="5">
        <dgm:presLayoutVars>
          <dgm:chMax val="0"/>
          <dgm:chPref val="0"/>
          <dgm:bulletEnabled val="1"/>
        </dgm:presLayoutVars>
      </dgm:prSet>
      <dgm:spPr/>
    </dgm:pt>
    <dgm:pt modelId="{4A08A57B-51EB-45F4-BCD4-A04EA15CEADE}" type="pres">
      <dgm:prSet presAssocID="{6E4AE3C0-A9B2-474A-9530-D9F9DF9D7619}" presName="parTxOnlySpace" presStyleCnt="0"/>
      <dgm:spPr/>
    </dgm:pt>
    <dgm:pt modelId="{7141E469-82A7-452A-A5A3-3C9DB8A77C4C}" type="pres">
      <dgm:prSet presAssocID="{3AE54B61-3F4C-4A4B-ADFF-CC9CF7BA4F25}" presName="parTxOnly" presStyleLbl="node1" presStyleIdx="1" presStyleCnt="5">
        <dgm:presLayoutVars>
          <dgm:chMax val="0"/>
          <dgm:chPref val="0"/>
          <dgm:bulletEnabled val="1"/>
        </dgm:presLayoutVars>
      </dgm:prSet>
      <dgm:spPr/>
    </dgm:pt>
    <dgm:pt modelId="{4D05AE17-1EBD-4F05-9421-52879486620F}" type="pres">
      <dgm:prSet presAssocID="{2F26448B-A936-4101-A4C0-886A79BB89DB}" presName="parTxOnlySpace" presStyleCnt="0"/>
      <dgm:spPr/>
    </dgm:pt>
    <dgm:pt modelId="{8DBE70E2-0F02-4BE3-872D-1EAADD9D5F11}" type="pres">
      <dgm:prSet presAssocID="{94671029-ABBC-4C5C-96F5-78D438DD3B3F}" presName="parTxOnly" presStyleLbl="node1" presStyleIdx="2" presStyleCnt="5">
        <dgm:presLayoutVars>
          <dgm:chMax val="0"/>
          <dgm:chPref val="0"/>
          <dgm:bulletEnabled val="1"/>
        </dgm:presLayoutVars>
      </dgm:prSet>
      <dgm:spPr/>
    </dgm:pt>
    <dgm:pt modelId="{087083BF-88D1-4C3F-A748-2996D859E2FC}" type="pres">
      <dgm:prSet presAssocID="{F15A699A-F57A-4CE4-AA9A-294840056294}" presName="parTxOnlySpace" presStyleCnt="0"/>
      <dgm:spPr/>
    </dgm:pt>
    <dgm:pt modelId="{97FACA6A-B18A-4801-AE02-0D2B659B5EDD}" type="pres">
      <dgm:prSet presAssocID="{1A4CF166-F76B-49CE-AE8B-8D078B23ACFD}" presName="parTxOnly" presStyleLbl="node1" presStyleIdx="3" presStyleCnt="5">
        <dgm:presLayoutVars>
          <dgm:chMax val="0"/>
          <dgm:chPref val="0"/>
          <dgm:bulletEnabled val="1"/>
        </dgm:presLayoutVars>
      </dgm:prSet>
      <dgm:spPr/>
    </dgm:pt>
    <dgm:pt modelId="{A38AEC4D-9F29-49AE-9561-58057C627CFF}" type="pres">
      <dgm:prSet presAssocID="{F7F877CE-DA4A-4070-AD65-36F2C85A2D49}" presName="parTxOnlySpace" presStyleCnt="0"/>
      <dgm:spPr/>
    </dgm:pt>
    <dgm:pt modelId="{39EF0538-AF7D-4C6B-897E-A3D180C2621C}" type="pres">
      <dgm:prSet presAssocID="{26253FCD-8140-4F93-BC28-C726401BE6B6}" presName="parTxOnly" presStyleLbl="node1" presStyleIdx="4" presStyleCnt="5">
        <dgm:presLayoutVars>
          <dgm:chMax val="0"/>
          <dgm:chPref val="0"/>
          <dgm:bulletEnabled val="1"/>
        </dgm:presLayoutVars>
      </dgm:prSet>
      <dgm:spPr/>
    </dgm:pt>
  </dgm:ptLst>
  <dgm:cxnLst>
    <dgm:cxn modelId="{61C89834-F50D-4C95-B2F2-CBF5FC5D4485}" type="presOf" srcId="{26253FCD-8140-4F93-BC28-C726401BE6B6}" destId="{39EF0538-AF7D-4C6B-897E-A3D180C2621C}" srcOrd="0" destOrd="0" presId="urn:microsoft.com/office/officeart/2005/8/layout/chevron1"/>
    <dgm:cxn modelId="{DED4D15F-0982-4E31-9776-FD222430D8E9}" type="presOf" srcId="{94671029-ABBC-4C5C-96F5-78D438DD3B3F}" destId="{8DBE70E2-0F02-4BE3-872D-1EAADD9D5F11}" srcOrd="0" destOrd="0" presId="urn:microsoft.com/office/officeart/2005/8/layout/chevron1"/>
    <dgm:cxn modelId="{1EB0BF63-A050-48B5-9150-AFAC381F5A40}" srcId="{6985EF68-C714-47DF-95F4-839246331BFE}" destId="{1A4CF166-F76B-49CE-AE8B-8D078B23ACFD}" srcOrd="3" destOrd="0" parTransId="{381AF31E-F69C-425B-9C4C-D6D0674E7B92}" sibTransId="{F7F877CE-DA4A-4070-AD65-36F2C85A2D49}"/>
    <dgm:cxn modelId="{0605664D-781C-4C09-86F1-6BD49AAB0F83}" type="presOf" srcId="{3AE54B61-3F4C-4A4B-ADFF-CC9CF7BA4F25}" destId="{7141E469-82A7-452A-A5A3-3C9DB8A77C4C}" srcOrd="0" destOrd="0" presId="urn:microsoft.com/office/officeart/2005/8/layout/chevron1"/>
    <dgm:cxn modelId="{DC2AEE74-2E62-468C-B5CF-E41BB1C0C01B}" type="presOf" srcId="{1A4CF166-F76B-49CE-AE8B-8D078B23ACFD}" destId="{97FACA6A-B18A-4801-AE02-0D2B659B5EDD}" srcOrd="0" destOrd="0" presId="urn:microsoft.com/office/officeart/2005/8/layout/chevron1"/>
    <dgm:cxn modelId="{3D98D7A5-4FE3-494D-847C-E069351B6B53}" type="presOf" srcId="{6985EF68-C714-47DF-95F4-839246331BFE}" destId="{049F9131-BBF6-4D4A-A739-38633DB3716B}" srcOrd="0" destOrd="0" presId="urn:microsoft.com/office/officeart/2005/8/layout/chevron1"/>
    <dgm:cxn modelId="{9AD8C5A7-33C3-4600-9392-54EA300F732E}" srcId="{6985EF68-C714-47DF-95F4-839246331BFE}" destId="{26253FCD-8140-4F93-BC28-C726401BE6B6}" srcOrd="4" destOrd="0" parTransId="{452B0562-FD1B-471A-9895-695B23A9DF5B}" sibTransId="{56FBD035-58AE-43F9-8724-7207784A7381}"/>
    <dgm:cxn modelId="{902495B6-A384-48F2-87CF-A8C2FA314F08}" srcId="{6985EF68-C714-47DF-95F4-839246331BFE}" destId="{5DC8ED4B-2B23-4F96-BE85-F404472F0AEB}" srcOrd="0" destOrd="0" parTransId="{5BA55E4F-B2BD-4E91-9DFB-5988BC3D0750}" sibTransId="{6E4AE3C0-A9B2-474A-9530-D9F9DF9D7619}"/>
    <dgm:cxn modelId="{D9BEF4B7-D874-4C7C-BC5E-CFEFDC8216B8}" srcId="{6985EF68-C714-47DF-95F4-839246331BFE}" destId="{94671029-ABBC-4C5C-96F5-78D438DD3B3F}" srcOrd="2" destOrd="0" parTransId="{DB4357C2-AD04-489B-8943-2ACE9784E0F6}" sibTransId="{F15A699A-F57A-4CE4-AA9A-294840056294}"/>
    <dgm:cxn modelId="{057CA1C8-E8EC-4726-BB66-A5F57BE533C4}" srcId="{6985EF68-C714-47DF-95F4-839246331BFE}" destId="{3AE54B61-3F4C-4A4B-ADFF-CC9CF7BA4F25}" srcOrd="1" destOrd="0" parTransId="{AD3697A3-79E9-412C-ABAA-2ECF1B656769}" sibTransId="{2F26448B-A936-4101-A4C0-886A79BB89DB}"/>
    <dgm:cxn modelId="{48B928ED-CB2B-489C-8C9A-465DC60F6EBC}" type="presOf" srcId="{5DC8ED4B-2B23-4F96-BE85-F404472F0AEB}" destId="{8329E24A-1AAD-44DA-B2CA-9AB294F775A9}" srcOrd="0" destOrd="0" presId="urn:microsoft.com/office/officeart/2005/8/layout/chevron1"/>
    <dgm:cxn modelId="{93AEFD44-C108-4566-8987-04836697D542}" type="presParOf" srcId="{049F9131-BBF6-4D4A-A739-38633DB3716B}" destId="{8329E24A-1AAD-44DA-B2CA-9AB294F775A9}" srcOrd="0" destOrd="0" presId="urn:microsoft.com/office/officeart/2005/8/layout/chevron1"/>
    <dgm:cxn modelId="{94C090E7-5294-4EFA-B92B-8A638262C9E3}" type="presParOf" srcId="{049F9131-BBF6-4D4A-A739-38633DB3716B}" destId="{4A08A57B-51EB-45F4-BCD4-A04EA15CEADE}" srcOrd="1" destOrd="0" presId="urn:microsoft.com/office/officeart/2005/8/layout/chevron1"/>
    <dgm:cxn modelId="{497D8F31-B3DF-4AC6-BF48-D4408EB7FEB6}" type="presParOf" srcId="{049F9131-BBF6-4D4A-A739-38633DB3716B}" destId="{7141E469-82A7-452A-A5A3-3C9DB8A77C4C}" srcOrd="2" destOrd="0" presId="urn:microsoft.com/office/officeart/2005/8/layout/chevron1"/>
    <dgm:cxn modelId="{ACD095B8-B0CB-4464-9A25-197BBAFA172B}" type="presParOf" srcId="{049F9131-BBF6-4D4A-A739-38633DB3716B}" destId="{4D05AE17-1EBD-4F05-9421-52879486620F}" srcOrd="3" destOrd="0" presId="urn:microsoft.com/office/officeart/2005/8/layout/chevron1"/>
    <dgm:cxn modelId="{14BEFFA9-BF86-46D2-82DB-506A750758A2}" type="presParOf" srcId="{049F9131-BBF6-4D4A-A739-38633DB3716B}" destId="{8DBE70E2-0F02-4BE3-872D-1EAADD9D5F11}" srcOrd="4" destOrd="0" presId="urn:microsoft.com/office/officeart/2005/8/layout/chevron1"/>
    <dgm:cxn modelId="{4D7AB57E-986A-4895-B244-E554CA135A6A}" type="presParOf" srcId="{049F9131-BBF6-4D4A-A739-38633DB3716B}" destId="{087083BF-88D1-4C3F-A748-2996D859E2FC}" srcOrd="5" destOrd="0" presId="urn:microsoft.com/office/officeart/2005/8/layout/chevron1"/>
    <dgm:cxn modelId="{3D15D4E9-4298-4DA0-B835-C46E2BAC4CD8}" type="presParOf" srcId="{049F9131-BBF6-4D4A-A739-38633DB3716B}" destId="{97FACA6A-B18A-4801-AE02-0D2B659B5EDD}" srcOrd="6" destOrd="0" presId="urn:microsoft.com/office/officeart/2005/8/layout/chevron1"/>
    <dgm:cxn modelId="{0919B2B9-25CF-423B-896B-54A04E5B9DB0}" type="presParOf" srcId="{049F9131-BBF6-4D4A-A739-38633DB3716B}" destId="{A38AEC4D-9F29-49AE-9561-58057C627CFF}" srcOrd="7" destOrd="0" presId="urn:microsoft.com/office/officeart/2005/8/layout/chevron1"/>
    <dgm:cxn modelId="{951B4E5A-690D-4859-BAC9-100096C55CB4}" type="presParOf" srcId="{049F9131-BBF6-4D4A-A739-38633DB3716B}" destId="{39EF0538-AF7D-4C6B-897E-A3D180C2621C}" srcOrd="8" destOrd="0" presId="urn:microsoft.com/office/officeart/2005/8/layout/chevron1"/>
  </dgm:cxnLst>
  <dgm:bg/>
  <dgm:whole/>
  <dgm:extLst>
    <a:ext uri="http://schemas.microsoft.com/office/drawing/2008/diagram">
      <dsp:dataModelExt xmlns:dsp="http://schemas.microsoft.com/office/drawing/2008/diagram" relId="rId4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985EF68-C714-47DF-95F4-839246331BFE}" type="doc">
      <dgm:prSet loTypeId="urn:microsoft.com/office/officeart/2005/8/layout/chevron1" loCatId="process" qsTypeId="urn:microsoft.com/office/officeart/2005/8/quickstyle/simple1" qsCatId="simple" csTypeId="urn:microsoft.com/office/officeart/2005/8/colors/accent1_2" csCatId="accent1" phldr="1"/>
      <dgm:spPr/>
    </dgm:pt>
    <dgm:pt modelId="{5DC8ED4B-2B23-4F96-BE85-F404472F0AEB}">
      <dgm:prSet phldrT="[Text]" custT="1"/>
      <dgm:spPr>
        <a:solidFill>
          <a:srgbClr val="D04A02">
            <a:alpha val="50196"/>
          </a:srgbClr>
        </a:solidFill>
      </dgm:spPr>
      <dgm:t>
        <a:bodyPr/>
        <a:lstStyle/>
        <a:p>
          <a:r>
            <a:rPr lang="en-US" sz="1000"/>
            <a:t>1: Location</a:t>
          </a:r>
        </a:p>
      </dgm:t>
    </dgm:pt>
    <dgm:pt modelId="{5BA55E4F-B2BD-4E91-9DFB-5988BC3D0750}" type="parTrans" cxnId="{902495B6-A384-48F2-87CF-A8C2FA314F08}">
      <dgm:prSet/>
      <dgm:spPr/>
      <dgm:t>
        <a:bodyPr/>
        <a:lstStyle/>
        <a:p>
          <a:endParaRPr lang="en-US" sz="1000"/>
        </a:p>
      </dgm:t>
    </dgm:pt>
    <dgm:pt modelId="{6E4AE3C0-A9B2-474A-9530-D9F9DF9D7619}" type="sibTrans" cxnId="{902495B6-A384-48F2-87CF-A8C2FA314F08}">
      <dgm:prSet/>
      <dgm:spPr/>
      <dgm:t>
        <a:bodyPr/>
        <a:lstStyle/>
        <a:p>
          <a:endParaRPr lang="en-US" sz="1000"/>
        </a:p>
      </dgm:t>
    </dgm:pt>
    <dgm:pt modelId="{3AE54B61-3F4C-4A4B-ADFF-CC9CF7BA4F25}">
      <dgm:prSet phldrT="[Text]" custT="1"/>
      <dgm:spPr>
        <a:solidFill>
          <a:srgbClr val="D04A02">
            <a:alpha val="50196"/>
          </a:srgbClr>
        </a:solidFill>
      </dgm:spPr>
      <dgm:t>
        <a:bodyPr/>
        <a:lstStyle/>
        <a:p>
          <a:r>
            <a:rPr lang="en-US" sz="1000"/>
            <a:t>2: Sector selection</a:t>
          </a:r>
        </a:p>
      </dgm:t>
    </dgm:pt>
    <dgm:pt modelId="{AD3697A3-79E9-412C-ABAA-2ECF1B656769}" type="parTrans" cxnId="{057CA1C8-E8EC-4726-BB66-A5F57BE533C4}">
      <dgm:prSet/>
      <dgm:spPr/>
      <dgm:t>
        <a:bodyPr/>
        <a:lstStyle/>
        <a:p>
          <a:endParaRPr lang="en-US" sz="1000"/>
        </a:p>
      </dgm:t>
    </dgm:pt>
    <dgm:pt modelId="{2F26448B-A936-4101-A4C0-886A79BB89DB}" type="sibTrans" cxnId="{057CA1C8-E8EC-4726-BB66-A5F57BE533C4}">
      <dgm:prSet/>
      <dgm:spPr/>
      <dgm:t>
        <a:bodyPr/>
        <a:lstStyle/>
        <a:p>
          <a:endParaRPr lang="en-US" sz="1000"/>
        </a:p>
      </dgm:t>
    </dgm:pt>
    <dgm:pt modelId="{1A4CF166-F76B-49CE-AE8B-8D078B23ACFD}">
      <dgm:prSet phldrT="[Text]" custT="1"/>
      <dgm:spPr>
        <a:solidFill>
          <a:srgbClr val="D04A02">
            <a:alpha val="50196"/>
          </a:srgbClr>
        </a:solidFill>
      </dgm:spPr>
      <dgm:t>
        <a:bodyPr/>
        <a:lstStyle/>
        <a:p>
          <a:r>
            <a:rPr lang="en-US" sz="1000"/>
            <a:t>4: Institutional structure</a:t>
          </a:r>
        </a:p>
      </dgm:t>
    </dgm:pt>
    <dgm:pt modelId="{381AF31E-F69C-425B-9C4C-D6D0674E7B92}" type="parTrans" cxnId="{1EB0BF63-A050-48B5-9150-AFAC381F5A40}">
      <dgm:prSet/>
      <dgm:spPr/>
      <dgm:t>
        <a:bodyPr/>
        <a:lstStyle/>
        <a:p>
          <a:endParaRPr lang="en-US" sz="1000"/>
        </a:p>
      </dgm:t>
    </dgm:pt>
    <dgm:pt modelId="{F7F877CE-DA4A-4070-AD65-36F2C85A2D49}" type="sibTrans" cxnId="{1EB0BF63-A050-48B5-9150-AFAC381F5A40}">
      <dgm:prSet/>
      <dgm:spPr/>
      <dgm:t>
        <a:bodyPr/>
        <a:lstStyle/>
        <a:p>
          <a:endParaRPr lang="en-US" sz="1000"/>
        </a:p>
      </dgm:t>
    </dgm:pt>
    <dgm:pt modelId="{94671029-ABBC-4C5C-96F5-78D438DD3B3F}">
      <dgm:prSet custT="1"/>
      <dgm:spPr>
        <a:solidFill>
          <a:srgbClr val="D04A02"/>
        </a:solidFill>
      </dgm:spPr>
      <dgm:t>
        <a:bodyPr/>
        <a:lstStyle/>
        <a:p>
          <a:r>
            <a:rPr lang="en-US" sz="1000"/>
            <a:t>3: Incentive structure</a:t>
          </a:r>
        </a:p>
      </dgm:t>
    </dgm:pt>
    <dgm:pt modelId="{DB4357C2-AD04-489B-8943-2ACE9784E0F6}" type="parTrans" cxnId="{D9BEF4B7-D874-4C7C-BC5E-CFEFDC8216B8}">
      <dgm:prSet/>
      <dgm:spPr/>
      <dgm:t>
        <a:bodyPr/>
        <a:lstStyle/>
        <a:p>
          <a:endParaRPr lang="en-US" sz="1000"/>
        </a:p>
      </dgm:t>
    </dgm:pt>
    <dgm:pt modelId="{F15A699A-F57A-4CE4-AA9A-294840056294}" type="sibTrans" cxnId="{D9BEF4B7-D874-4C7C-BC5E-CFEFDC8216B8}">
      <dgm:prSet/>
      <dgm:spPr/>
      <dgm:t>
        <a:bodyPr/>
        <a:lstStyle/>
        <a:p>
          <a:endParaRPr lang="en-US" sz="1000"/>
        </a:p>
      </dgm:t>
    </dgm:pt>
    <dgm:pt modelId="{26253FCD-8140-4F93-BC28-C726401BE6B6}">
      <dgm:prSet custT="1"/>
      <dgm:spPr>
        <a:solidFill>
          <a:srgbClr val="D04A02">
            <a:alpha val="50196"/>
          </a:srgbClr>
        </a:solidFill>
      </dgm:spPr>
      <dgm:t>
        <a:bodyPr/>
        <a:lstStyle/>
        <a:p>
          <a:r>
            <a:rPr lang="en-US" sz="1000"/>
            <a:t>5: Component and zoning</a:t>
          </a:r>
        </a:p>
      </dgm:t>
    </dgm:pt>
    <dgm:pt modelId="{452B0562-FD1B-471A-9895-695B23A9DF5B}" type="parTrans" cxnId="{9AD8C5A7-33C3-4600-9392-54EA300F732E}">
      <dgm:prSet/>
      <dgm:spPr/>
      <dgm:t>
        <a:bodyPr/>
        <a:lstStyle/>
        <a:p>
          <a:endParaRPr lang="en-US" sz="1000"/>
        </a:p>
      </dgm:t>
    </dgm:pt>
    <dgm:pt modelId="{56FBD035-58AE-43F9-8724-7207784A7381}" type="sibTrans" cxnId="{9AD8C5A7-33C3-4600-9392-54EA300F732E}">
      <dgm:prSet/>
      <dgm:spPr/>
      <dgm:t>
        <a:bodyPr/>
        <a:lstStyle/>
        <a:p>
          <a:endParaRPr lang="en-US" sz="1000"/>
        </a:p>
      </dgm:t>
    </dgm:pt>
    <dgm:pt modelId="{049F9131-BBF6-4D4A-A739-38633DB3716B}" type="pres">
      <dgm:prSet presAssocID="{6985EF68-C714-47DF-95F4-839246331BFE}" presName="Name0" presStyleCnt="0">
        <dgm:presLayoutVars>
          <dgm:dir/>
          <dgm:animLvl val="lvl"/>
          <dgm:resizeHandles val="exact"/>
        </dgm:presLayoutVars>
      </dgm:prSet>
      <dgm:spPr/>
    </dgm:pt>
    <dgm:pt modelId="{8329E24A-1AAD-44DA-B2CA-9AB294F775A9}" type="pres">
      <dgm:prSet presAssocID="{5DC8ED4B-2B23-4F96-BE85-F404472F0AEB}" presName="parTxOnly" presStyleLbl="node1" presStyleIdx="0" presStyleCnt="5">
        <dgm:presLayoutVars>
          <dgm:chMax val="0"/>
          <dgm:chPref val="0"/>
          <dgm:bulletEnabled val="1"/>
        </dgm:presLayoutVars>
      </dgm:prSet>
      <dgm:spPr/>
    </dgm:pt>
    <dgm:pt modelId="{4A08A57B-51EB-45F4-BCD4-A04EA15CEADE}" type="pres">
      <dgm:prSet presAssocID="{6E4AE3C0-A9B2-474A-9530-D9F9DF9D7619}" presName="parTxOnlySpace" presStyleCnt="0"/>
      <dgm:spPr/>
    </dgm:pt>
    <dgm:pt modelId="{7141E469-82A7-452A-A5A3-3C9DB8A77C4C}" type="pres">
      <dgm:prSet presAssocID="{3AE54B61-3F4C-4A4B-ADFF-CC9CF7BA4F25}" presName="parTxOnly" presStyleLbl="node1" presStyleIdx="1" presStyleCnt="5">
        <dgm:presLayoutVars>
          <dgm:chMax val="0"/>
          <dgm:chPref val="0"/>
          <dgm:bulletEnabled val="1"/>
        </dgm:presLayoutVars>
      </dgm:prSet>
      <dgm:spPr/>
    </dgm:pt>
    <dgm:pt modelId="{4D05AE17-1EBD-4F05-9421-52879486620F}" type="pres">
      <dgm:prSet presAssocID="{2F26448B-A936-4101-A4C0-886A79BB89DB}" presName="parTxOnlySpace" presStyleCnt="0"/>
      <dgm:spPr/>
    </dgm:pt>
    <dgm:pt modelId="{8DBE70E2-0F02-4BE3-872D-1EAADD9D5F11}" type="pres">
      <dgm:prSet presAssocID="{94671029-ABBC-4C5C-96F5-78D438DD3B3F}" presName="parTxOnly" presStyleLbl="node1" presStyleIdx="2" presStyleCnt="5">
        <dgm:presLayoutVars>
          <dgm:chMax val="0"/>
          <dgm:chPref val="0"/>
          <dgm:bulletEnabled val="1"/>
        </dgm:presLayoutVars>
      </dgm:prSet>
      <dgm:spPr/>
    </dgm:pt>
    <dgm:pt modelId="{087083BF-88D1-4C3F-A748-2996D859E2FC}" type="pres">
      <dgm:prSet presAssocID="{F15A699A-F57A-4CE4-AA9A-294840056294}" presName="parTxOnlySpace" presStyleCnt="0"/>
      <dgm:spPr/>
    </dgm:pt>
    <dgm:pt modelId="{97FACA6A-B18A-4801-AE02-0D2B659B5EDD}" type="pres">
      <dgm:prSet presAssocID="{1A4CF166-F76B-49CE-AE8B-8D078B23ACFD}" presName="parTxOnly" presStyleLbl="node1" presStyleIdx="3" presStyleCnt="5">
        <dgm:presLayoutVars>
          <dgm:chMax val="0"/>
          <dgm:chPref val="0"/>
          <dgm:bulletEnabled val="1"/>
        </dgm:presLayoutVars>
      </dgm:prSet>
      <dgm:spPr/>
    </dgm:pt>
    <dgm:pt modelId="{A38AEC4D-9F29-49AE-9561-58057C627CFF}" type="pres">
      <dgm:prSet presAssocID="{F7F877CE-DA4A-4070-AD65-36F2C85A2D49}" presName="parTxOnlySpace" presStyleCnt="0"/>
      <dgm:spPr/>
    </dgm:pt>
    <dgm:pt modelId="{39EF0538-AF7D-4C6B-897E-A3D180C2621C}" type="pres">
      <dgm:prSet presAssocID="{26253FCD-8140-4F93-BC28-C726401BE6B6}" presName="parTxOnly" presStyleLbl="node1" presStyleIdx="4" presStyleCnt="5">
        <dgm:presLayoutVars>
          <dgm:chMax val="0"/>
          <dgm:chPref val="0"/>
          <dgm:bulletEnabled val="1"/>
        </dgm:presLayoutVars>
      </dgm:prSet>
      <dgm:spPr/>
    </dgm:pt>
  </dgm:ptLst>
  <dgm:cxnLst>
    <dgm:cxn modelId="{61C89834-F50D-4C95-B2F2-CBF5FC5D4485}" type="presOf" srcId="{26253FCD-8140-4F93-BC28-C726401BE6B6}" destId="{39EF0538-AF7D-4C6B-897E-A3D180C2621C}" srcOrd="0" destOrd="0" presId="urn:microsoft.com/office/officeart/2005/8/layout/chevron1"/>
    <dgm:cxn modelId="{DED4D15F-0982-4E31-9776-FD222430D8E9}" type="presOf" srcId="{94671029-ABBC-4C5C-96F5-78D438DD3B3F}" destId="{8DBE70E2-0F02-4BE3-872D-1EAADD9D5F11}" srcOrd="0" destOrd="0" presId="urn:microsoft.com/office/officeart/2005/8/layout/chevron1"/>
    <dgm:cxn modelId="{1EB0BF63-A050-48B5-9150-AFAC381F5A40}" srcId="{6985EF68-C714-47DF-95F4-839246331BFE}" destId="{1A4CF166-F76B-49CE-AE8B-8D078B23ACFD}" srcOrd="3" destOrd="0" parTransId="{381AF31E-F69C-425B-9C4C-D6D0674E7B92}" sibTransId="{F7F877CE-DA4A-4070-AD65-36F2C85A2D49}"/>
    <dgm:cxn modelId="{0605664D-781C-4C09-86F1-6BD49AAB0F83}" type="presOf" srcId="{3AE54B61-3F4C-4A4B-ADFF-CC9CF7BA4F25}" destId="{7141E469-82A7-452A-A5A3-3C9DB8A77C4C}" srcOrd="0" destOrd="0" presId="urn:microsoft.com/office/officeart/2005/8/layout/chevron1"/>
    <dgm:cxn modelId="{DC2AEE74-2E62-468C-B5CF-E41BB1C0C01B}" type="presOf" srcId="{1A4CF166-F76B-49CE-AE8B-8D078B23ACFD}" destId="{97FACA6A-B18A-4801-AE02-0D2B659B5EDD}" srcOrd="0" destOrd="0" presId="urn:microsoft.com/office/officeart/2005/8/layout/chevron1"/>
    <dgm:cxn modelId="{3D98D7A5-4FE3-494D-847C-E069351B6B53}" type="presOf" srcId="{6985EF68-C714-47DF-95F4-839246331BFE}" destId="{049F9131-BBF6-4D4A-A739-38633DB3716B}" srcOrd="0" destOrd="0" presId="urn:microsoft.com/office/officeart/2005/8/layout/chevron1"/>
    <dgm:cxn modelId="{9AD8C5A7-33C3-4600-9392-54EA300F732E}" srcId="{6985EF68-C714-47DF-95F4-839246331BFE}" destId="{26253FCD-8140-4F93-BC28-C726401BE6B6}" srcOrd="4" destOrd="0" parTransId="{452B0562-FD1B-471A-9895-695B23A9DF5B}" sibTransId="{56FBD035-58AE-43F9-8724-7207784A7381}"/>
    <dgm:cxn modelId="{902495B6-A384-48F2-87CF-A8C2FA314F08}" srcId="{6985EF68-C714-47DF-95F4-839246331BFE}" destId="{5DC8ED4B-2B23-4F96-BE85-F404472F0AEB}" srcOrd="0" destOrd="0" parTransId="{5BA55E4F-B2BD-4E91-9DFB-5988BC3D0750}" sibTransId="{6E4AE3C0-A9B2-474A-9530-D9F9DF9D7619}"/>
    <dgm:cxn modelId="{D9BEF4B7-D874-4C7C-BC5E-CFEFDC8216B8}" srcId="{6985EF68-C714-47DF-95F4-839246331BFE}" destId="{94671029-ABBC-4C5C-96F5-78D438DD3B3F}" srcOrd="2" destOrd="0" parTransId="{DB4357C2-AD04-489B-8943-2ACE9784E0F6}" sibTransId="{F15A699A-F57A-4CE4-AA9A-294840056294}"/>
    <dgm:cxn modelId="{057CA1C8-E8EC-4726-BB66-A5F57BE533C4}" srcId="{6985EF68-C714-47DF-95F4-839246331BFE}" destId="{3AE54B61-3F4C-4A4B-ADFF-CC9CF7BA4F25}" srcOrd="1" destOrd="0" parTransId="{AD3697A3-79E9-412C-ABAA-2ECF1B656769}" sibTransId="{2F26448B-A936-4101-A4C0-886A79BB89DB}"/>
    <dgm:cxn modelId="{48B928ED-CB2B-489C-8C9A-465DC60F6EBC}" type="presOf" srcId="{5DC8ED4B-2B23-4F96-BE85-F404472F0AEB}" destId="{8329E24A-1AAD-44DA-B2CA-9AB294F775A9}" srcOrd="0" destOrd="0" presId="urn:microsoft.com/office/officeart/2005/8/layout/chevron1"/>
    <dgm:cxn modelId="{93AEFD44-C108-4566-8987-04836697D542}" type="presParOf" srcId="{049F9131-BBF6-4D4A-A739-38633DB3716B}" destId="{8329E24A-1AAD-44DA-B2CA-9AB294F775A9}" srcOrd="0" destOrd="0" presId="urn:microsoft.com/office/officeart/2005/8/layout/chevron1"/>
    <dgm:cxn modelId="{94C090E7-5294-4EFA-B92B-8A638262C9E3}" type="presParOf" srcId="{049F9131-BBF6-4D4A-A739-38633DB3716B}" destId="{4A08A57B-51EB-45F4-BCD4-A04EA15CEADE}" srcOrd="1" destOrd="0" presId="urn:microsoft.com/office/officeart/2005/8/layout/chevron1"/>
    <dgm:cxn modelId="{497D8F31-B3DF-4AC6-BF48-D4408EB7FEB6}" type="presParOf" srcId="{049F9131-BBF6-4D4A-A739-38633DB3716B}" destId="{7141E469-82A7-452A-A5A3-3C9DB8A77C4C}" srcOrd="2" destOrd="0" presId="urn:microsoft.com/office/officeart/2005/8/layout/chevron1"/>
    <dgm:cxn modelId="{ACD095B8-B0CB-4464-9A25-197BBAFA172B}" type="presParOf" srcId="{049F9131-BBF6-4D4A-A739-38633DB3716B}" destId="{4D05AE17-1EBD-4F05-9421-52879486620F}" srcOrd="3" destOrd="0" presId="urn:microsoft.com/office/officeart/2005/8/layout/chevron1"/>
    <dgm:cxn modelId="{14BEFFA9-BF86-46D2-82DB-506A750758A2}" type="presParOf" srcId="{049F9131-BBF6-4D4A-A739-38633DB3716B}" destId="{8DBE70E2-0F02-4BE3-872D-1EAADD9D5F11}" srcOrd="4" destOrd="0" presId="urn:microsoft.com/office/officeart/2005/8/layout/chevron1"/>
    <dgm:cxn modelId="{4D7AB57E-986A-4895-B244-E554CA135A6A}" type="presParOf" srcId="{049F9131-BBF6-4D4A-A739-38633DB3716B}" destId="{087083BF-88D1-4C3F-A748-2996D859E2FC}" srcOrd="5" destOrd="0" presId="urn:microsoft.com/office/officeart/2005/8/layout/chevron1"/>
    <dgm:cxn modelId="{3D15D4E9-4298-4DA0-B835-C46E2BAC4CD8}" type="presParOf" srcId="{049F9131-BBF6-4D4A-A739-38633DB3716B}" destId="{97FACA6A-B18A-4801-AE02-0D2B659B5EDD}" srcOrd="6" destOrd="0" presId="urn:microsoft.com/office/officeart/2005/8/layout/chevron1"/>
    <dgm:cxn modelId="{0919B2B9-25CF-423B-896B-54A04E5B9DB0}" type="presParOf" srcId="{049F9131-BBF6-4D4A-A739-38633DB3716B}" destId="{A38AEC4D-9F29-49AE-9561-58057C627CFF}" srcOrd="7" destOrd="0" presId="urn:microsoft.com/office/officeart/2005/8/layout/chevron1"/>
    <dgm:cxn modelId="{951B4E5A-690D-4859-BAC9-100096C55CB4}" type="presParOf" srcId="{049F9131-BBF6-4D4A-A739-38633DB3716B}" destId="{39EF0538-AF7D-4C6B-897E-A3D180C2621C}" srcOrd="8"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985EF68-C714-47DF-95F4-839246331BFE}" type="doc">
      <dgm:prSet loTypeId="urn:microsoft.com/office/officeart/2005/8/layout/chevron1" loCatId="process" qsTypeId="urn:microsoft.com/office/officeart/2005/8/quickstyle/simple1" qsCatId="simple" csTypeId="urn:microsoft.com/office/officeart/2005/8/colors/accent1_2" csCatId="accent1" phldr="1"/>
      <dgm:spPr/>
    </dgm:pt>
    <dgm:pt modelId="{5DC8ED4B-2B23-4F96-BE85-F404472F0AEB}">
      <dgm:prSet phldrT="[Text]" custT="1"/>
      <dgm:spPr>
        <a:solidFill>
          <a:srgbClr val="D04A02">
            <a:alpha val="50196"/>
          </a:srgbClr>
        </a:solidFill>
      </dgm:spPr>
      <dgm:t>
        <a:bodyPr/>
        <a:lstStyle/>
        <a:p>
          <a:r>
            <a:rPr lang="en-US" sz="1000"/>
            <a:t>1: Location</a:t>
          </a:r>
        </a:p>
      </dgm:t>
    </dgm:pt>
    <dgm:pt modelId="{5BA55E4F-B2BD-4E91-9DFB-5988BC3D0750}" type="parTrans" cxnId="{902495B6-A384-48F2-87CF-A8C2FA314F08}">
      <dgm:prSet/>
      <dgm:spPr/>
      <dgm:t>
        <a:bodyPr/>
        <a:lstStyle/>
        <a:p>
          <a:endParaRPr lang="en-US" sz="1000"/>
        </a:p>
      </dgm:t>
    </dgm:pt>
    <dgm:pt modelId="{6E4AE3C0-A9B2-474A-9530-D9F9DF9D7619}" type="sibTrans" cxnId="{902495B6-A384-48F2-87CF-A8C2FA314F08}">
      <dgm:prSet/>
      <dgm:spPr/>
      <dgm:t>
        <a:bodyPr/>
        <a:lstStyle/>
        <a:p>
          <a:endParaRPr lang="en-US" sz="1000"/>
        </a:p>
      </dgm:t>
    </dgm:pt>
    <dgm:pt modelId="{3AE54B61-3F4C-4A4B-ADFF-CC9CF7BA4F25}">
      <dgm:prSet phldrT="[Text]" custT="1"/>
      <dgm:spPr>
        <a:solidFill>
          <a:srgbClr val="D04A02">
            <a:alpha val="50196"/>
          </a:srgbClr>
        </a:solidFill>
      </dgm:spPr>
      <dgm:t>
        <a:bodyPr/>
        <a:lstStyle/>
        <a:p>
          <a:r>
            <a:rPr lang="en-US" sz="1000"/>
            <a:t>2: Sector selection</a:t>
          </a:r>
        </a:p>
      </dgm:t>
    </dgm:pt>
    <dgm:pt modelId="{AD3697A3-79E9-412C-ABAA-2ECF1B656769}" type="parTrans" cxnId="{057CA1C8-E8EC-4726-BB66-A5F57BE533C4}">
      <dgm:prSet/>
      <dgm:spPr/>
      <dgm:t>
        <a:bodyPr/>
        <a:lstStyle/>
        <a:p>
          <a:endParaRPr lang="en-US" sz="1000"/>
        </a:p>
      </dgm:t>
    </dgm:pt>
    <dgm:pt modelId="{2F26448B-A936-4101-A4C0-886A79BB89DB}" type="sibTrans" cxnId="{057CA1C8-E8EC-4726-BB66-A5F57BE533C4}">
      <dgm:prSet/>
      <dgm:spPr/>
      <dgm:t>
        <a:bodyPr/>
        <a:lstStyle/>
        <a:p>
          <a:endParaRPr lang="en-US" sz="1000"/>
        </a:p>
      </dgm:t>
    </dgm:pt>
    <dgm:pt modelId="{1A4CF166-F76B-49CE-AE8B-8D078B23ACFD}">
      <dgm:prSet phldrT="[Text]" custT="1"/>
      <dgm:spPr>
        <a:solidFill>
          <a:srgbClr val="D04A02"/>
        </a:solidFill>
      </dgm:spPr>
      <dgm:t>
        <a:bodyPr/>
        <a:lstStyle/>
        <a:p>
          <a:r>
            <a:rPr lang="en-US" sz="1000"/>
            <a:t>4: Institutional structure</a:t>
          </a:r>
        </a:p>
      </dgm:t>
    </dgm:pt>
    <dgm:pt modelId="{381AF31E-F69C-425B-9C4C-D6D0674E7B92}" type="parTrans" cxnId="{1EB0BF63-A050-48B5-9150-AFAC381F5A40}">
      <dgm:prSet/>
      <dgm:spPr/>
      <dgm:t>
        <a:bodyPr/>
        <a:lstStyle/>
        <a:p>
          <a:endParaRPr lang="en-US" sz="1000"/>
        </a:p>
      </dgm:t>
    </dgm:pt>
    <dgm:pt modelId="{F7F877CE-DA4A-4070-AD65-36F2C85A2D49}" type="sibTrans" cxnId="{1EB0BF63-A050-48B5-9150-AFAC381F5A40}">
      <dgm:prSet/>
      <dgm:spPr/>
      <dgm:t>
        <a:bodyPr/>
        <a:lstStyle/>
        <a:p>
          <a:endParaRPr lang="en-US" sz="1000"/>
        </a:p>
      </dgm:t>
    </dgm:pt>
    <dgm:pt modelId="{94671029-ABBC-4C5C-96F5-78D438DD3B3F}">
      <dgm:prSet custT="1"/>
      <dgm:spPr>
        <a:solidFill>
          <a:srgbClr val="D04A02">
            <a:alpha val="50196"/>
          </a:srgbClr>
        </a:solidFill>
      </dgm:spPr>
      <dgm:t>
        <a:bodyPr/>
        <a:lstStyle/>
        <a:p>
          <a:r>
            <a:rPr lang="en-US" sz="1000"/>
            <a:t>3: Incentive structure</a:t>
          </a:r>
        </a:p>
      </dgm:t>
    </dgm:pt>
    <dgm:pt modelId="{DB4357C2-AD04-489B-8943-2ACE9784E0F6}" type="parTrans" cxnId="{D9BEF4B7-D874-4C7C-BC5E-CFEFDC8216B8}">
      <dgm:prSet/>
      <dgm:spPr/>
      <dgm:t>
        <a:bodyPr/>
        <a:lstStyle/>
        <a:p>
          <a:endParaRPr lang="en-US" sz="1000"/>
        </a:p>
      </dgm:t>
    </dgm:pt>
    <dgm:pt modelId="{F15A699A-F57A-4CE4-AA9A-294840056294}" type="sibTrans" cxnId="{D9BEF4B7-D874-4C7C-BC5E-CFEFDC8216B8}">
      <dgm:prSet/>
      <dgm:spPr/>
      <dgm:t>
        <a:bodyPr/>
        <a:lstStyle/>
        <a:p>
          <a:endParaRPr lang="en-US" sz="1000"/>
        </a:p>
      </dgm:t>
    </dgm:pt>
    <dgm:pt modelId="{26253FCD-8140-4F93-BC28-C726401BE6B6}">
      <dgm:prSet custT="1"/>
      <dgm:spPr>
        <a:solidFill>
          <a:srgbClr val="D04A02">
            <a:alpha val="50196"/>
          </a:srgbClr>
        </a:solidFill>
      </dgm:spPr>
      <dgm:t>
        <a:bodyPr/>
        <a:lstStyle/>
        <a:p>
          <a:r>
            <a:rPr lang="en-US" sz="1000"/>
            <a:t>5: Component and zoning</a:t>
          </a:r>
        </a:p>
      </dgm:t>
    </dgm:pt>
    <dgm:pt modelId="{452B0562-FD1B-471A-9895-695B23A9DF5B}" type="parTrans" cxnId="{9AD8C5A7-33C3-4600-9392-54EA300F732E}">
      <dgm:prSet/>
      <dgm:spPr/>
      <dgm:t>
        <a:bodyPr/>
        <a:lstStyle/>
        <a:p>
          <a:endParaRPr lang="en-US" sz="1000"/>
        </a:p>
      </dgm:t>
    </dgm:pt>
    <dgm:pt modelId="{56FBD035-58AE-43F9-8724-7207784A7381}" type="sibTrans" cxnId="{9AD8C5A7-33C3-4600-9392-54EA300F732E}">
      <dgm:prSet/>
      <dgm:spPr/>
      <dgm:t>
        <a:bodyPr/>
        <a:lstStyle/>
        <a:p>
          <a:endParaRPr lang="en-US" sz="1000"/>
        </a:p>
      </dgm:t>
    </dgm:pt>
    <dgm:pt modelId="{049F9131-BBF6-4D4A-A739-38633DB3716B}" type="pres">
      <dgm:prSet presAssocID="{6985EF68-C714-47DF-95F4-839246331BFE}" presName="Name0" presStyleCnt="0">
        <dgm:presLayoutVars>
          <dgm:dir/>
          <dgm:animLvl val="lvl"/>
          <dgm:resizeHandles val="exact"/>
        </dgm:presLayoutVars>
      </dgm:prSet>
      <dgm:spPr/>
    </dgm:pt>
    <dgm:pt modelId="{8329E24A-1AAD-44DA-B2CA-9AB294F775A9}" type="pres">
      <dgm:prSet presAssocID="{5DC8ED4B-2B23-4F96-BE85-F404472F0AEB}" presName="parTxOnly" presStyleLbl="node1" presStyleIdx="0" presStyleCnt="5">
        <dgm:presLayoutVars>
          <dgm:chMax val="0"/>
          <dgm:chPref val="0"/>
          <dgm:bulletEnabled val="1"/>
        </dgm:presLayoutVars>
      </dgm:prSet>
      <dgm:spPr/>
    </dgm:pt>
    <dgm:pt modelId="{4A08A57B-51EB-45F4-BCD4-A04EA15CEADE}" type="pres">
      <dgm:prSet presAssocID="{6E4AE3C0-A9B2-474A-9530-D9F9DF9D7619}" presName="parTxOnlySpace" presStyleCnt="0"/>
      <dgm:spPr/>
    </dgm:pt>
    <dgm:pt modelId="{7141E469-82A7-452A-A5A3-3C9DB8A77C4C}" type="pres">
      <dgm:prSet presAssocID="{3AE54B61-3F4C-4A4B-ADFF-CC9CF7BA4F25}" presName="parTxOnly" presStyleLbl="node1" presStyleIdx="1" presStyleCnt="5">
        <dgm:presLayoutVars>
          <dgm:chMax val="0"/>
          <dgm:chPref val="0"/>
          <dgm:bulletEnabled val="1"/>
        </dgm:presLayoutVars>
      </dgm:prSet>
      <dgm:spPr/>
    </dgm:pt>
    <dgm:pt modelId="{4D05AE17-1EBD-4F05-9421-52879486620F}" type="pres">
      <dgm:prSet presAssocID="{2F26448B-A936-4101-A4C0-886A79BB89DB}" presName="parTxOnlySpace" presStyleCnt="0"/>
      <dgm:spPr/>
    </dgm:pt>
    <dgm:pt modelId="{8DBE70E2-0F02-4BE3-872D-1EAADD9D5F11}" type="pres">
      <dgm:prSet presAssocID="{94671029-ABBC-4C5C-96F5-78D438DD3B3F}" presName="parTxOnly" presStyleLbl="node1" presStyleIdx="2" presStyleCnt="5">
        <dgm:presLayoutVars>
          <dgm:chMax val="0"/>
          <dgm:chPref val="0"/>
          <dgm:bulletEnabled val="1"/>
        </dgm:presLayoutVars>
      </dgm:prSet>
      <dgm:spPr/>
    </dgm:pt>
    <dgm:pt modelId="{087083BF-88D1-4C3F-A748-2996D859E2FC}" type="pres">
      <dgm:prSet presAssocID="{F15A699A-F57A-4CE4-AA9A-294840056294}" presName="parTxOnlySpace" presStyleCnt="0"/>
      <dgm:spPr/>
    </dgm:pt>
    <dgm:pt modelId="{97FACA6A-B18A-4801-AE02-0D2B659B5EDD}" type="pres">
      <dgm:prSet presAssocID="{1A4CF166-F76B-49CE-AE8B-8D078B23ACFD}" presName="parTxOnly" presStyleLbl="node1" presStyleIdx="3" presStyleCnt="5">
        <dgm:presLayoutVars>
          <dgm:chMax val="0"/>
          <dgm:chPref val="0"/>
          <dgm:bulletEnabled val="1"/>
        </dgm:presLayoutVars>
      </dgm:prSet>
      <dgm:spPr/>
    </dgm:pt>
    <dgm:pt modelId="{A38AEC4D-9F29-49AE-9561-58057C627CFF}" type="pres">
      <dgm:prSet presAssocID="{F7F877CE-DA4A-4070-AD65-36F2C85A2D49}" presName="parTxOnlySpace" presStyleCnt="0"/>
      <dgm:spPr/>
    </dgm:pt>
    <dgm:pt modelId="{39EF0538-AF7D-4C6B-897E-A3D180C2621C}" type="pres">
      <dgm:prSet presAssocID="{26253FCD-8140-4F93-BC28-C726401BE6B6}" presName="parTxOnly" presStyleLbl="node1" presStyleIdx="4" presStyleCnt="5">
        <dgm:presLayoutVars>
          <dgm:chMax val="0"/>
          <dgm:chPref val="0"/>
          <dgm:bulletEnabled val="1"/>
        </dgm:presLayoutVars>
      </dgm:prSet>
      <dgm:spPr/>
    </dgm:pt>
  </dgm:ptLst>
  <dgm:cxnLst>
    <dgm:cxn modelId="{61C89834-F50D-4C95-B2F2-CBF5FC5D4485}" type="presOf" srcId="{26253FCD-8140-4F93-BC28-C726401BE6B6}" destId="{39EF0538-AF7D-4C6B-897E-A3D180C2621C}" srcOrd="0" destOrd="0" presId="urn:microsoft.com/office/officeart/2005/8/layout/chevron1"/>
    <dgm:cxn modelId="{DED4D15F-0982-4E31-9776-FD222430D8E9}" type="presOf" srcId="{94671029-ABBC-4C5C-96F5-78D438DD3B3F}" destId="{8DBE70E2-0F02-4BE3-872D-1EAADD9D5F11}" srcOrd="0" destOrd="0" presId="urn:microsoft.com/office/officeart/2005/8/layout/chevron1"/>
    <dgm:cxn modelId="{1EB0BF63-A050-48B5-9150-AFAC381F5A40}" srcId="{6985EF68-C714-47DF-95F4-839246331BFE}" destId="{1A4CF166-F76B-49CE-AE8B-8D078B23ACFD}" srcOrd="3" destOrd="0" parTransId="{381AF31E-F69C-425B-9C4C-D6D0674E7B92}" sibTransId="{F7F877CE-DA4A-4070-AD65-36F2C85A2D49}"/>
    <dgm:cxn modelId="{0605664D-781C-4C09-86F1-6BD49AAB0F83}" type="presOf" srcId="{3AE54B61-3F4C-4A4B-ADFF-CC9CF7BA4F25}" destId="{7141E469-82A7-452A-A5A3-3C9DB8A77C4C}" srcOrd="0" destOrd="0" presId="urn:microsoft.com/office/officeart/2005/8/layout/chevron1"/>
    <dgm:cxn modelId="{DC2AEE74-2E62-468C-B5CF-E41BB1C0C01B}" type="presOf" srcId="{1A4CF166-F76B-49CE-AE8B-8D078B23ACFD}" destId="{97FACA6A-B18A-4801-AE02-0D2B659B5EDD}" srcOrd="0" destOrd="0" presId="urn:microsoft.com/office/officeart/2005/8/layout/chevron1"/>
    <dgm:cxn modelId="{3D98D7A5-4FE3-494D-847C-E069351B6B53}" type="presOf" srcId="{6985EF68-C714-47DF-95F4-839246331BFE}" destId="{049F9131-BBF6-4D4A-A739-38633DB3716B}" srcOrd="0" destOrd="0" presId="urn:microsoft.com/office/officeart/2005/8/layout/chevron1"/>
    <dgm:cxn modelId="{9AD8C5A7-33C3-4600-9392-54EA300F732E}" srcId="{6985EF68-C714-47DF-95F4-839246331BFE}" destId="{26253FCD-8140-4F93-BC28-C726401BE6B6}" srcOrd="4" destOrd="0" parTransId="{452B0562-FD1B-471A-9895-695B23A9DF5B}" sibTransId="{56FBD035-58AE-43F9-8724-7207784A7381}"/>
    <dgm:cxn modelId="{902495B6-A384-48F2-87CF-A8C2FA314F08}" srcId="{6985EF68-C714-47DF-95F4-839246331BFE}" destId="{5DC8ED4B-2B23-4F96-BE85-F404472F0AEB}" srcOrd="0" destOrd="0" parTransId="{5BA55E4F-B2BD-4E91-9DFB-5988BC3D0750}" sibTransId="{6E4AE3C0-A9B2-474A-9530-D9F9DF9D7619}"/>
    <dgm:cxn modelId="{D9BEF4B7-D874-4C7C-BC5E-CFEFDC8216B8}" srcId="{6985EF68-C714-47DF-95F4-839246331BFE}" destId="{94671029-ABBC-4C5C-96F5-78D438DD3B3F}" srcOrd="2" destOrd="0" parTransId="{DB4357C2-AD04-489B-8943-2ACE9784E0F6}" sibTransId="{F15A699A-F57A-4CE4-AA9A-294840056294}"/>
    <dgm:cxn modelId="{057CA1C8-E8EC-4726-BB66-A5F57BE533C4}" srcId="{6985EF68-C714-47DF-95F4-839246331BFE}" destId="{3AE54B61-3F4C-4A4B-ADFF-CC9CF7BA4F25}" srcOrd="1" destOrd="0" parTransId="{AD3697A3-79E9-412C-ABAA-2ECF1B656769}" sibTransId="{2F26448B-A936-4101-A4C0-886A79BB89DB}"/>
    <dgm:cxn modelId="{48B928ED-CB2B-489C-8C9A-465DC60F6EBC}" type="presOf" srcId="{5DC8ED4B-2B23-4F96-BE85-F404472F0AEB}" destId="{8329E24A-1AAD-44DA-B2CA-9AB294F775A9}" srcOrd="0" destOrd="0" presId="urn:microsoft.com/office/officeart/2005/8/layout/chevron1"/>
    <dgm:cxn modelId="{93AEFD44-C108-4566-8987-04836697D542}" type="presParOf" srcId="{049F9131-BBF6-4D4A-A739-38633DB3716B}" destId="{8329E24A-1AAD-44DA-B2CA-9AB294F775A9}" srcOrd="0" destOrd="0" presId="urn:microsoft.com/office/officeart/2005/8/layout/chevron1"/>
    <dgm:cxn modelId="{94C090E7-5294-4EFA-B92B-8A638262C9E3}" type="presParOf" srcId="{049F9131-BBF6-4D4A-A739-38633DB3716B}" destId="{4A08A57B-51EB-45F4-BCD4-A04EA15CEADE}" srcOrd="1" destOrd="0" presId="urn:microsoft.com/office/officeart/2005/8/layout/chevron1"/>
    <dgm:cxn modelId="{497D8F31-B3DF-4AC6-BF48-D4408EB7FEB6}" type="presParOf" srcId="{049F9131-BBF6-4D4A-A739-38633DB3716B}" destId="{7141E469-82A7-452A-A5A3-3C9DB8A77C4C}" srcOrd="2" destOrd="0" presId="urn:microsoft.com/office/officeart/2005/8/layout/chevron1"/>
    <dgm:cxn modelId="{ACD095B8-B0CB-4464-9A25-197BBAFA172B}" type="presParOf" srcId="{049F9131-BBF6-4D4A-A739-38633DB3716B}" destId="{4D05AE17-1EBD-4F05-9421-52879486620F}" srcOrd="3" destOrd="0" presId="urn:microsoft.com/office/officeart/2005/8/layout/chevron1"/>
    <dgm:cxn modelId="{14BEFFA9-BF86-46D2-82DB-506A750758A2}" type="presParOf" srcId="{049F9131-BBF6-4D4A-A739-38633DB3716B}" destId="{8DBE70E2-0F02-4BE3-872D-1EAADD9D5F11}" srcOrd="4" destOrd="0" presId="urn:microsoft.com/office/officeart/2005/8/layout/chevron1"/>
    <dgm:cxn modelId="{4D7AB57E-986A-4895-B244-E554CA135A6A}" type="presParOf" srcId="{049F9131-BBF6-4D4A-A739-38633DB3716B}" destId="{087083BF-88D1-4C3F-A748-2996D859E2FC}" srcOrd="5" destOrd="0" presId="urn:microsoft.com/office/officeart/2005/8/layout/chevron1"/>
    <dgm:cxn modelId="{3D15D4E9-4298-4DA0-B835-C46E2BAC4CD8}" type="presParOf" srcId="{049F9131-BBF6-4D4A-A739-38633DB3716B}" destId="{97FACA6A-B18A-4801-AE02-0D2B659B5EDD}" srcOrd="6" destOrd="0" presId="urn:microsoft.com/office/officeart/2005/8/layout/chevron1"/>
    <dgm:cxn modelId="{0919B2B9-25CF-423B-896B-54A04E5B9DB0}" type="presParOf" srcId="{049F9131-BBF6-4D4A-A739-38633DB3716B}" destId="{A38AEC4D-9F29-49AE-9561-58057C627CFF}" srcOrd="7" destOrd="0" presId="urn:microsoft.com/office/officeart/2005/8/layout/chevron1"/>
    <dgm:cxn modelId="{951B4E5A-690D-4859-BAC9-100096C55CB4}" type="presParOf" srcId="{049F9131-BBF6-4D4A-A739-38633DB3716B}" destId="{39EF0538-AF7D-4C6B-897E-A3D180C2621C}" srcOrd="8"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985EF68-C714-47DF-95F4-839246331BFE}" type="doc">
      <dgm:prSet loTypeId="urn:microsoft.com/office/officeart/2005/8/layout/chevron1" loCatId="process" qsTypeId="urn:microsoft.com/office/officeart/2005/8/quickstyle/simple1" qsCatId="simple" csTypeId="urn:microsoft.com/office/officeart/2005/8/colors/accent1_2" csCatId="accent1" phldr="1"/>
      <dgm:spPr/>
    </dgm:pt>
    <dgm:pt modelId="{5DC8ED4B-2B23-4F96-BE85-F404472F0AEB}">
      <dgm:prSet phldrT="[Text]" custT="1"/>
      <dgm:spPr>
        <a:solidFill>
          <a:srgbClr val="D04A02">
            <a:alpha val="50196"/>
          </a:srgbClr>
        </a:solidFill>
      </dgm:spPr>
      <dgm:t>
        <a:bodyPr/>
        <a:lstStyle/>
        <a:p>
          <a:r>
            <a:rPr lang="en-US" sz="1000"/>
            <a:t>1: Location</a:t>
          </a:r>
        </a:p>
      </dgm:t>
    </dgm:pt>
    <dgm:pt modelId="{5BA55E4F-B2BD-4E91-9DFB-5988BC3D0750}" type="parTrans" cxnId="{902495B6-A384-48F2-87CF-A8C2FA314F08}">
      <dgm:prSet/>
      <dgm:spPr/>
      <dgm:t>
        <a:bodyPr/>
        <a:lstStyle/>
        <a:p>
          <a:endParaRPr lang="en-US" sz="1000"/>
        </a:p>
      </dgm:t>
    </dgm:pt>
    <dgm:pt modelId="{6E4AE3C0-A9B2-474A-9530-D9F9DF9D7619}" type="sibTrans" cxnId="{902495B6-A384-48F2-87CF-A8C2FA314F08}">
      <dgm:prSet/>
      <dgm:spPr/>
      <dgm:t>
        <a:bodyPr/>
        <a:lstStyle/>
        <a:p>
          <a:endParaRPr lang="en-US" sz="1000"/>
        </a:p>
      </dgm:t>
    </dgm:pt>
    <dgm:pt modelId="{3AE54B61-3F4C-4A4B-ADFF-CC9CF7BA4F25}">
      <dgm:prSet phldrT="[Text]" custT="1"/>
      <dgm:spPr>
        <a:solidFill>
          <a:srgbClr val="D04A02">
            <a:alpha val="50196"/>
          </a:srgbClr>
        </a:solidFill>
      </dgm:spPr>
      <dgm:t>
        <a:bodyPr/>
        <a:lstStyle/>
        <a:p>
          <a:r>
            <a:rPr lang="en-US" sz="1000"/>
            <a:t>2: Sector selection</a:t>
          </a:r>
        </a:p>
      </dgm:t>
    </dgm:pt>
    <dgm:pt modelId="{AD3697A3-79E9-412C-ABAA-2ECF1B656769}" type="parTrans" cxnId="{057CA1C8-E8EC-4726-BB66-A5F57BE533C4}">
      <dgm:prSet/>
      <dgm:spPr/>
      <dgm:t>
        <a:bodyPr/>
        <a:lstStyle/>
        <a:p>
          <a:endParaRPr lang="en-US" sz="1000"/>
        </a:p>
      </dgm:t>
    </dgm:pt>
    <dgm:pt modelId="{2F26448B-A936-4101-A4C0-886A79BB89DB}" type="sibTrans" cxnId="{057CA1C8-E8EC-4726-BB66-A5F57BE533C4}">
      <dgm:prSet/>
      <dgm:spPr/>
      <dgm:t>
        <a:bodyPr/>
        <a:lstStyle/>
        <a:p>
          <a:endParaRPr lang="en-US" sz="1000"/>
        </a:p>
      </dgm:t>
    </dgm:pt>
    <dgm:pt modelId="{1A4CF166-F76B-49CE-AE8B-8D078B23ACFD}">
      <dgm:prSet phldrT="[Text]" custT="1"/>
      <dgm:spPr>
        <a:solidFill>
          <a:srgbClr val="D04A02">
            <a:alpha val="50196"/>
          </a:srgbClr>
        </a:solidFill>
      </dgm:spPr>
      <dgm:t>
        <a:bodyPr/>
        <a:lstStyle/>
        <a:p>
          <a:r>
            <a:rPr lang="en-US" sz="1000"/>
            <a:t>4: Institutional structure</a:t>
          </a:r>
        </a:p>
      </dgm:t>
    </dgm:pt>
    <dgm:pt modelId="{381AF31E-F69C-425B-9C4C-D6D0674E7B92}" type="parTrans" cxnId="{1EB0BF63-A050-48B5-9150-AFAC381F5A40}">
      <dgm:prSet/>
      <dgm:spPr/>
      <dgm:t>
        <a:bodyPr/>
        <a:lstStyle/>
        <a:p>
          <a:endParaRPr lang="en-US" sz="1000"/>
        </a:p>
      </dgm:t>
    </dgm:pt>
    <dgm:pt modelId="{F7F877CE-DA4A-4070-AD65-36F2C85A2D49}" type="sibTrans" cxnId="{1EB0BF63-A050-48B5-9150-AFAC381F5A40}">
      <dgm:prSet/>
      <dgm:spPr/>
      <dgm:t>
        <a:bodyPr/>
        <a:lstStyle/>
        <a:p>
          <a:endParaRPr lang="en-US" sz="1000"/>
        </a:p>
      </dgm:t>
    </dgm:pt>
    <dgm:pt modelId="{94671029-ABBC-4C5C-96F5-78D438DD3B3F}">
      <dgm:prSet custT="1"/>
      <dgm:spPr>
        <a:solidFill>
          <a:srgbClr val="D04A02">
            <a:alpha val="50196"/>
          </a:srgbClr>
        </a:solidFill>
      </dgm:spPr>
      <dgm:t>
        <a:bodyPr/>
        <a:lstStyle/>
        <a:p>
          <a:r>
            <a:rPr lang="en-US" sz="1000"/>
            <a:t>3: Incentive structure</a:t>
          </a:r>
        </a:p>
      </dgm:t>
    </dgm:pt>
    <dgm:pt modelId="{DB4357C2-AD04-489B-8943-2ACE9784E0F6}" type="parTrans" cxnId="{D9BEF4B7-D874-4C7C-BC5E-CFEFDC8216B8}">
      <dgm:prSet/>
      <dgm:spPr/>
      <dgm:t>
        <a:bodyPr/>
        <a:lstStyle/>
        <a:p>
          <a:endParaRPr lang="en-US" sz="1000"/>
        </a:p>
      </dgm:t>
    </dgm:pt>
    <dgm:pt modelId="{F15A699A-F57A-4CE4-AA9A-294840056294}" type="sibTrans" cxnId="{D9BEF4B7-D874-4C7C-BC5E-CFEFDC8216B8}">
      <dgm:prSet/>
      <dgm:spPr/>
      <dgm:t>
        <a:bodyPr/>
        <a:lstStyle/>
        <a:p>
          <a:endParaRPr lang="en-US" sz="1000"/>
        </a:p>
      </dgm:t>
    </dgm:pt>
    <dgm:pt modelId="{26253FCD-8140-4F93-BC28-C726401BE6B6}">
      <dgm:prSet custT="1"/>
      <dgm:spPr>
        <a:solidFill>
          <a:srgbClr val="D04A02"/>
        </a:solidFill>
      </dgm:spPr>
      <dgm:t>
        <a:bodyPr/>
        <a:lstStyle/>
        <a:p>
          <a:r>
            <a:rPr lang="en-US" sz="1000"/>
            <a:t>5: Component and zoning</a:t>
          </a:r>
        </a:p>
      </dgm:t>
    </dgm:pt>
    <dgm:pt modelId="{452B0562-FD1B-471A-9895-695B23A9DF5B}" type="parTrans" cxnId="{9AD8C5A7-33C3-4600-9392-54EA300F732E}">
      <dgm:prSet/>
      <dgm:spPr/>
      <dgm:t>
        <a:bodyPr/>
        <a:lstStyle/>
        <a:p>
          <a:endParaRPr lang="en-US" sz="1000"/>
        </a:p>
      </dgm:t>
    </dgm:pt>
    <dgm:pt modelId="{56FBD035-58AE-43F9-8724-7207784A7381}" type="sibTrans" cxnId="{9AD8C5A7-33C3-4600-9392-54EA300F732E}">
      <dgm:prSet/>
      <dgm:spPr/>
      <dgm:t>
        <a:bodyPr/>
        <a:lstStyle/>
        <a:p>
          <a:endParaRPr lang="en-US" sz="1000"/>
        </a:p>
      </dgm:t>
    </dgm:pt>
    <dgm:pt modelId="{049F9131-BBF6-4D4A-A739-38633DB3716B}" type="pres">
      <dgm:prSet presAssocID="{6985EF68-C714-47DF-95F4-839246331BFE}" presName="Name0" presStyleCnt="0">
        <dgm:presLayoutVars>
          <dgm:dir/>
          <dgm:animLvl val="lvl"/>
          <dgm:resizeHandles val="exact"/>
        </dgm:presLayoutVars>
      </dgm:prSet>
      <dgm:spPr/>
    </dgm:pt>
    <dgm:pt modelId="{8329E24A-1AAD-44DA-B2CA-9AB294F775A9}" type="pres">
      <dgm:prSet presAssocID="{5DC8ED4B-2B23-4F96-BE85-F404472F0AEB}" presName="parTxOnly" presStyleLbl="node1" presStyleIdx="0" presStyleCnt="5">
        <dgm:presLayoutVars>
          <dgm:chMax val="0"/>
          <dgm:chPref val="0"/>
          <dgm:bulletEnabled val="1"/>
        </dgm:presLayoutVars>
      </dgm:prSet>
      <dgm:spPr/>
    </dgm:pt>
    <dgm:pt modelId="{4A08A57B-51EB-45F4-BCD4-A04EA15CEADE}" type="pres">
      <dgm:prSet presAssocID="{6E4AE3C0-A9B2-474A-9530-D9F9DF9D7619}" presName="parTxOnlySpace" presStyleCnt="0"/>
      <dgm:spPr/>
    </dgm:pt>
    <dgm:pt modelId="{7141E469-82A7-452A-A5A3-3C9DB8A77C4C}" type="pres">
      <dgm:prSet presAssocID="{3AE54B61-3F4C-4A4B-ADFF-CC9CF7BA4F25}" presName="parTxOnly" presStyleLbl="node1" presStyleIdx="1" presStyleCnt="5">
        <dgm:presLayoutVars>
          <dgm:chMax val="0"/>
          <dgm:chPref val="0"/>
          <dgm:bulletEnabled val="1"/>
        </dgm:presLayoutVars>
      </dgm:prSet>
      <dgm:spPr/>
    </dgm:pt>
    <dgm:pt modelId="{4D05AE17-1EBD-4F05-9421-52879486620F}" type="pres">
      <dgm:prSet presAssocID="{2F26448B-A936-4101-A4C0-886A79BB89DB}" presName="parTxOnlySpace" presStyleCnt="0"/>
      <dgm:spPr/>
    </dgm:pt>
    <dgm:pt modelId="{8DBE70E2-0F02-4BE3-872D-1EAADD9D5F11}" type="pres">
      <dgm:prSet presAssocID="{94671029-ABBC-4C5C-96F5-78D438DD3B3F}" presName="parTxOnly" presStyleLbl="node1" presStyleIdx="2" presStyleCnt="5">
        <dgm:presLayoutVars>
          <dgm:chMax val="0"/>
          <dgm:chPref val="0"/>
          <dgm:bulletEnabled val="1"/>
        </dgm:presLayoutVars>
      </dgm:prSet>
      <dgm:spPr/>
    </dgm:pt>
    <dgm:pt modelId="{087083BF-88D1-4C3F-A748-2996D859E2FC}" type="pres">
      <dgm:prSet presAssocID="{F15A699A-F57A-4CE4-AA9A-294840056294}" presName="parTxOnlySpace" presStyleCnt="0"/>
      <dgm:spPr/>
    </dgm:pt>
    <dgm:pt modelId="{97FACA6A-B18A-4801-AE02-0D2B659B5EDD}" type="pres">
      <dgm:prSet presAssocID="{1A4CF166-F76B-49CE-AE8B-8D078B23ACFD}" presName="parTxOnly" presStyleLbl="node1" presStyleIdx="3" presStyleCnt="5">
        <dgm:presLayoutVars>
          <dgm:chMax val="0"/>
          <dgm:chPref val="0"/>
          <dgm:bulletEnabled val="1"/>
        </dgm:presLayoutVars>
      </dgm:prSet>
      <dgm:spPr/>
    </dgm:pt>
    <dgm:pt modelId="{A38AEC4D-9F29-49AE-9561-58057C627CFF}" type="pres">
      <dgm:prSet presAssocID="{F7F877CE-DA4A-4070-AD65-36F2C85A2D49}" presName="parTxOnlySpace" presStyleCnt="0"/>
      <dgm:spPr/>
    </dgm:pt>
    <dgm:pt modelId="{39EF0538-AF7D-4C6B-897E-A3D180C2621C}" type="pres">
      <dgm:prSet presAssocID="{26253FCD-8140-4F93-BC28-C726401BE6B6}" presName="parTxOnly" presStyleLbl="node1" presStyleIdx="4" presStyleCnt="5">
        <dgm:presLayoutVars>
          <dgm:chMax val="0"/>
          <dgm:chPref val="0"/>
          <dgm:bulletEnabled val="1"/>
        </dgm:presLayoutVars>
      </dgm:prSet>
      <dgm:spPr/>
    </dgm:pt>
  </dgm:ptLst>
  <dgm:cxnLst>
    <dgm:cxn modelId="{61C89834-F50D-4C95-B2F2-CBF5FC5D4485}" type="presOf" srcId="{26253FCD-8140-4F93-BC28-C726401BE6B6}" destId="{39EF0538-AF7D-4C6B-897E-A3D180C2621C}" srcOrd="0" destOrd="0" presId="urn:microsoft.com/office/officeart/2005/8/layout/chevron1"/>
    <dgm:cxn modelId="{DED4D15F-0982-4E31-9776-FD222430D8E9}" type="presOf" srcId="{94671029-ABBC-4C5C-96F5-78D438DD3B3F}" destId="{8DBE70E2-0F02-4BE3-872D-1EAADD9D5F11}" srcOrd="0" destOrd="0" presId="urn:microsoft.com/office/officeart/2005/8/layout/chevron1"/>
    <dgm:cxn modelId="{1EB0BF63-A050-48B5-9150-AFAC381F5A40}" srcId="{6985EF68-C714-47DF-95F4-839246331BFE}" destId="{1A4CF166-F76B-49CE-AE8B-8D078B23ACFD}" srcOrd="3" destOrd="0" parTransId="{381AF31E-F69C-425B-9C4C-D6D0674E7B92}" sibTransId="{F7F877CE-DA4A-4070-AD65-36F2C85A2D49}"/>
    <dgm:cxn modelId="{0605664D-781C-4C09-86F1-6BD49AAB0F83}" type="presOf" srcId="{3AE54B61-3F4C-4A4B-ADFF-CC9CF7BA4F25}" destId="{7141E469-82A7-452A-A5A3-3C9DB8A77C4C}" srcOrd="0" destOrd="0" presId="urn:microsoft.com/office/officeart/2005/8/layout/chevron1"/>
    <dgm:cxn modelId="{DC2AEE74-2E62-468C-B5CF-E41BB1C0C01B}" type="presOf" srcId="{1A4CF166-F76B-49CE-AE8B-8D078B23ACFD}" destId="{97FACA6A-B18A-4801-AE02-0D2B659B5EDD}" srcOrd="0" destOrd="0" presId="urn:microsoft.com/office/officeart/2005/8/layout/chevron1"/>
    <dgm:cxn modelId="{3D98D7A5-4FE3-494D-847C-E069351B6B53}" type="presOf" srcId="{6985EF68-C714-47DF-95F4-839246331BFE}" destId="{049F9131-BBF6-4D4A-A739-38633DB3716B}" srcOrd="0" destOrd="0" presId="urn:microsoft.com/office/officeart/2005/8/layout/chevron1"/>
    <dgm:cxn modelId="{9AD8C5A7-33C3-4600-9392-54EA300F732E}" srcId="{6985EF68-C714-47DF-95F4-839246331BFE}" destId="{26253FCD-8140-4F93-BC28-C726401BE6B6}" srcOrd="4" destOrd="0" parTransId="{452B0562-FD1B-471A-9895-695B23A9DF5B}" sibTransId="{56FBD035-58AE-43F9-8724-7207784A7381}"/>
    <dgm:cxn modelId="{902495B6-A384-48F2-87CF-A8C2FA314F08}" srcId="{6985EF68-C714-47DF-95F4-839246331BFE}" destId="{5DC8ED4B-2B23-4F96-BE85-F404472F0AEB}" srcOrd="0" destOrd="0" parTransId="{5BA55E4F-B2BD-4E91-9DFB-5988BC3D0750}" sibTransId="{6E4AE3C0-A9B2-474A-9530-D9F9DF9D7619}"/>
    <dgm:cxn modelId="{D9BEF4B7-D874-4C7C-BC5E-CFEFDC8216B8}" srcId="{6985EF68-C714-47DF-95F4-839246331BFE}" destId="{94671029-ABBC-4C5C-96F5-78D438DD3B3F}" srcOrd="2" destOrd="0" parTransId="{DB4357C2-AD04-489B-8943-2ACE9784E0F6}" sibTransId="{F15A699A-F57A-4CE4-AA9A-294840056294}"/>
    <dgm:cxn modelId="{057CA1C8-E8EC-4726-BB66-A5F57BE533C4}" srcId="{6985EF68-C714-47DF-95F4-839246331BFE}" destId="{3AE54B61-3F4C-4A4B-ADFF-CC9CF7BA4F25}" srcOrd="1" destOrd="0" parTransId="{AD3697A3-79E9-412C-ABAA-2ECF1B656769}" sibTransId="{2F26448B-A936-4101-A4C0-886A79BB89DB}"/>
    <dgm:cxn modelId="{48B928ED-CB2B-489C-8C9A-465DC60F6EBC}" type="presOf" srcId="{5DC8ED4B-2B23-4F96-BE85-F404472F0AEB}" destId="{8329E24A-1AAD-44DA-B2CA-9AB294F775A9}" srcOrd="0" destOrd="0" presId="urn:microsoft.com/office/officeart/2005/8/layout/chevron1"/>
    <dgm:cxn modelId="{93AEFD44-C108-4566-8987-04836697D542}" type="presParOf" srcId="{049F9131-BBF6-4D4A-A739-38633DB3716B}" destId="{8329E24A-1AAD-44DA-B2CA-9AB294F775A9}" srcOrd="0" destOrd="0" presId="urn:microsoft.com/office/officeart/2005/8/layout/chevron1"/>
    <dgm:cxn modelId="{94C090E7-5294-4EFA-B92B-8A638262C9E3}" type="presParOf" srcId="{049F9131-BBF6-4D4A-A739-38633DB3716B}" destId="{4A08A57B-51EB-45F4-BCD4-A04EA15CEADE}" srcOrd="1" destOrd="0" presId="urn:microsoft.com/office/officeart/2005/8/layout/chevron1"/>
    <dgm:cxn modelId="{497D8F31-B3DF-4AC6-BF48-D4408EB7FEB6}" type="presParOf" srcId="{049F9131-BBF6-4D4A-A739-38633DB3716B}" destId="{7141E469-82A7-452A-A5A3-3C9DB8A77C4C}" srcOrd="2" destOrd="0" presId="urn:microsoft.com/office/officeart/2005/8/layout/chevron1"/>
    <dgm:cxn modelId="{ACD095B8-B0CB-4464-9A25-197BBAFA172B}" type="presParOf" srcId="{049F9131-BBF6-4D4A-A739-38633DB3716B}" destId="{4D05AE17-1EBD-4F05-9421-52879486620F}" srcOrd="3" destOrd="0" presId="urn:microsoft.com/office/officeart/2005/8/layout/chevron1"/>
    <dgm:cxn modelId="{14BEFFA9-BF86-46D2-82DB-506A750758A2}" type="presParOf" srcId="{049F9131-BBF6-4D4A-A739-38633DB3716B}" destId="{8DBE70E2-0F02-4BE3-872D-1EAADD9D5F11}" srcOrd="4" destOrd="0" presId="urn:microsoft.com/office/officeart/2005/8/layout/chevron1"/>
    <dgm:cxn modelId="{4D7AB57E-986A-4895-B244-E554CA135A6A}" type="presParOf" srcId="{049F9131-BBF6-4D4A-A739-38633DB3716B}" destId="{087083BF-88D1-4C3F-A748-2996D859E2FC}" srcOrd="5" destOrd="0" presId="urn:microsoft.com/office/officeart/2005/8/layout/chevron1"/>
    <dgm:cxn modelId="{3D15D4E9-4298-4DA0-B835-C46E2BAC4CD8}" type="presParOf" srcId="{049F9131-BBF6-4D4A-A739-38633DB3716B}" destId="{97FACA6A-B18A-4801-AE02-0D2B659B5EDD}" srcOrd="6" destOrd="0" presId="urn:microsoft.com/office/officeart/2005/8/layout/chevron1"/>
    <dgm:cxn modelId="{0919B2B9-25CF-423B-896B-54A04E5B9DB0}" type="presParOf" srcId="{049F9131-BBF6-4D4A-A739-38633DB3716B}" destId="{A38AEC4D-9F29-49AE-9561-58057C627CFF}" srcOrd="7" destOrd="0" presId="urn:microsoft.com/office/officeart/2005/8/layout/chevron1"/>
    <dgm:cxn modelId="{951B4E5A-690D-4859-BAC9-100096C55CB4}" type="presParOf" srcId="{049F9131-BBF6-4D4A-A739-38633DB3716B}" destId="{39EF0538-AF7D-4C6B-897E-A3D180C2621C}" srcOrd="8" destOrd="0" presId="urn:microsoft.com/office/officeart/2005/8/layout/chevron1"/>
  </dgm:cxnLst>
  <dgm:bg>
    <a:noFill/>
  </dgm:bg>
  <dgm:whole/>
  <dgm:extLst>
    <a:ext uri="http://schemas.microsoft.com/office/drawing/2008/diagram">
      <dsp:dataModelExt xmlns:dsp="http://schemas.microsoft.com/office/drawing/2008/diagram" relId="rId2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985EF68-C714-47DF-95F4-839246331BFE}" type="doc">
      <dgm:prSet loTypeId="urn:microsoft.com/office/officeart/2005/8/layout/chevron1" loCatId="process" qsTypeId="urn:microsoft.com/office/officeart/2005/8/quickstyle/simple1" qsCatId="simple" csTypeId="urn:microsoft.com/office/officeart/2005/8/colors/accent1_2" csCatId="accent1" phldr="1"/>
      <dgm:spPr/>
    </dgm:pt>
    <dgm:pt modelId="{5DC8ED4B-2B23-4F96-BE85-F404472F0AEB}">
      <dgm:prSet phldrT="[Text]" custT="1"/>
      <dgm:spPr>
        <a:solidFill>
          <a:srgbClr val="D04A02">
            <a:alpha val="50196"/>
          </a:srgbClr>
        </a:solidFill>
      </dgm:spPr>
      <dgm:t>
        <a:bodyPr/>
        <a:lstStyle/>
        <a:p>
          <a:r>
            <a:rPr lang="en-US" sz="1000"/>
            <a:t>1: Location</a:t>
          </a:r>
        </a:p>
      </dgm:t>
    </dgm:pt>
    <dgm:pt modelId="{5BA55E4F-B2BD-4E91-9DFB-5988BC3D0750}" type="parTrans" cxnId="{902495B6-A384-48F2-87CF-A8C2FA314F08}">
      <dgm:prSet/>
      <dgm:spPr/>
      <dgm:t>
        <a:bodyPr/>
        <a:lstStyle/>
        <a:p>
          <a:endParaRPr lang="en-US" sz="1000"/>
        </a:p>
      </dgm:t>
    </dgm:pt>
    <dgm:pt modelId="{6E4AE3C0-A9B2-474A-9530-D9F9DF9D7619}" type="sibTrans" cxnId="{902495B6-A384-48F2-87CF-A8C2FA314F08}">
      <dgm:prSet/>
      <dgm:spPr/>
      <dgm:t>
        <a:bodyPr/>
        <a:lstStyle/>
        <a:p>
          <a:endParaRPr lang="en-US" sz="1000"/>
        </a:p>
      </dgm:t>
    </dgm:pt>
    <dgm:pt modelId="{3AE54B61-3F4C-4A4B-ADFF-CC9CF7BA4F25}">
      <dgm:prSet phldrT="[Text]" custT="1"/>
      <dgm:spPr>
        <a:solidFill>
          <a:srgbClr val="D04A02">
            <a:alpha val="50196"/>
          </a:srgbClr>
        </a:solidFill>
      </dgm:spPr>
      <dgm:t>
        <a:bodyPr/>
        <a:lstStyle/>
        <a:p>
          <a:r>
            <a:rPr lang="en-US" sz="1000"/>
            <a:t>2: Sector selection</a:t>
          </a:r>
        </a:p>
      </dgm:t>
    </dgm:pt>
    <dgm:pt modelId="{AD3697A3-79E9-412C-ABAA-2ECF1B656769}" type="parTrans" cxnId="{057CA1C8-E8EC-4726-BB66-A5F57BE533C4}">
      <dgm:prSet/>
      <dgm:spPr/>
      <dgm:t>
        <a:bodyPr/>
        <a:lstStyle/>
        <a:p>
          <a:endParaRPr lang="en-US" sz="1000"/>
        </a:p>
      </dgm:t>
    </dgm:pt>
    <dgm:pt modelId="{2F26448B-A936-4101-A4C0-886A79BB89DB}" type="sibTrans" cxnId="{057CA1C8-E8EC-4726-BB66-A5F57BE533C4}">
      <dgm:prSet/>
      <dgm:spPr/>
      <dgm:t>
        <a:bodyPr/>
        <a:lstStyle/>
        <a:p>
          <a:endParaRPr lang="en-US" sz="1000"/>
        </a:p>
      </dgm:t>
    </dgm:pt>
    <dgm:pt modelId="{1A4CF166-F76B-49CE-AE8B-8D078B23ACFD}">
      <dgm:prSet phldrT="[Text]" custT="1"/>
      <dgm:spPr>
        <a:solidFill>
          <a:srgbClr val="D04A02">
            <a:alpha val="50196"/>
          </a:srgbClr>
        </a:solidFill>
      </dgm:spPr>
      <dgm:t>
        <a:bodyPr/>
        <a:lstStyle/>
        <a:p>
          <a:r>
            <a:rPr lang="en-US" sz="1000"/>
            <a:t>4: Institutional structure</a:t>
          </a:r>
        </a:p>
      </dgm:t>
    </dgm:pt>
    <dgm:pt modelId="{381AF31E-F69C-425B-9C4C-D6D0674E7B92}" type="parTrans" cxnId="{1EB0BF63-A050-48B5-9150-AFAC381F5A40}">
      <dgm:prSet/>
      <dgm:spPr/>
      <dgm:t>
        <a:bodyPr/>
        <a:lstStyle/>
        <a:p>
          <a:endParaRPr lang="en-US" sz="1000"/>
        </a:p>
      </dgm:t>
    </dgm:pt>
    <dgm:pt modelId="{F7F877CE-DA4A-4070-AD65-36F2C85A2D49}" type="sibTrans" cxnId="{1EB0BF63-A050-48B5-9150-AFAC381F5A40}">
      <dgm:prSet/>
      <dgm:spPr/>
      <dgm:t>
        <a:bodyPr/>
        <a:lstStyle/>
        <a:p>
          <a:endParaRPr lang="en-US" sz="1000"/>
        </a:p>
      </dgm:t>
    </dgm:pt>
    <dgm:pt modelId="{94671029-ABBC-4C5C-96F5-78D438DD3B3F}">
      <dgm:prSet custT="1"/>
      <dgm:spPr>
        <a:solidFill>
          <a:srgbClr val="D04A02">
            <a:alpha val="50196"/>
          </a:srgbClr>
        </a:solidFill>
      </dgm:spPr>
      <dgm:t>
        <a:bodyPr/>
        <a:lstStyle/>
        <a:p>
          <a:r>
            <a:rPr lang="en-US" sz="1000"/>
            <a:t>3: Incentive structure</a:t>
          </a:r>
        </a:p>
      </dgm:t>
    </dgm:pt>
    <dgm:pt modelId="{DB4357C2-AD04-489B-8943-2ACE9784E0F6}" type="parTrans" cxnId="{D9BEF4B7-D874-4C7C-BC5E-CFEFDC8216B8}">
      <dgm:prSet/>
      <dgm:spPr/>
      <dgm:t>
        <a:bodyPr/>
        <a:lstStyle/>
        <a:p>
          <a:endParaRPr lang="en-US" sz="1000"/>
        </a:p>
      </dgm:t>
    </dgm:pt>
    <dgm:pt modelId="{F15A699A-F57A-4CE4-AA9A-294840056294}" type="sibTrans" cxnId="{D9BEF4B7-D874-4C7C-BC5E-CFEFDC8216B8}">
      <dgm:prSet/>
      <dgm:spPr/>
      <dgm:t>
        <a:bodyPr/>
        <a:lstStyle/>
        <a:p>
          <a:endParaRPr lang="en-US" sz="1000"/>
        </a:p>
      </dgm:t>
    </dgm:pt>
    <dgm:pt modelId="{26253FCD-8140-4F93-BC28-C726401BE6B6}">
      <dgm:prSet custT="1"/>
      <dgm:spPr>
        <a:solidFill>
          <a:srgbClr val="D04A02"/>
        </a:solidFill>
      </dgm:spPr>
      <dgm:t>
        <a:bodyPr/>
        <a:lstStyle/>
        <a:p>
          <a:r>
            <a:rPr lang="en-US" sz="1000"/>
            <a:t>5: Component and zoning</a:t>
          </a:r>
        </a:p>
      </dgm:t>
    </dgm:pt>
    <dgm:pt modelId="{452B0562-FD1B-471A-9895-695B23A9DF5B}" type="parTrans" cxnId="{9AD8C5A7-33C3-4600-9392-54EA300F732E}">
      <dgm:prSet/>
      <dgm:spPr/>
      <dgm:t>
        <a:bodyPr/>
        <a:lstStyle/>
        <a:p>
          <a:endParaRPr lang="en-US" sz="1000"/>
        </a:p>
      </dgm:t>
    </dgm:pt>
    <dgm:pt modelId="{56FBD035-58AE-43F9-8724-7207784A7381}" type="sibTrans" cxnId="{9AD8C5A7-33C3-4600-9392-54EA300F732E}">
      <dgm:prSet/>
      <dgm:spPr/>
      <dgm:t>
        <a:bodyPr/>
        <a:lstStyle/>
        <a:p>
          <a:endParaRPr lang="en-US" sz="1000"/>
        </a:p>
      </dgm:t>
    </dgm:pt>
    <dgm:pt modelId="{049F9131-BBF6-4D4A-A739-38633DB3716B}" type="pres">
      <dgm:prSet presAssocID="{6985EF68-C714-47DF-95F4-839246331BFE}" presName="Name0" presStyleCnt="0">
        <dgm:presLayoutVars>
          <dgm:dir/>
          <dgm:animLvl val="lvl"/>
          <dgm:resizeHandles val="exact"/>
        </dgm:presLayoutVars>
      </dgm:prSet>
      <dgm:spPr/>
    </dgm:pt>
    <dgm:pt modelId="{8329E24A-1AAD-44DA-B2CA-9AB294F775A9}" type="pres">
      <dgm:prSet presAssocID="{5DC8ED4B-2B23-4F96-BE85-F404472F0AEB}" presName="parTxOnly" presStyleLbl="node1" presStyleIdx="0" presStyleCnt="5">
        <dgm:presLayoutVars>
          <dgm:chMax val="0"/>
          <dgm:chPref val="0"/>
          <dgm:bulletEnabled val="1"/>
        </dgm:presLayoutVars>
      </dgm:prSet>
      <dgm:spPr/>
    </dgm:pt>
    <dgm:pt modelId="{4A08A57B-51EB-45F4-BCD4-A04EA15CEADE}" type="pres">
      <dgm:prSet presAssocID="{6E4AE3C0-A9B2-474A-9530-D9F9DF9D7619}" presName="parTxOnlySpace" presStyleCnt="0"/>
      <dgm:spPr/>
    </dgm:pt>
    <dgm:pt modelId="{7141E469-82A7-452A-A5A3-3C9DB8A77C4C}" type="pres">
      <dgm:prSet presAssocID="{3AE54B61-3F4C-4A4B-ADFF-CC9CF7BA4F25}" presName="parTxOnly" presStyleLbl="node1" presStyleIdx="1" presStyleCnt="5">
        <dgm:presLayoutVars>
          <dgm:chMax val="0"/>
          <dgm:chPref val="0"/>
          <dgm:bulletEnabled val="1"/>
        </dgm:presLayoutVars>
      </dgm:prSet>
      <dgm:spPr/>
    </dgm:pt>
    <dgm:pt modelId="{4D05AE17-1EBD-4F05-9421-52879486620F}" type="pres">
      <dgm:prSet presAssocID="{2F26448B-A936-4101-A4C0-886A79BB89DB}" presName="parTxOnlySpace" presStyleCnt="0"/>
      <dgm:spPr/>
    </dgm:pt>
    <dgm:pt modelId="{8DBE70E2-0F02-4BE3-872D-1EAADD9D5F11}" type="pres">
      <dgm:prSet presAssocID="{94671029-ABBC-4C5C-96F5-78D438DD3B3F}" presName="parTxOnly" presStyleLbl="node1" presStyleIdx="2" presStyleCnt="5">
        <dgm:presLayoutVars>
          <dgm:chMax val="0"/>
          <dgm:chPref val="0"/>
          <dgm:bulletEnabled val="1"/>
        </dgm:presLayoutVars>
      </dgm:prSet>
      <dgm:spPr/>
    </dgm:pt>
    <dgm:pt modelId="{087083BF-88D1-4C3F-A748-2996D859E2FC}" type="pres">
      <dgm:prSet presAssocID="{F15A699A-F57A-4CE4-AA9A-294840056294}" presName="parTxOnlySpace" presStyleCnt="0"/>
      <dgm:spPr/>
    </dgm:pt>
    <dgm:pt modelId="{97FACA6A-B18A-4801-AE02-0D2B659B5EDD}" type="pres">
      <dgm:prSet presAssocID="{1A4CF166-F76B-49CE-AE8B-8D078B23ACFD}" presName="parTxOnly" presStyleLbl="node1" presStyleIdx="3" presStyleCnt="5">
        <dgm:presLayoutVars>
          <dgm:chMax val="0"/>
          <dgm:chPref val="0"/>
          <dgm:bulletEnabled val="1"/>
        </dgm:presLayoutVars>
      </dgm:prSet>
      <dgm:spPr/>
    </dgm:pt>
    <dgm:pt modelId="{A38AEC4D-9F29-49AE-9561-58057C627CFF}" type="pres">
      <dgm:prSet presAssocID="{F7F877CE-DA4A-4070-AD65-36F2C85A2D49}" presName="parTxOnlySpace" presStyleCnt="0"/>
      <dgm:spPr/>
    </dgm:pt>
    <dgm:pt modelId="{39EF0538-AF7D-4C6B-897E-A3D180C2621C}" type="pres">
      <dgm:prSet presAssocID="{26253FCD-8140-4F93-BC28-C726401BE6B6}" presName="parTxOnly" presStyleLbl="node1" presStyleIdx="4" presStyleCnt="5">
        <dgm:presLayoutVars>
          <dgm:chMax val="0"/>
          <dgm:chPref val="0"/>
          <dgm:bulletEnabled val="1"/>
        </dgm:presLayoutVars>
      </dgm:prSet>
      <dgm:spPr/>
    </dgm:pt>
  </dgm:ptLst>
  <dgm:cxnLst>
    <dgm:cxn modelId="{61C89834-F50D-4C95-B2F2-CBF5FC5D4485}" type="presOf" srcId="{26253FCD-8140-4F93-BC28-C726401BE6B6}" destId="{39EF0538-AF7D-4C6B-897E-A3D180C2621C}" srcOrd="0" destOrd="0" presId="urn:microsoft.com/office/officeart/2005/8/layout/chevron1"/>
    <dgm:cxn modelId="{DED4D15F-0982-4E31-9776-FD222430D8E9}" type="presOf" srcId="{94671029-ABBC-4C5C-96F5-78D438DD3B3F}" destId="{8DBE70E2-0F02-4BE3-872D-1EAADD9D5F11}" srcOrd="0" destOrd="0" presId="urn:microsoft.com/office/officeart/2005/8/layout/chevron1"/>
    <dgm:cxn modelId="{1EB0BF63-A050-48B5-9150-AFAC381F5A40}" srcId="{6985EF68-C714-47DF-95F4-839246331BFE}" destId="{1A4CF166-F76B-49CE-AE8B-8D078B23ACFD}" srcOrd="3" destOrd="0" parTransId="{381AF31E-F69C-425B-9C4C-D6D0674E7B92}" sibTransId="{F7F877CE-DA4A-4070-AD65-36F2C85A2D49}"/>
    <dgm:cxn modelId="{0605664D-781C-4C09-86F1-6BD49AAB0F83}" type="presOf" srcId="{3AE54B61-3F4C-4A4B-ADFF-CC9CF7BA4F25}" destId="{7141E469-82A7-452A-A5A3-3C9DB8A77C4C}" srcOrd="0" destOrd="0" presId="urn:microsoft.com/office/officeart/2005/8/layout/chevron1"/>
    <dgm:cxn modelId="{DC2AEE74-2E62-468C-B5CF-E41BB1C0C01B}" type="presOf" srcId="{1A4CF166-F76B-49CE-AE8B-8D078B23ACFD}" destId="{97FACA6A-B18A-4801-AE02-0D2B659B5EDD}" srcOrd="0" destOrd="0" presId="urn:microsoft.com/office/officeart/2005/8/layout/chevron1"/>
    <dgm:cxn modelId="{3D98D7A5-4FE3-494D-847C-E069351B6B53}" type="presOf" srcId="{6985EF68-C714-47DF-95F4-839246331BFE}" destId="{049F9131-BBF6-4D4A-A739-38633DB3716B}" srcOrd="0" destOrd="0" presId="urn:microsoft.com/office/officeart/2005/8/layout/chevron1"/>
    <dgm:cxn modelId="{9AD8C5A7-33C3-4600-9392-54EA300F732E}" srcId="{6985EF68-C714-47DF-95F4-839246331BFE}" destId="{26253FCD-8140-4F93-BC28-C726401BE6B6}" srcOrd="4" destOrd="0" parTransId="{452B0562-FD1B-471A-9895-695B23A9DF5B}" sibTransId="{56FBD035-58AE-43F9-8724-7207784A7381}"/>
    <dgm:cxn modelId="{902495B6-A384-48F2-87CF-A8C2FA314F08}" srcId="{6985EF68-C714-47DF-95F4-839246331BFE}" destId="{5DC8ED4B-2B23-4F96-BE85-F404472F0AEB}" srcOrd="0" destOrd="0" parTransId="{5BA55E4F-B2BD-4E91-9DFB-5988BC3D0750}" sibTransId="{6E4AE3C0-A9B2-474A-9530-D9F9DF9D7619}"/>
    <dgm:cxn modelId="{D9BEF4B7-D874-4C7C-BC5E-CFEFDC8216B8}" srcId="{6985EF68-C714-47DF-95F4-839246331BFE}" destId="{94671029-ABBC-4C5C-96F5-78D438DD3B3F}" srcOrd="2" destOrd="0" parTransId="{DB4357C2-AD04-489B-8943-2ACE9784E0F6}" sibTransId="{F15A699A-F57A-4CE4-AA9A-294840056294}"/>
    <dgm:cxn modelId="{057CA1C8-E8EC-4726-BB66-A5F57BE533C4}" srcId="{6985EF68-C714-47DF-95F4-839246331BFE}" destId="{3AE54B61-3F4C-4A4B-ADFF-CC9CF7BA4F25}" srcOrd="1" destOrd="0" parTransId="{AD3697A3-79E9-412C-ABAA-2ECF1B656769}" sibTransId="{2F26448B-A936-4101-A4C0-886A79BB89DB}"/>
    <dgm:cxn modelId="{48B928ED-CB2B-489C-8C9A-465DC60F6EBC}" type="presOf" srcId="{5DC8ED4B-2B23-4F96-BE85-F404472F0AEB}" destId="{8329E24A-1AAD-44DA-B2CA-9AB294F775A9}" srcOrd="0" destOrd="0" presId="urn:microsoft.com/office/officeart/2005/8/layout/chevron1"/>
    <dgm:cxn modelId="{93AEFD44-C108-4566-8987-04836697D542}" type="presParOf" srcId="{049F9131-BBF6-4D4A-A739-38633DB3716B}" destId="{8329E24A-1AAD-44DA-B2CA-9AB294F775A9}" srcOrd="0" destOrd="0" presId="urn:microsoft.com/office/officeart/2005/8/layout/chevron1"/>
    <dgm:cxn modelId="{94C090E7-5294-4EFA-B92B-8A638262C9E3}" type="presParOf" srcId="{049F9131-BBF6-4D4A-A739-38633DB3716B}" destId="{4A08A57B-51EB-45F4-BCD4-A04EA15CEADE}" srcOrd="1" destOrd="0" presId="urn:microsoft.com/office/officeart/2005/8/layout/chevron1"/>
    <dgm:cxn modelId="{497D8F31-B3DF-4AC6-BF48-D4408EB7FEB6}" type="presParOf" srcId="{049F9131-BBF6-4D4A-A739-38633DB3716B}" destId="{7141E469-82A7-452A-A5A3-3C9DB8A77C4C}" srcOrd="2" destOrd="0" presId="urn:microsoft.com/office/officeart/2005/8/layout/chevron1"/>
    <dgm:cxn modelId="{ACD095B8-B0CB-4464-9A25-197BBAFA172B}" type="presParOf" srcId="{049F9131-BBF6-4D4A-A739-38633DB3716B}" destId="{4D05AE17-1EBD-4F05-9421-52879486620F}" srcOrd="3" destOrd="0" presId="urn:microsoft.com/office/officeart/2005/8/layout/chevron1"/>
    <dgm:cxn modelId="{14BEFFA9-BF86-46D2-82DB-506A750758A2}" type="presParOf" srcId="{049F9131-BBF6-4D4A-A739-38633DB3716B}" destId="{8DBE70E2-0F02-4BE3-872D-1EAADD9D5F11}" srcOrd="4" destOrd="0" presId="urn:microsoft.com/office/officeart/2005/8/layout/chevron1"/>
    <dgm:cxn modelId="{4D7AB57E-986A-4895-B244-E554CA135A6A}" type="presParOf" srcId="{049F9131-BBF6-4D4A-A739-38633DB3716B}" destId="{087083BF-88D1-4C3F-A748-2996D859E2FC}" srcOrd="5" destOrd="0" presId="urn:microsoft.com/office/officeart/2005/8/layout/chevron1"/>
    <dgm:cxn modelId="{3D15D4E9-4298-4DA0-B835-C46E2BAC4CD8}" type="presParOf" srcId="{049F9131-BBF6-4D4A-A739-38633DB3716B}" destId="{97FACA6A-B18A-4801-AE02-0D2B659B5EDD}" srcOrd="6" destOrd="0" presId="urn:microsoft.com/office/officeart/2005/8/layout/chevron1"/>
    <dgm:cxn modelId="{0919B2B9-25CF-423B-896B-54A04E5B9DB0}" type="presParOf" srcId="{049F9131-BBF6-4D4A-A739-38633DB3716B}" destId="{A38AEC4D-9F29-49AE-9561-58057C627CFF}" srcOrd="7" destOrd="0" presId="urn:microsoft.com/office/officeart/2005/8/layout/chevron1"/>
    <dgm:cxn modelId="{951B4E5A-690D-4859-BAC9-100096C55CB4}" type="presParOf" srcId="{049F9131-BBF6-4D4A-A739-38633DB3716B}" destId="{39EF0538-AF7D-4C6B-897E-A3D180C2621C}" srcOrd="8" destOrd="0" presId="urn:microsoft.com/office/officeart/2005/8/layout/chevron1"/>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9E24A-1AAD-44DA-B2CA-9AB294F775A9}">
      <dsp:nvSpPr>
        <dsp:cNvPr id="0" name=""/>
        <dsp:cNvSpPr/>
      </dsp:nvSpPr>
      <dsp:spPr>
        <a:xfrm>
          <a:off x="2868" y="0"/>
          <a:ext cx="2552901" cy="21945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1: Location</a:t>
          </a:r>
        </a:p>
      </dsp:txBody>
      <dsp:txXfrm>
        <a:off x="112596" y="0"/>
        <a:ext cx="2333445" cy="219456"/>
      </dsp:txXfrm>
    </dsp:sp>
    <dsp:sp modelId="{7141E469-82A7-452A-A5A3-3C9DB8A77C4C}">
      <dsp:nvSpPr>
        <dsp:cNvPr id="0" name=""/>
        <dsp:cNvSpPr/>
      </dsp:nvSpPr>
      <dsp:spPr>
        <a:xfrm>
          <a:off x="2300480" y="0"/>
          <a:ext cx="2552901" cy="219456"/>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2: Sector selection</a:t>
          </a:r>
        </a:p>
      </dsp:txBody>
      <dsp:txXfrm>
        <a:off x="2410208" y="0"/>
        <a:ext cx="2333445" cy="219456"/>
      </dsp:txXfrm>
    </dsp:sp>
    <dsp:sp modelId="{8DBE70E2-0F02-4BE3-872D-1EAADD9D5F11}">
      <dsp:nvSpPr>
        <dsp:cNvPr id="0" name=""/>
        <dsp:cNvSpPr/>
      </dsp:nvSpPr>
      <dsp:spPr>
        <a:xfrm>
          <a:off x="4598092" y="0"/>
          <a:ext cx="2552901" cy="219456"/>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3: Incentive structure</a:t>
          </a:r>
        </a:p>
      </dsp:txBody>
      <dsp:txXfrm>
        <a:off x="4707820" y="0"/>
        <a:ext cx="2333445" cy="219456"/>
      </dsp:txXfrm>
    </dsp:sp>
    <dsp:sp modelId="{97FACA6A-B18A-4801-AE02-0D2B659B5EDD}">
      <dsp:nvSpPr>
        <dsp:cNvPr id="0" name=""/>
        <dsp:cNvSpPr/>
      </dsp:nvSpPr>
      <dsp:spPr>
        <a:xfrm>
          <a:off x="6895703" y="0"/>
          <a:ext cx="2552901" cy="219456"/>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4: Institutional structure</a:t>
          </a:r>
        </a:p>
      </dsp:txBody>
      <dsp:txXfrm>
        <a:off x="7005431" y="0"/>
        <a:ext cx="2333445" cy="219456"/>
      </dsp:txXfrm>
    </dsp:sp>
    <dsp:sp modelId="{39EF0538-AF7D-4C6B-897E-A3D180C2621C}">
      <dsp:nvSpPr>
        <dsp:cNvPr id="0" name=""/>
        <dsp:cNvSpPr/>
      </dsp:nvSpPr>
      <dsp:spPr>
        <a:xfrm>
          <a:off x="9193315" y="0"/>
          <a:ext cx="2552901" cy="219456"/>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5: Component and zoning</a:t>
          </a:r>
        </a:p>
      </dsp:txBody>
      <dsp:txXfrm>
        <a:off x="9303043" y="0"/>
        <a:ext cx="2333445" cy="2194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9E24A-1AAD-44DA-B2CA-9AB294F775A9}">
      <dsp:nvSpPr>
        <dsp:cNvPr id="0" name=""/>
        <dsp:cNvSpPr/>
      </dsp:nvSpPr>
      <dsp:spPr>
        <a:xfrm>
          <a:off x="2868"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1: Location</a:t>
          </a:r>
        </a:p>
      </dsp:txBody>
      <dsp:txXfrm>
        <a:off x="114600" y="0"/>
        <a:ext cx="2329437" cy="223464"/>
      </dsp:txXfrm>
    </dsp:sp>
    <dsp:sp modelId="{7141E469-82A7-452A-A5A3-3C9DB8A77C4C}">
      <dsp:nvSpPr>
        <dsp:cNvPr id="0" name=""/>
        <dsp:cNvSpPr/>
      </dsp:nvSpPr>
      <dsp:spPr>
        <a:xfrm>
          <a:off x="2300480" y="0"/>
          <a:ext cx="2552901" cy="223464"/>
        </a:xfrm>
        <a:prstGeom prst="chevron">
          <a:avLst/>
        </a:prstGeom>
        <a:solidFill>
          <a:srgbClr val="D04A0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2: Sector selection</a:t>
          </a:r>
        </a:p>
      </dsp:txBody>
      <dsp:txXfrm>
        <a:off x="2412212" y="0"/>
        <a:ext cx="2329437" cy="223464"/>
      </dsp:txXfrm>
    </dsp:sp>
    <dsp:sp modelId="{8DBE70E2-0F02-4BE3-872D-1EAADD9D5F11}">
      <dsp:nvSpPr>
        <dsp:cNvPr id="0" name=""/>
        <dsp:cNvSpPr/>
      </dsp:nvSpPr>
      <dsp:spPr>
        <a:xfrm>
          <a:off x="4598092"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3: Incentive structure</a:t>
          </a:r>
        </a:p>
      </dsp:txBody>
      <dsp:txXfrm>
        <a:off x="4709824" y="0"/>
        <a:ext cx="2329437" cy="223464"/>
      </dsp:txXfrm>
    </dsp:sp>
    <dsp:sp modelId="{97FACA6A-B18A-4801-AE02-0D2B659B5EDD}">
      <dsp:nvSpPr>
        <dsp:cNvPr id="0" name=""/>
        <dsp:cNvSpPr/>
      </dsp:nvSpPr>
      <dsp:spPr>
        <a:xfrm>
          <a:off x="6895703"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4: Institutional structure</a:t>
          </a:r>
        </a:p>
      </dsp:txBody>
      <dsp:txXfrm>
        <a:off x="7007435" y="0"/>
        <a:ext cx="2329437" cy="223464"/>
      </dsp:txXfrm>
    </dsp:sp>
    <dsp:sp modelId="{39EF0538-AF7D-4C6B-897E-A3D180C2621C}">
      <dsp:nvSpPr>
        <dsp:cNvPr id="0" name=""/>
        <dsp:cNvSpPr/>
      </dsp:nvSpPr>
      <dsp:spPr>
        <a:xfrm>
          <a:off x="9193315"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5: Component and zoning</a:t>
          </a:r>
        </a:p>
      </dsp:txBody>
      <dsp:txXfrm>
        <a:off x="9305047" y="0"/>
        <a:ext cx="2329437" cy="2234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9E24A-1AAD-44DA-B2CA-9AB294F775A9}">
      <dsp:nvSpPr>
        <dsp:cNvPr id="0" name=""/>
        <dsp:cNvSpPr/>
      </dsp:nvSpPr>
      <dsp:spPr>
        <a:xfrm>
          <a:off x="2868"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1: Location</a:t>
          </a:r>
        </a:p>
      </dsp:txBody>
      <dsp:txXfrm>
        <a:off x="114600" y="0"/>
        <a:ext cx="2329437" cy="223464"/>
      </dsp:txXfrm>
    </dsp:sp>
    <dsp:sp modelId="{7141E469-82A7-452A-A5A3-3C9DB8A77C4C}">
      <dsp:nvSpPr>
        <dsp:cNvPr id="0" name=""/>
        <dsp:cNvSpPr/>
      </dsp:nvSpPr>
      <dsp:spPr>
        <a:xfrm>
          <a:off x="2300480"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2: Sector selection</a:t>
          </a:r>
        </a:p>
      </dsp:txBody>
      <dsp:txXfrm>
        <a:off x="2412212" y="0"/>
        <a:ext cx="2329437" cy="223464"/>
      </dsp:txXfrm>
    </dsp:sp>
    <dsp:sp modelId="{8DBE70E2-0F02-4BE3-872D-1EAADD9D5F11}">
      <dsp:nvSpPr>
        <dsp:cNvPr id="0" name=""/>
        <dsp:cNvSpPr/>
      </dsp:nvSpPr>
      <dsp:spPr>
        <a:xfrm>
          <a:off x="4598092" y="0"/>
          <a:ext cx="2552901" cy="223464"/>
        </a:xfrm>
        <a:prstGeom prst="chevron">
          <a:avLst/>
        </a:prstGeom>
        <a:solidFill>
          <a:srgbClr val="D04A0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3: Incentive structure</a:t>
          </a:r>
        </a:p>
      </dsp:txBody>
      <dsp:txXfrm>
        <a:off x="4709824" y="0"/>
        <a:ext cx="2329437" cy="223464"/>
      </dsp:txXfrm>
    </dsp:sp>
    <dsp:sp modelId="{97FACA6A-B18A-4801-AE02-0D2B659B5EDD}">
      <dsp:nvSpPr>
        <dsp:cNvPr id="0" name=""/>
        <dsp:cNvSpPr/>
      </dsp:nvSpPr>
      <dsp:spPr>
        <a:xfrm>
          <a:off x="6895703"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4: Institutional structure</a:t>
          </a:r>
        </a:p>
      </dsp:txBody>
      <dsp:txXfrm>
        <a:off x="7007435" y="0"/>
        <a:ext cx="2329437" cy="223464"/>
      </dsp:txXfrm>
    </dsp:sp>
    <dsp:sp modelId="{39EF0538-AF7D-4C6B-897E-A3D180C2621C}">
      <dsp:nvSpPr>
        <dsp:cNvPr id="0" name=""/>
        <dsp:cNvSpPr/>
      </dsp:nvSpPr>
      <dsp:spPr>
        <a:xfrm>
          <a:off x="9193315"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5: Component and zoning</a:t>
          </a:r>
        </a:p>
      </dsp:txBody>
      <dsp:txXfrm>
        <a:off x="9305047" y="0"/>
        <a:ext cx="2329437" cy="22346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9E24A-1AAD-44DA-B2CA-9AB294F775A9}">
      <dsp:nvSpPr>
        <dsp:cNvPr id="0" name=""/>
        <dsp:cNvSpPr/>
      </dsp:nvSpPr>
      <dsp:spPr>
        <a:xfrm>
          <a:off x="2868"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1: Location</a:t>
          </a:r>
        </a:p>
      </dsp:txBody>
      <dsp:txXfrm>
        <a:off x="114600" y="0"/>
        <a:ext cx="2329437" cy="223464"/>
      </dsp:txXfrm>
    </dsp:sp>
    <dsp:sp modelId="{7141E469-82A7-452A-A5A3-3C9DB8A77C4C}">
      <dsp:nvSpPr>
        <dsp:cNvPr id="0" name=""/>
        <dsp:cNvSpPr/>
      </dsp:nvSpPr>
      <dsp:spPr>
        <a:xfrm>
          <a:off x="2300480"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2: Sector selection</a:t>
          </a:r>
        </a:p>
      </dsp:txBody>
      <dsp:txXfrm>
        <a:off x="2412212" y="0"/>
        <a:ext cx="2329437" cy="223464"/>
      </dsp:txXfrm>
    </dsp:sp>
    <dsp:sp modelId="{8DBE70E2-0F02-4BE3-872D-1EAADD9D5F11}">
      <dsp:nvSpPr>
        <dsp:cNvPr id="0" name=""/>
        <dsp:cNvSpPr/>
      </dsp:nvSpPr>
      <dsp:spPr>
        <a:xfrm>
          <a:off x="4598092"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3: Incentive structure</a:t>
          </a:r>
        </a:p>
      </dsp:txBody>
      <dsp:txXfrm>
        <a:off x="4709824" y="0"/>
        <a:ext cx="2329437" cy="223464"/>
      </dsp:txXfrm>
    </dsp:sp>
    <dsp:sp modelId="{97FACA6A-B18A-4801-AE02-0D2B659B5EDD}">
      <dsp:nvSpPr>
        <dsp:cNvPr id="0" name=""/>
        <dsp:cNvSpPr/>
      </dsp:nvSpPr>
      <dsp:spPr>
        <a:xfrm>
          <a:off x="6895703" y="0"/>
          <a:ext cx="2552901" cy="223464"/>
        </a:xfrm>
        <a:prstGeom prst="chevron">
          <a:avLst/>
        </a:prstGeom>
        <a:solidFill>
          <a:srgbClr val="D04A0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4: Institutional structure</a:t>
          </a:r>
        </a:p>
      </dsp:txBody>
      <dsp:txXfrm>
        <a:off x="7007435" y="0"/>
        <a:ext cx="2329437" cy="223464"/>
      </dsp:txXfrm>
    </dsp:sp>
    <dsp:sp modelId="{39EF0538-AF7D-4C6B-897E-A3D180C2621C}">
      <dsp:nvSpPr>
        <dsp:cNvPr id="0" name=""/>
        <dsp:cNvSpPr/>
      </dsp:nvSpPr>
      <dsp:spPr>
        <a:xfrm>
          <a:off x="9193315"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5: Component and zoning</a:t>
          </a:r>
        </a:p>
      </dsp:txBody>
      <dsp:txXfrm>
        <a:off x="9305047" y="0"/>
        <a:ext cx="2329437" cy="2234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9E24A-1AAD-44DA-B2CA-9AB294F775A9}">
      <dsp:nvSpPr>
        <dsp:cNvPr id="0" name=""/>
        <dsp:cNvSpPr/>
      </dsp:nvSpPr>
      <dsp:spPr>
        <a:xfrm>
          <a:off x="2868"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1: Location</a:t>
          </a:r>
        </a:p>
      </dsp:txBody>
      <dsp:txXfrm>
        <a:off x="114600" y="0"/>
        <a:ext cx="2329437" cy="223464"/>
      </dsp:txXfrm>
    </dsp:sp>
    <dsp:sp modelId="{7141E469-82A7-452A-A5A3-3C9DB8A77C4C}">
      <dsp:nvSpPr>
        <dsp:cNvPr id="0" name=""/>
        <dsp:cNvSpPr/>
      </dsp:nvSpPr>
      <dsp:spPr>
        <a:xfrm>
          <a:off x="2300480"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2: Sector selection</a:t>
          </a:r>
        </a:p>
      </dsp:txBody>
      <dsp:txXfrm>
        <a:off x="2412212" y="0"/>
        <a:ext cx="2329437" cy="223464"/>
      </dsp:txXfrm>
    </dsp:sp>
    <dsp:sp modelId="{8DBE70E2-0F02-4BE3-872D-1EAADD9D5F11}">
      <dsp:nvSpPr>
        <dsp:cNvPr id="0" name=""/>
        <dsp:cNvSpPr/>
      </dsp:nvSpPr>
      <dsp:spPr>
        <a:xfrm>
          <a:off x="4598092"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3: Incentive structure</a:t>
          </a:r>
        </a:p>
      </dsp:txBody>
      <dsp:txXfrm>
        <a:off x="4709824" y="0"/>
        <a:ext cx="2329437" cy="223464"/>
      </dsp:txXfrm>
    </dsp:sp>
    <dsp:sp modelId="{97FACA6A-B18A-4801-AE02-0D2B659B5EDD}">
      <dsp:nvSpPr>
        <dsp:cNvPr id="0" name=""/>
        <dsp:cNvSpPr/>
      </dsp:nvSpPr>
      <dsp:spPr>
        <a:xfrm>
          <a:off x="6895703"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4: Institutional structure</a:t>
          </a:r>
        </a:p>
      </dsp:txBody>
      <dsp:txXfrm>
        <a:off x="7007435" y="0"/>
        <a:ext cx="2329437" cy="223464"/>
      </dsp:txXfrm>
    </dsp:sp>
    <dsp:sp modelId="{39EF0538-AF7D-4C6B-897E-A3D180C2621C}">
      <dsp:nvSpPr>
        <dsp:cNvPr id="0" name=""/>
        <dsp:cNvSpPr/>
      </dsp:nvSpPr>
      <dsp:spPr>
        <a:xfrm>
          <a:off x="9193315" y="0"/>
          <a:ext cx="2552901" cy="223464"/>
        </a:xfrm>
        <a:prstGeom prst="chevron">
          <a:avLst/>
        </a:prstGeom>
        <a:solidFill>
          <a:srgbClr val="D04A0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5: Component and zoning</a:t>
          </a:r>
        </a:p>
      </dsp:txBody>
      <dsp:txXfrm>
        <a:off x="9305047" y="0"/>
        <a:ext cx="2329437" cy="2234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9E24A-1AAD-44DA-B2CA-9AB294F775A9}">
      <dsp:nvSpPr>
        <dsp:cNvPr id="0" name=""/>
        <dsp:cNvSpPr/>
      </dsp:nvSpPr>
      <dsp:spPr>
        <a:xfrm>
          <a:off x="2868"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1: Location</a:t>
          </a:r>
        </a:p>
      </dsp:txBody>
      <dsp:txXfrm>
        <a:off x="114600" y="0"/>
        <a:ext cx="2329437" cy="223464"/>
      </dsp:txXfrm>
    </dsp:sp>
    <dsp:sp modelId="{7141E469-82A7-452A-A5A3-3C9DB8A77C4C}">
      <dsp:nvSpPr>
        <dsp:cNvPr id="0" name=""/>
        <dsp:cNvSpPr/>
      </dsp:nvSpPr>
      <dsp:spPr>
        <a:xfrm>
          <a:off x="2300480"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2: Sector selection</a:t>
          </a:r>
        </a:p>
      </dsp:txBody>
      <dsp:txXfrm>
        <a:off x="2412212" y="0"/>
        <a:ext cx="2329437" cy="223464"/>
      </dsp:txXfrm>
    </dsp:sp>
    <dsp:sp modelId="{8DBE70E2-0F02-4BE3-872D-1EAADD9D5F11}">
      <dsp:nvSpPr>
        <dsp:cNvPr id="0" name=""/>
        <dsp:cNvSpPr/>
      </dsp:nvSpPr>
      <dsp:spPr>
        <a:xfrm>
          <a:off x="4598092"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3: Incentive structure</a:t>
          </a:r>
        </a:p>
      </dsp:txBody>
      <dsp:txXfrm>
        <a:off x="4709824" y="0"/>
        <a:ext cx="2329437" cy="223464"/>
      </dsp:txXfrm>
    </dsp:sp>
    <dsp:sp modelId="{97FACA6A-B18A-4801-AE02-0D2B659B5EDD}">
      <dsp:nvSpPr>
        <dsp:cNvPr id="0" name=""/>
        <dsp:cNvSpPr/>
      </dsp:nvSpPr>
      <dsp:spPr>
        <a:xfrm>
          <a:off x="6895703" y="0"/>
          <a:ext cx="2552901" cy="223464"/>
        </a:xfrm>
        <a:prstGeom prst="chevron">
          <a:avLst/>
        </a:prstGeom>
        <a:solidFill>
          <a:srgbClr val="D04A02">
            <a:alpha val="50196"/>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4: Institutional structure</a:t>
          </a:r>
        </a:p>
      </dsp:txBody>
      <dsp:txXfrm>
        <a:off x="7007435" y="0"/>
        <a:ext cx="2329437" cy="223464"/>
      </dsp:txXfrm>
    </dsp:sp>
    <dsp:sp modelId="{39EF0538-AF7D-4C6B-897E-A3D180C2621C}">
      <dsp:nvSpPr>
        <dsp:cNvPr id="0" name=""/>
        <dsp:cNvSpPr/>
      </dsp:nvSpPr>
      <dsp:spPr>
        <a:xfrm>
          <a:off x="9193315" y="0"/>
          <a:ext cx="2552901" cy="223464"/>
        </a:xfrm>
        <a:prstGeom prst="chevron">
          <a:avLst/>
        </a:prstGeom>
        <a:solidFill>
          <a:srgbClr val="D04A0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US" sz="1000" kern="1200"/>
            <a:t>5: Component and zoning</a:t>
          </a:r>
        </a:p>
      </dsp:txBody>
      <dsp:txXfrm>
        <a:off x="9305047" y="0"/>
        <a:ext cx="2329437" cy="223464"/>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2F31AA-F144-41AC-8AB3-B69A50C61DB7}" type="datetimeFigureOut">
              <a:rPr lang="en-US" smtClean="0"/>
              <a:t>05/0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4B18B2-9D82-4E41-B1E1-0AF83BBAB5E5}" type="slidenum">
              <a:rPr lang="en-US" smtClean="0"/>
              <a:t>‹#›</a:t>
            </a:fld>
            <a:endParaRPr lang="en-US"/>
          </a:p>
        </p:txBody>
      </p:sp>
    </p:spTree>
    <p:extLst>
      <p:ext uri="{BB962C8B-B14F-4D97-AF65-F5344CB8AC3E}">
        <p14:creationId xmlns:p14="http://schemas.microsoft.com/office/powerpoint/2010/main" val="1085032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22345005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59665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359292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705722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750610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93515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27438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233686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255819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20035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818804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4B18B2-9D82-4E41-B1E1-0AF83BBAB5E5}" type="slidenum">
              <a:rPr lang="en-US" smtClean="0"/>
              <a:t>2</a:t>
            </a:fld>
            <a:endParaRPr lang="en-US"/>
          </a:p>
        </p:txBody>
      </p:sp>
    </p:spTree>
    <p:extLst>
      <p:ext uri="{BB962C8B-B14F-4D97-AF65-F5344CB8AC3E}">
        <p14:creationId xmlns:p14="http://schemas.microsoft.com/office/powerpoint/2010/main" val="3038363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8"/>
        <p:cNvGrpSpPr/>
        <p:nvPr/>
      </p:nvGrpSpPr>
      <p:grpSpPr>
        <a:xfrm>
          <a:off x="0" y="0"/>
          <a:ext cx="0" cy="0"/>
          <a:chOff x="0" y="0"/>
          <a:chExt cx="0" cy="0"/>
        </a:xfrm>
      </p:grpSpPr>
      <p:sp>
        <p:nvSpPr>
          <p:cNvPr id="1979" name="Google Shape;1979;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80" name="Google Shape;1980;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81" name="Google Shape;1981;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GB" sz="1200" b="0" i="0" u="none" strike="noStrike" kern="120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a:t>
            </a:fld>
            <a:endParaRPr kumimoji="0" sz="1200" b="0" i="0" u="none" strike="noStrike" kern="120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633614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99542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87849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605126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2: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2: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330775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E4B18B2-9D82-4E41-B1E1-0AF83BBAB5E5}" type="slidenum">
              <a:rPr lang="en-US" smtClean="0"/>
              <a:t>12</a:t>
            </a:fld>
            <a:endParaRPr lang="en-US"/>
          </a:p>
        </p:txBody>
      </p:sp>
    </p:spTree>
    <p:extLst>
      <p:ext uri="{BB962C8B-B14F-4D97-AF65-F5344CB8AC3E}">
        <p14:creationId xmlns:p14="http://schemas.microsoft.com/office/powerpoint/2010/main" val="1100977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slideMaster" Target="../slideMasters/slideMaster1.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tags" Target="../tags/tag108.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tags" Target="../tags/tag107.xml"/><Relationship Id="rId5" Type="http://schemas.openxmlformats.org/officeDocument/2006/relationships/tags" Target="../tags/tag101.xml"/><Relationship Id="rId10" Type="http://schemas.openxmlformats.org/officeDocument/2006/relationships/tags" Target="../tags/tag106.xml"/><Relationship Id="rId4" Type="http://schemas.openxmlformats.org/officeDocument/2006/relationships/tags" Target="../tags/tag100.xml"/><Relationship Id="rId9" Type="http://schemas.openxmlformats.org/officeDocument/2006/relationships/tags" Target="../tags/tag105.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60.xml"/><Relationship Id="rId7" Type="http://schemas.openxmlformats.org/officeDocument/2006/relationships/image" Target="../media/image5.png"/><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slideMaster" Target="../slideMasters/slideMaster2.xml"/><Relationship Id="rId5" Type="http://schemas.openxmlformats.org/officeDocument/2006/relationships/tags" Target="../tags/tag462.xml"/><Relationship Id="rId4" Type="http://schemas.openxmlformats.org/officeDocument/2006/relationships/tags" Target="../tags/tag461.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465.xml"/><Relationship Id="rId7" Type="http://schemas.openxmlformats.org/officeDocument/2006/relationships/image" Target="../media/image6.png"/><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slideMaster" Target="../slideMasters/slideMaster2.xml"/><Relationship Id="rId5" Type="http://schemas.openxmlformats.org/officeDocument/2006/relationships/tags" Target="../tags/tag467.xml"/><Relationship Id="rId4" Type="http://schemas.openxmlformats.org/officeDocument/2006/relationships/tags" Target="../tags/tag466.xml"/></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70.xml"/><Relationship Id="rId7" Type="http://schemas.openxmlformats.org/officeDocument/2006/relationships/tags" Target="../tags/tag474.xml"/><Relationship Id="rId2" Type="http://schemas.openxmlformats.org/officeDocument/2006/relationships/tags" Target="../tags/tag469.xml"/><Relationship Id="rId1" Type="http://schemas.openxmlformats.org/officeDocument/2006/relationships/tags" Target="../tags/tag468.xml"/><Relationship Id="rId6" Type="http://schemas.openxmlformats.org/officeDocument/2006/relationships/tags" Target="../tags/tag473.xml"/><Relationship Id="rId5" Type="http://schemas.openxmlformats.org/officeDocument/2006/relationships/tags" Target="../tags/tag472.xml"/><Relationship Id="rId4" Type="http://schemas.openxmlformats.org/officeDocument/2006/relationships/tags" Target="../tags/tag471.xml"/><Relationship Id="rId9" Type="http://schemas.openxmlformats.org/officeDocument/2006/relationships/image" Target="../media/image6.png"/></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77.xml"/><Relationship Id="rId7" Type="http://schemas.openxmlformats.org/officeDocument/2006/relationships/tags" Target="../tags/tag481.xml"/><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 Id="rId9" Type="http://schemas.openxmlformats.org/officeDocument/2006/relationships/image" Target="../media/image6.pn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482.xml"/><Relationship Id="rId4" Type="http://schemas.openxmlformats.org/officeDocument/2006/relationships/image" Target="../media/image8.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483.xml"/><Relationship Id="rId4" Type="http://schemas.openxmlformats.org/officeDocument/2006/relationships/image" Target="../media/image8.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484.xml"/><Relationship Id="rId4" Type="http://schemas.openxmlformats.org/officeDocument/2006/relationships/image" Target="../media/image8.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slideMaster" Target="../slideMasters/slideMaster1.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tags" Target="../tags/tag120.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490.xml"/><Relationship Id="rId7" Type="http://schemas.openxmlformats.org/officeDocument/2006/relationships/image" Target="../media/image2.png"/><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slideMaster" Target="../slideMasters/slideMaster3.xml"/><Relationship Id="rId5" Type="http://schemas.openxmlformats.org/officeDocument/2006/relationships/tags" Target="../tags/tag492.xml"/><Relationship Id="rId4" Type="http://schemas.openxmlformats.org/officeDocument/2006/relationships/tags" Target="../tags/tag491.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500.xml"/><Relationship Id="rId3" Type="http://schemas.openxmlformats.org/officeDocument/2006/relationships/tags" Target="../tags/tag495.xml"/><Relationship Id="rId7" Type="http://schemas.openxmlformats.org/officeDocument/2006/relationships/tags" Target="../tags/tag499.xml"/><Relationship Id="rId12" Type="http://schemas.openxmlformats.org/officeDocument/2006/relationships/image" Target="../media/image4.png"/><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11" Type="http://schemas.openxmlformats.org/officeDocument/2006/relationships/image" Target="../media/image3.emf"/><Relationship Id="rId5" Type="http://schemas.openxmlformats.org/officeDocument/2006/relationships/tags" Target="../tags/tag497.xml"/><Relationship Id="rId10" Type="http://schemas.openxmlformats.org/officeDocument/2006/relationships/oleObject" Target="../embeddings/oleObject9.bin"/><Relationship Id="rId4" Type="http://schemas.openxmlformats.org/officeDocument/2006/relationships/tags" Target="../tags/tag496.xml"/><Relationship Id="rId9"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508.xml"/><Relationship Id="rId3" Type="http://schemas.openxmlformats.org/officeDocument/2006/relationships/tags" Target="../tags/tag503.xml"/><Relationship Id="rId7" Type="http://schemas.openxmlformats.org/officeDocument/2006/relationships/tags" Target="../tags/tag507.xml"/><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tags" Target="../tags/tag506.xml"/><Relationship Id="rId5" Type="http://schemas.openxmlformats.org/officeDocument/2006/relationships/tags" Target="../tags/tag505.xml"/><Relationship Id="rId10" Type="http://schemas.openxmlformats.org/officeDocument/2006/relationships/image" Target="../media/image4.png"/><Relationship Id="rId4" Type="http://schemas.openxmlformats.org/officeDocument/2006/relationships/tags" Target="../tags/tag504.xml"/><Relationship Id="rId9"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516.xml"/><Relationship Id="rId13" Type="http://schemas.openxmlformats.org/officeDocument/2006/relationships/tags" Target="../tags/tag521.xml"/><Relationship Id="rId3" Type="http://schemas.openxmlformats.org/officeDocument/2006/relationships/tags" Target="../tags/tag511.xml"/><Relationship Id="rId7" Type="http://schemas.openxmlformats.org/officeDocument/2006/relationships/tags" Target="../tags/tag515.xml"/><Relationship Id="rId12" Type="http://schemas.openxmlformats.org/officeDocument/2006/relationships/tags" Target="../tags/tag520.xml"/><Relationship Id="rId2" Type="http://schemas.openxmlformats.org/officeDocument/2006/relationships/tags" Target="../tags/tag510.xml"/><Relationship Id="rId1" Type="http://schemas.openxmlformats.org/officeDocument/2006/relationships/tags" Target="../tags/tag509.xml"/><Relationship Id="rId6" Type="http://schemas.openxmlformats.org/officeDocument/2006/relationships/tags" Target="../tags/tag514.xml"/><Relationship Id="rId11" Type="http://schemas.openxmlformats.org/officeDocument/2006/relationships/tags" Target="../tags/tag519.xml"/><Relationship Id="rId5" Type="http://schemas.openxmlformats.org/officeDocument/2006/relationships/tags" Target="../tags/tag513.xml"/><Relationship Id="rId10" Type="http://schemas.openxmlformats.org/officeDocument/2006/relationships/tags" Target="../tags/tag518.xml"/><Relationship Id="rId4" Type="http://schemas.openxmlformats.org/officeDocument/2006/relationships/tags" Target="../tags/tag512.xml"/><Relationship Id="rId9" Type="http://schemas.openxmlformats.org/officeDocument/2006/relationships/tags" Target="../tags/tag517.xml"/><Relationship Id="rId14"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8" Type="http://schemas.openxmlformats.org/officeDocument/2006/relationships/tags" Target="../tags/tag529.xml"/><Relationship Id="rId13" Type="http://schemas.openxmlformats.org/officeDocument/2006/relationships/tags" Target="../tags/tag534.xml"/><Relationship Id="rId3" Type="http://schemas.openxmlformats.org/officeDocument/2006/relationships/tags" Target="../tags/tag524.xml"/><Relationship Id="rId7" Type="http://schemas.openxmlformats.org/officeDocument/2006/relationships/tags" Target="../tags/tag528.xml"/><Relationship Id="rId12" Type="http://schemas.openxmlformats.org/officeDocument/2006/relationships/tags" Target="../tags/tag533.xml"/><Relationship Id="rId2" Type="http://schemas.openxmlformats.org/officeDocument/2006/relationships/tags" Target="../tags/tag523.xml"/><Relationship Id="rId1" Type="http://schemas.openxmlformats.org/officeDocument/2006/relationships/tags" Target="../tags/tag522.xml"/><Relationship Id="rId6" Type="http://schemas.openxmlformats.org/officeDocument/2006/relationships/tags" Target="../tags/tag527.xml"/><Relationship Id="rId11" Type="http://schemas.openxmlformats.org/officeDocument/2006/relationships/tags" Target="../tags/tag532.xml"/><Relationship Id="rId5" Type="http://schemas.openxmlformats.org/officeDocument/2006/relationships/tags" Target="../tags/tag526.xml"/><Relationship Id="rId15" Type="http://schemas.openxmlformats.org/officeDocument/2006/relationships/slideMaster" Target="../slideMasters/slideMaster3.xml"/><Relationship Id="rId10" Type="http://schemas.openxmlformats.org/officeDocument/2006/relationships/tags" Target="../tags/tag531.xml"/><Relationship Id="rId4" Type="http://schemas.openxmlformats.org/officeDocument/2006/relationships/tags" Target="../tags/tag525.xml"/><Relationship Id="rId9" Type="http://schemas.openxmlformats.org/officeDocument/2006/relationships/tags" Target="../tags/tag530.xml"/><Relationship Id="rId14" Type="http://schemas.openxmlformats.org/officeDocument/2006/relationships/tags" Target="../tags/tag535.xml"/></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543.xml"/><Relationship Id="rId3" Type="http://schemas.openxmlformats.org/officeDocument/2006/relationships/tags" Target="../tags/tag538.xml"/><Relationship Id="rId7" Type="http://schemas.openxmlformats.org/officeDocument/2006/relationships/tags" Target="../tags/tag542.xml"/><Relationship Id="rId2" Type="http://schemas.openxmlformats.org/officeDocument/2006/relationships/tags" Target="../tags/tag537.xml"/><Relationship Id="rId1" Type="http://schemas.openxmlformats.org/officeDocument/2006/relationships/tags" Target="../tags/tag536.xml"/><Relationship Id="rId6" Type="http://schemas.openxmlformats.org/officeDocument/2006/relationships/tags" Target="../tags/tag541.xml"/><Relationship Id="rId11" Type="http://schemas.openxmlformats.org/officeDocument/2006/relationships/slideMaster" Target="../slideMasters/slideMaster3.xml"/><Relationship Id="rId5" Type="http://schemas.openxmlformats.org/officeDocument/2006/relationships/tags" Target="../tags/tag540.xml"/><Relationship Id="rId10" Type="http://schemas.openxmlformats.org/officeDocument/2006/relationships/tags" Target="../tags/tag545.xml"/><Relationship Id="rId4" Type="http://schemas.openxmlformats.org/officeDocument/2006/relationships/tags" Target="../tags/tag539.xml"/><Relationship Id="rId9" Type="http://schemas.openxmlformats.org/officeDocument/2006/relationships/tags" Target="../tags/tag544.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553.xml"/><Relationship Id="rId3" Type="http://schemas.openxmlformats.org/officeDocument/2006/relationships/tags" Target="../tags/tag548.xml"/><Relationship Id="rId7" Type="http://schemas.openxmlformats.org/officeDocument/2006/relationships/tags" Target="../tags/tag552.xml"/><Relationship Id="rId12" Type="http://schemas.openxmlformats.org/officeDocument/2006/relationships/slideMaster" Target="../slideMasters/slideMaster3.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tags" Target="../tags/tag556.xml"/><Relationship Id="rId5" Type="http://schemas.openxmlformats.org/officeDocument/2006/relationships/tags" Target="../tags/tag550.xml"/><Relationship Id="rId10" Type="http://schemas.openxmlformats.org/officeDocument/2006/relationships/tags" Target="../tags/tag555.xml"/><Relationship Id="rId4" Type="http://schemas.openxmlformats.org/officeDocument/2006/relationships/tags" Target="../tags/tag549.xml"/><Relationship Id="rId9" Type="http://schemas.openxmlformats.org/officeDocument/2006/relationships/tags" Target="../tags/tag554.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564.xml"/><Relationship Id="rId3" Type="http://schemas.openxmlformats.org/officeDocument/2006/relationships/tags" Target="../tags/tag559.xml"/><Relationship Id="rId7" Type="http://schemas.openxmlformats.org/officeDocument/2006/relationships/tags" Target="../tags/tag563.xml"/><Relationship Id="rId12" Type="http://schemas.openxmlformats.org/officeDocument/2006/relationships/slideMaster" Target="../slideMasters/slideMaster3.xml"/><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tags" Target="../tags/tag567.xml"/><Relationship Id="rId5" Type="http://schemas.openxmlformats.org/officeDocument/2006/relationships/tags" Target="../tags/tag561.xml"/><Relationship Id="rId10" Type="http://schemas.openxmlformats.org/officeDocument/2006/relationships/tags" Target="../tags/tag566.xml"/><Relationship Id="rId4" Type="http://schemas.openxmlformats.org/officeDocument/2006/relationships/tags" Target="../tags/tag560.xml"/><Relationship Id="rId9" Type="http://schemas.openxmlformats.org/officeDocument/2006/relationships/tags" Target="../tags/tag565.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575.xml"/><Relationship Id="rId13" Type="http://schemas.openxmlformats.org/officeDocument/2006/relationships/slideMaster" Target="../slideMasters/slideMaster3.xml"/><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tags" Target="../tags/tag579.xml"/><Relationship Id="rId2" Type="http://schemas.openxmlformats.org/officeDocument/2006/relationships/tags" Target="../tags/tag569.xml"/><Relationship Id="rId1" Type="http://schemas.openxmlformats.org/officeDocument/2006/relationships/tags" Target="../tags/tag568.xml"/><Relationship Id="rId6" Type="http://schemas.openxmlformats.org/officeDocument/2006/relationships/tags" Target="../tags/tag573.xml"/><Relationship Id="rId11" Type="http://schemas.openxmlformats.org/officeDocument/2006/relationships/tags" Target="../tags/tag578.xml"/><Relationship Id="rId5" Type="http://schemas.openxmlformats.org/officeDocument/2006/relationships/tags" Target="../tags/tag572.xml"/><Relationship Id="rId10" Type="http://schemas.openxmlformats.org/officeDocument/2006/relationships/tags" Target="../tags/tag577.xml"/><Relationship Id="rId4" Type="http://schemas.openxmlformats.org/officeDocument/2006/relationships/tags" Target="../tags/tag571.xml"/><Relationship Id="rId9" Type="http://schemas.openxmlformats.org/officeDocument/2006/relationships/tags" Target="../tags/tag576.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8.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slideMaster" Target="../slideMasters/slideMaster1.xml"/><Relationship Id="rId4" Type="http://schemas.openxmlformats.org/officeDocument/2006/relationships/tags" Target="../tags/tag124.xml"/><Relationship Id="rId9" Type="http://schemas.openxmlformats.org/officeDocument/2006/relationships/tags" Target="../tags/tag129.xml"/></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587.xml"/><Relationship Id="rId13" Type="http://schemas.openxmlformats.org/officeDocument/2006/relationships/slideMaster" Target="../slideMasters/slideMaster3.xml"/><Relationship Id="rId3" Type="http://schemas.openxmlformats.org/officeDocument/2006/relationships/tags" Target="../tags/tag582.xml"/><Relationship Id="rId7" Type="http://schemas.openxmlformats.org/officeDocument/2006/relationships/tags" Target="../tags/tag586.xml"/><Relationship Id="rId12" Type="http://schemas.openxmlformats.org/officeDocument/2006/relationships/tags" Target="../tags/tag591.xml"/><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tags" Target="../tags/tag585.xml"/><Relationship Id="rId11" Type="http://schemas.openxmlformats.org/officeDocument/2006/relationships/tags" Target="../tags/tag590.xml"/><Relationship Id="rId5" Type="http://schemas.openxmlformats.org/officeDocument/2006/relationships/tags" Target="../tags/tag584.xml"/><Relationship Id="rId10" Type="http://schemas.openxmlformats.org/officeDocument/2006/relationships/tags" Target="../tags/tag589.xml"/><Relationship Id="rId4" Type="http://schemas.openxmlformats.org/officeDocument/2006/relationships/tags" Target="../tags/tag583.xml"/><Relationship Id="rId9" Type="http://schemas.openxmlformats.org/officeDocument/2006/relationships/tags" Target="../tags/tag588.xml"/></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599.xml"/><Relationship Id="rId13" Type="http://schemas.openxmlformats.org/officeDocument/2006/relationships/slideMaster" Target="../slideMasters/slideMaster3.xml"/><Relationship Id="rId3" Type="http://schemas.openxmlformats.org/officeDocument/2006/relationships/tags" Target="../tags/tag594.xml"/><Relationship Id="rId7" Type="http://schemas.openxmlformats.org/officeDocument/2006/relationships/tags" Target="../tags/tag598.xml"/><Relationship Id="rId12" Type="http://schemas.openxmlformats.org/officeDocument/2006/relationships/tags" Target="../tags/tag603.xml"/><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tags" Target="../tags/tag597.xml"/><Relationship Id="rId11" Type="http://schemas.openxmlformats.org/officeDocument/2006/relationships/tags" Target="../tags/tag602.xml"/><Relationship Id="rId5" Type="http://schemas.openxmlformats.org/officeDocument/2006/relationships/tags" Target="../tags/tag596.xml"/><Relationship Id="rId10" Type="http://schemas.openxmlformats.org/officeDocument/2006/relationships/tags" Target="../tags/tag601.xml"/><Relationship Id="rId4" Type="http://schemas.openxmlformats.org/officeDocument/2006/relationships/tags" Target="../tags/tag595.xml"/><Relationship Id="rId9" Type="http://schemas.openxmlformats.org/officeDocument/2006/relationships/tags" Target="../tags/tag600.xml"/></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611.xml"/><Relationship Id="rId3" Type="http://schemas.openxmlformats.org/officeDocument/2006/relationships/tags" Target="../tags/tag606.xml"/><Relationship Id="rId7" Type="http://schemas.openxmlformats.org/officeDocument/2006/relationships/tags" Target="../tags/tag610.xml"/><Relationship Id="rId2" Type="http://schemas.openxmlformats.org/officeDocument/2006/relationships/tags" Target="../tags/tag605.xml"/><Relationship Id="rId1" Type="http://schemas.openxmlformats.org/officeDocument/2006/relationships/tags" Target="../tags/tag604.xml"/><Relationship Id="rId6" Type="http://schemas.openxmlformats.org/officeDocument/2006/relationships/tags" Target="../tags/tag609.xml"/><Relationship Id="rId5" Type="http://schemas.openxmlformats.org/officeDocument/2006/relationships/tags" Target="../tags/tag608.xml"/><Relationship Id="rId10" Type="http://schemas.openxmlformats.org/officeDocument/2006/relationships/slideMaster" Target="../slideMasters/slideMaster3.xml"/><Relationship Id="rId4" Type="http://schemas.openxmlformats.org/officeDocument/2006/relationships/tags" Target="../tags/tag607.xml"/><Relationship Id="rId9" Type="http://schemas.openxmlformats.org/officeDocument/2006/relationships/tags" Target="../tags/tag612.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4.xml"/><Relationship Id="rId1" Type="http://schemas.openxmlformats.org/officeDocument/2006/relationships/tags" Target="../tags/tag61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6.xml"/><Relationship Id="rId1" Type="http://schemas.openxmlformats.org/officeDocument/2006/relationships/tags" Target="../tags/tag615.xml"/></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624.xml"/><Relationship Id="rId3" Type="http://schemas.openxmlformats.org/officeDocument/2006/relationships/tags" Target="../tags/tag619.xml"/><Relationship Id="rId7" Type="http://schemas.openxmlformats.org/officeDocument/2006/relationships/tags" Target="../tags/tag623.xml"/><Relationship Id="rId2" Type="http://schemas.openxmlformats.org/officeDocument/2006/relationships/tags" Target="../tags/tag618.xml"/><Relationship Id="rId1" Type="http://schemas.openxmlformats.org/officeDocument/2006/relationships/tags" Target="../tags/tag617.xml"/><Relationship Id="rId6" Type="http://schemas.openxmlformats.org/officeDocument/2006/relationships/tags" Target="../tags/tag622.xml"/><Relationship Id="rId5" Type="http://schemas.openxmlformats.org/officeDocument/2006/relationships/tags" Target="../tags/tag621.xml"/><Relationship Id="rId10" Type="http://schemas.openxmlformats.org/officeDocument/2006/relationships/slideMaster" Target="../slideMasters/slideMaster3.xml"/><Relationship Id="rId4" Type="http://schemas.openxmlformats.org/officeDocument/2006/relationships/tags" Target="../tags/tag620.xml"/><Relationship Id="rId9" Type="http://schemas.openxmlformats.org/officeDocument/2006/relationships/tags" Target="../tags/tag625.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633.xml"/><Relationship Id="rId3" Type="http://schemas.openxmlformats.org/officeDocument/2006/relationships/tags" Target="../tags/tag628.xml"/><Relationship Id="rId7" Type="http://schemas.openxmlformats.org/officeDocument/2006/relationships/tags" Target="../tags/tag632.xml"/><Relationship Id="rId2" Type="http://schemas.openxmlformats.org/officeDocument/2006/relationships/tags" Target="../tags/tag627.xml"/><Relationship Id="rId1" Type="http://schemas.openxmlformats.org/officeDocument/2006/relationships/tags" Target="../tags/tag626.xml"/><Relationship Id="rId6" Type="http://schemas.openxmlformats.org/officeDocument/2006/relationships/tags" Target="../tags/tag631.xml"/><Relationship Id="rId5" Type="http://schemas.openxmlformats.org/officeDocument/2006/relationships/tags" Target="../tags/tag630.xml"/><Relationship Id="rId4" Type="http://schemas.openxmlformats.org/officeDocument/2006/relationships/tags" Target="../tags/tag629.xml"/><Relationship Id="rId9"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641.xml"/><Relationship Id="rId13" Type="http://schemas.openxmlformats.org/officeDocument/2006/relationships/tags" Target="../tags/tag646.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tags" Target="../tags/tag645.xml"/><Relationship Id="rId2" Type="http://schemas.openxmlformats.org/officeDocument/2006/relationships/tags" Target="../tags/tag635.xml"/><Relationship Id="rId1" Type="http://schemas.openxmlformats.org/officeDocument/2006/relationships/tags" Target="../tags/tag634.xml"/><Relationship Id="rId6" Type="http://schemas.openxmlformats.org/officeDocument/2006/relationships/tags" Target="../tags/tag639.xml"/><Relationship Id="rId11" Type="http://schemas.openxmlformats.org/officeDocument/2006/relationships/tags" Target="../tags/tag644.xml"/><Relationship Id="rId5" Type="http://schemas.openxmlformats.org/officeDocument/2006/relationships/tags" Target="../tags/tag638.xml"/><Relationship Id="rId10" Type="http://schemas.openxmlformats.org/officeDocument/2006/relationships/tags" Target="../tags/tag643.xml"/><Relationship Id="rId4" Type="http://schemas.openxmlformats.org/officeDocument/2006/relationships/tags" Target="../tags/tag637.xml"/><Relationship Id="rId9" Type="http://schemas.openxmlformats.org/officeDocument/2006/relationships/tags" Target="../tags/tag642.xml"/><Relationship Id="rId14"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654.xml"/><Relationship Id="rId3" Type="http://schemas.openxmlformats.org/officeDocument/2006/relationships/tags" Target="../tags/tag649.xml"/><Relationship Id="rId7" Type="http://schemas.openxmlformats.org/officeDocument/2006/relationships/tags" Target="../tags/tag653.xml"/><Relationship Id="rId2" Type="http://schemas.openxmlformats.org/officeDocument/2006/relationships/tags" Target="../tags/tag648.xml"/><Relationship Id="rId1" Type="http://schemas.openxmlformats.org/officeDocument/2006/relationships/tags" Target="../tags/tag647.xml"/><Relationship Id="rId6" Type="http://schemas.openxmlformats.org/officeDocument/2006/relationships/tags" Target="../tags/tag652.xml"/><Relationship Id="rId11" Type="http://schemas.openxmlformats.org/officeDocument/2006/relationships/slideMaster" Target="../slideMasters/slideMaster3.xml"/><Relationship Id="rId5" Type="http://schemas.openxmlformats.org/officeDocument/2006/relationships/tags" Target="../tags/tag651.xml"/><Relationship Id="rId10" Type="http://schemas.openxmlformats.org/officeDocument/2006/relationships/tags" Target="../tags/tag656.xml"/><Relationship Id="rId4" Type="http://schemas.openxmlformats.org/officeDocument/2006/relationships/tags" Target="../tags/tag650.xml"/><Relationship Id="rId9" Type="http://schemas.openxmlformats.org/officeDocument/2006/relationships/tags" Target="../tags/tag655.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664.xml"/><Relationship Id="rId3" Type="http://schemas.openxmlformats.org/officeDocument/2006/relationships/tags" Target="../tags/tag659.xml"/><Relationship Id="rId7" Type="http://schemas.openxmlformats.org/officeDocument/2006/relationships/tags" Target="../tags/tag663.xml"/><Relationship Id="rId2" Type="http://schemas.openxmlformats.org/officeDocument/2006/relationships/tags" Target="../tags/tag658.xml"/><Relationship Id="rId1" Type="http://schemas.openxmlformats.org/officeDocument/2006/relationships/tags" Target="../tags/tag657.xml"/><Relationship Id="rId6" Type="http://schemas.openxmlformats.org/officeDocument/2006/relationships/tags" Target="../tags/tag662.xml"/><Relationship Id="rId5" Type="http://schemas.openxmlformats.org/officeDocument/2006/relationships/tags" Target="../tags/tag661.xml"/><Relationship Id="rId10" Type="http://schemas.openxmlformats.org/officeDocument/2006/relationships/slideMaster" Target="../slideMasters/slideMaster3.xml"/><Relationship Id="rId4" Type="http://schemas.openxmlformats.org/officeDocument/2006/relationships/tags" Target="../tags/tag660.xml"/><Relationship Id="rId9" Type="http://schemas.openxmlformats.org/officeDocument/2006/relationships/tags" Target="../tags/tag66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1.xml"/><Relationship Id="rId1" Type="http://schemas.openxmlformats.org/officeDocument/2006/relationships/tags" Target="../tags/tag130.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673.xml"/><Relationship Id="rId3" Type="http://schemas.openxmlformats.org/officeDocument/2006/relationships/tags" Target="../tags/tag668.xml"/><Relationship Id="rId7" Type="http://schemas.openxmlformats.org/officeDocument/2006/relationships/tags" Target="../tags/tag672.xml"/><Relationship Id="rId2" Type="http://schemas.openxmlformats.org/officeDocument/2006/relationships/tags" Target="../tags/tag667.xml"/><Relationship Id="rId1" Type="http://schemas.openxmlformats.org/officeDocument/2006/relationships/tags" Target="../tags/tag666.xml"/><Relationship Id="rId6" Type="http://schemas.openxmlformats.org/officeDocument/2006/relationships/tags" Target="../tags/tag671.xml"/><Relationship Id="rId5" Type="http://schemas.openxmlformats.org/officeDocument/2006/relationships/tags" Target="../tags/tag670.xml"/><Relationship Id="rId10" Type="http://schemas.openxmlformats.org/officeDocument/2006/relationships/slideMaster" Target="../slideMasters/slideMaster3.xml"/><Relationship Id="rId4" Type="http://schemas.openxmlformats.org/officeDocument/2006/relationships/tags" Target="../tags/tag669.xml"/><Relationship Id="rId9" Type="http://schemas.openxmlformats.org/officeDocument/2006/relationships/tags" Target="../tags/tag674.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682.xml"/><Relationship Id="rId3" Type="http://schemas.openxmlformats.org/officeDocument/2006/relationships/tags" Target="../tags/tag677.xml"/><Relationship Id="rId7" Type="http://schemas.openxmlformats.org/officeDocument/2006/relationships/tags" Target="../tags/tag681.xml"/><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tags" Target="../tags/tag680.xml"/><Relationship Id="rId5" Type="http://schemas.openxmlformats.org/officeDocument/2006/relationships/tags" Target="../tags/tag679.xml"/><Relationship Id="rId10" Type="http://schemas.openxmlformats.org/officeDocument/2006/relationships/slideMaster" Target="../slideMasters/slideMaster3.xml"/><Relationship Id="rId4" Type="http://schemas.openxmlformats.org/officeDocument/2006/relationships/tags" Target="../tags/tag678.xml"/><Relationship Id="rId9" Type="http://schemas.openxmlformats.org/officeDocument/2006/relationships/tags" Target="../tags/tag683.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691.xml"/><Relationship Id="rId3" Type="http://schemas.openxmlformats.org/officeDocument/2006/relationships/tags" Target="../tags/tag686.xml"/><Relationship Id="rId7" Type="http://schemas.openxmlformats.org/officeDocument/2006/relationships/tags" Target="../tags/tag690.xml"/><Relationship Id="rId2" Type="http://schemas.openxmlformats.org/officeDocument/2006/relationships/tags" Target="../tags/tag685.xml"/><Relationship Id="rId1" Type="http://schemas.openxmlformats.org/officeDocument/2006/relationships/tags" Target="../tags/tag684.xml"/><Relationship Id="rId6" Type="http://schemas.openxmlformats.org/officeDocument/2006/relationships/tags" Target="../tags/tag689.xml"/><Relationship Id="rId5" Type="http://schemas.openxmlformats.org/officeDocument/2006/relationships/tags" Target="../tags/tag688.xml"/><Relationship Id="rId10" Type="http://schemas.openxmlformats.org/officeDocument/2006/relationships/slideMaster" Target="../slideMasters/slideMaster3.xml"/><Relationship Id="rId4" Type="http://schemas.openxmlformats.org/officeDocument/2006/relationships/tags" Target="../tags/tag687.xml"/><Relationship Id="rId9" Type="http://schemas.openxmlformats.org/officeDocument/2006/relationships/tags" Target="../tags/tag692.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3.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96.xml"/><Relationship Id="rId7" Type="http://schemas.openxmlformats.org/officeDocument/2006/relationships/image" Target="../media/image5.png"/><Relationship Id="rId2" Type="http://schemas.openxmlformats.org/officeDocument/2006/relationships/tags" Target="../tags/tag695.xml"/><Relationship Id="rId1" Type="http://schemas.openxmlformats.org/officeDocument/2006/relationships/tags" Target="../tags/tag694.xml"/><Relationship Id="rId6" Type="http://schemas.openxmlformats.org/officeDocument/2006/relationships/slideMaster" Target="../slideMasters/slideMaster3.xml"/><Relationship Id="rId5" Type="http://schemas.openxmlformats.org/officeDocument/2006/relationships/tags" Target="../tags/tag698.xml"/><Relationship Id="rId4" Type="http://schemas.openxmlformats.org/officeDocument/2006/relationships/tags" Target="../tags/tag697.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01.xml"/><Relationship Id="rId7" Type="http://schemas.openxmlformats.org/officeDocument/2006/relationships/image" Target="../media/image5.png"/><Relationship Id="rId2" Type="http://schemas.openxmlformats.org/officeDocument/2006/relationships/tags" Target="../tags/tag700.xml"/><Relationship Id="rId1" Type="http://schemas.openxmlformats.org/officeDocument/2006/relationships/tags" Target="../tags/tag699.xml"/><Relationship Id="rId6" Type="http://schemas.openxmlformats.org/officeDocument/2006/relationships/slideMaster" Target="../slideMasters/slideMaster3.xml"/><Relationship Id="rId5" Type="http://schemas.openxmlformats.org/officeDocument/2006/relationships/tags" Target="../tags/tag703.xml"/><Relationship Id="rId4" Type="http://schemas.openxmlformats.org/officeDocument/2006/relationships/tags" Target="../tags/tag702.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706.xml"/><Relationship Id="rId7" Type="http://schemas.openxmlformats.org/officeDocument/2006/relationships/image" Target="../media/image6.png"/><Relationship Id="rId2" Type="http://schemas.openxmlformats.org/officeDocument/2006/relationships/tags" Target="../tags/tag705.xml"/><Relationship Id="rId1" Type="http://schemas.openxmlformats.org/officeDocument/2006/relationships/tags" Target="../tags/tag704.xml"/><Relationship Id="rId6" Type="http://schemas.openxmlformats.org/officeDocument/2006/relationships/slideMaster" Target="../slideMasters/slideMaster3.xml"/><Relationship Id="rId5" Type="http://schemas.openxmlformats.org/officeDocument/2006/relationships/tags" Target="../tags/tag708.xml"/><Relationship Id="rId4" Type="http://schemas.openxmlformats.org/officeDocument/2006/relationships/tags" Target="../tags/tag707.xml"/></Relationships>
</file>

<file path=ppt/slideLayouts/_rels/slideLayout13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11.xml"/><Relationship Id="rId7" Type="http://schemas.openxmlformats.org/officeDocument/2006/relationships/tags" Target="../tags/tag715.xml"/><Relationship Id="rId2" Type="http://schemas.openxmlformats.org/officeDocument/2006/relationships/tags" Target="../tags/tag710.xml"/><Relationship Id="rId1" Type="http://schemas.openxmlformats.org/officeDocument/2006/relationships/tags" Target="../tags/tag709.xml"/><Relationship Id="rId6" Type="http://schemas.openxmlformats.org/officeDocument/2006/relationships/tags" Target="../tags/tag714.xml"/><Relationship Id="rId5" Type="http://schemas.openxmlformats.org/officeDocument/2006/relationships/tags" Target="../tags/tag713.xml"/><Relationship Id="rId4" Type="http://schemas.openxmlformats.org/officeDocument/2006/relationships/tags" Target="../tags/tag712.xml"/><Relationship Id="rId9" Type="http://schemas.openxmlformats.org/officeDocument/2006/relationships/image" Target="../media/image6.png"/></Relationships>
</file>

<file path=ppt/slideLayouts/_rels/slideLayout13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18.xml"/><Relationship Id="rId7" Type="http://schemas.openxmlformats.org/officeDocument/2006/relationships/tags" Target="../tags/tag722.xml"/><Relationship Id="rId2" Type="http://schemas.openxmlformats.org/officeDocument/2006/relationships/tags" Target="../tags/tag717.xml"/><Relationship Id="rId1" Type="http://schemas.openxmlformats.org/officeDocument/2006/relationships/tags" Target="../tags/tag716.xml"/><Relationship Id="rId6" Type="http://schemas.openxmlformats.org/officeDocument/2006/relationships/tags" Target="../tags/tag721.xml"/><Relationship Id="rId5" Type="http://schemas.openxmlformats.org/officeDocument/2006/relationships/tags" Target="../tags/tag720.xml"/><Relationship Id="rId4" Type="http://schemas.openxmlformats.org/officeDocument/2006/relationships/tags" Target="../tags/tag719.xml"/><Relationship Id="rId9" Type="http://schemas.openxmlformats.org/officeDocument/2006/relationships/image" Target="../media/image6.pn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3.xml"/><Relationship Id="rId1" Type="http://schemas.openxmlformats.org/officeDocument/2006/relationships/tags" Target="../tags/tag132.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723.xml"/><Relationship Id="rId4" Type="http://schemas.openxmlformats.org/officeDocument/2006/relationships/image" Target="../media/image8.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724.xml"/><Relationship Id="rId4" Type="http://schemas.openxmlformats.org/officeDocument/2006/relationships/image" Target="../media/image8.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725.xml"/><Relationship Id="rId4" Type="http://schemas.openxmlformats.org/officeDocument/2006/relationships/image" Target="../media/image8.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731.xml"/><Relationship Id="rId7" Type="http://schemas.openxmlformats.org/officeDocument/2006/relationships/image" Target="../media/image2.png"/><Relationship Id="rId2" Type="http://schemas.openxmlformats.org/officeDocument/2006/relationships/tags" Target="../tags/tag730.xml"/><Relationship Id="rId1" Type="http://schemas.openxmlformats.org/officeDocument/2006/relationships/tags" Target="../tags/tag729.xml"/><Relationship Id="rId6" Type="http://schemas.openxmlformats.org/officeDocument/2006/relationships/slideMaster" Target="../slideMasters/slideMaster4.xml"/><Relationship Id="rId5" Type="http://schemas.openxmlformats.org/officeDocument/2006/relationships/tags" Target="../tags/tag733.xml"/><Relationship Id="rId4" Type="http://schemas.openxmlformats.org/officeDocument/2006/relationships/tags" Target="../tags/tag732.xml"/></Relationships>
</file>

<file path=ppt/slideLayouts/_rels/slideLayout146.xml.rels><?xml version="1.0" encoding="UTF-8" standalone="yes"?>
<Relationships xmlns="http://schemas.openxmlformats.org/package/2006/relationships"><Relationship Id="rId8" Type="http://schemas.openxmlformats.org/officeDocument/2006/relationships/tags" Target="../tags/tag741.xml"/><Relationship Id="rId3" Type="http://schemas.openxmlformats.org/officeDocument/2006/relationships/tags" Target="../tags/tag736.xml"/><Relationship Id="rId7" Type="http://schemas.openxmlformats.org/officeDocument/2006/relationships/tags" Target="../tags/tag740.xml"/><Relationship Id="rId12" Type="http://schemas.openxmlformats.org/officeDocument/2006/relationships/image" Target="../media/image4.png"/><Relationship Id="rId2" Type="http://schemas.openxmlformats.org/officeDocument/2006/relationships/tags" Target="../tags/tag735.xml"/><Relationship Id="rId1" Type="http://schemas.openxmlformats.org/officeDocument/2006/relationships/tags" Target="../tags/tag734.xml"/><Relationship Id="rId6" Type="http://schemas.openxmlformats.org/officeDocument/2006/relationships/tags" Target="../tags/tag739.xml"/><Relationship Id="rId11" Type="http://schemas.openxmlformats.org/officeDocument/2006/relationships/image" Target="../media/image3.emf"/><Relationship Id="rId5" Type="http://schemas.openxmlformats.org/officeDocument/2006/relationships/tags" Target="../tags/tag738.xml"/><Relationship Id="rId10" Type="http://schemas.openxmlformats.org/officeDocument/2006/relationships/oleObject" Target="../embeddings/oleObject14.bin"/><Relationship Id="rId4" Type="http://schemas.openxmlformats.org/officeDocument/2006/relationships/tags" Target="../tags/tag737.xml"/><Relationship Id="rId9"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8" Type="http://schemas.openxmlformats.org/officeDocument/2006/relationships/tags" Target="../tags/tag749.xml"/><Relationship Id="rId3" Type="http://schemas.openxmlformats.org/officeDocument/2006/relationships/tags" Target="../tags/tag744.xml"/><Relationship Id="rId7" Type="http://schemas.openxmlformats.org/officeDocument/2006/relationships/tags" Target="../tags/tag748.xm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tags" Target="../tags/tag747.xml"/><Relationship Id="rId5" Type="http://schemas.openxmlformats.org/officeDocument/2006/relationships/tags" Target="../tags/tag746.xml"/><Relationship Id="rId10" Type="http://schemas.openxmlformats.org/officeDocument/2006/relationships/image" Target="../media/image4.png"/><Relationship Id="rId4" Type="http://schemas.openxmlformats.org/officeDocument/2006/relationships/tags" Target="../tags/tag745.xml"/><Relationship Id="rId9"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757.xml"/><Relationship Id="rId13" Type="http://schemas.openxmlformats.org/officeDocument/2006/relationships/tags" Target="../tags/tag762.xml"/><Relationship Id="rId3" Type="http://schemas.openxmlformats.org/officeDocument/2006/relationships/tags" Target="../tags/tag752.xml"/><Relationship Id="rId7" Type="http://schemas.openxmlformats.org/officeDocument/2006/relationships/tags" Target="../tags/tag756.xml"/><Relationship Id="rId12" Type="http://schemas.openxmlformats.org/officeDocument/2006/relationships/tags" Target="../tags/tag761.xml"/><Relationship Id="rId2" Type="http://schemas.openxmlformats.org/officeDocument/2006/relationships/tags" Target="../tags/tag751.xml"/><Relationship Id="rId1" Type="http://schemas.openxmlformats.org/officeDocument/2006/relationships/tags" Target="../tags/tag750.xml"/><Relationship Id="rId6" Type="http://schemas.openxmlformats.org/officeDocument/2006/relationships/tags" Target="../tags/tag755.xml"/><Relationship Id="rId11" Type="http://schemas.openxmlformats.org/officeDocument/2006/relationships/tags" Target="../tags/tag760.xml"/><Relationship Id="rId5" Type="http://schemas.openxmlformats.org/officeDocument/2006/relationships/tags" Target="../tags/tag754.xml"/><Relationship Id="rId10" Type="http://schemas.openxmlformats.org/officeDocument/2006/relationships/tags" Target="../tags/tag759.xml"/><Relationship Id="rId4" Type="http://schemas.openxmlformats.org/officeDocument/2006/relationships/tags" Target="../tags/tag753.xml"/><Relationship Id="rId9" Type="http://schemas.openxmlformats.org/officeDocument/2006/relationships/tags" Target="../tags/tag758.xml"/><Relationship Id="rId14"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770.xml"/><Relationship Id="rId13" Type="http://schemas.openxmlformats.org/officeDocument/2006/relationships/tags" Target="../tags/tag775.xml"/><Relationship Id="rId3" Type="http://schemas.openxmlformats.org/officeDocument/2006/relationships/tags" Target="../tags/tag765.xml"/><Relationship Id="rId7" Type="http://schemas.openxmlformats.org/officeDocument/2006/relationships/tags" Target="../tags/tag769.xml"/><Relationship Id="rId12" Type="http://schemas.openxmlformats.org/officeDocument/2006/relationships/tags" Target="../tags/tag774.xml"/><Relationship Id="rId2" Type="http://schemas.openxmlformats.org/officeDocument/2006/relationships/tags" Target="../tags/tag764.xml"/><Relationship Id="rId1" Type="http://schemas.openxmlformats.org/officeDocument/2006/relationships/tags" Target="../tags/tag763.xml"/><Relationship Id="rId6" Type="http://schemas.openxmlformats.org/officeDocument/2006/relationships/tags" Target="../tags/tag768.xml"/><Relationship Id="rId11" Type="http://schemas.openxmlformats.org/officeDocument/2006/relationships/tags" Target="../tags/tag773.xml"/><Relationship Id="rId5" Type="http://schemas.openxmlformats.org/officeDocument/2006/relationships/tags" Target="../tags/tag767.xml"/><Relationship Id="rId15" Type="http://schemas.openxmlformats.org/officeDocument/2006/relationships/slideMaster" Target="../slideMasters/slideMaster4.xml"/><Relationship Id="rId10" Type="http://schemas.openxmlformats.org/officeDocument/2006/relationships/tags" Target="../tags/tag772.xml"/><Relationship Id="rId4" Type="http://schemas.openxmlformats.org/officeDocument/2006/relationships/tags" Target="../tags/tag766.xml"/><Relationship Id="rId9" Type="http://schemas.openxmlformats.org/officeDocument/2006/relationships/tags" Target="../tags/tag771.xml"/><Relationship Id="rId14" Type="http://schemas.openxmlformats.org/officeDocument/2006/relationships/tags" Target="../tags/tag776.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1.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10" Type="http://schemas.openxmlformats.org/officeDocument/2006/relationships/slideMaster" Target="../slideMasters/slideMaster1.xml"/><Relationship Id="rId4" Type="http://schemas.openxmlformats.org/officeDocument/2006/relationships/tags" Target="../tags/tag137.xml"/><Relationship Id="rId9" Type="http://schemas.openxmlformats.org/officeDocument/2006/relationships/tags" Target="../tags/tag142.xml"/></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784.xml"/><Relationship Id="rId3" Type="http://schemas.openxmlformats.org/officeDocument/2006/relationships/tags" Target="../tags/tag779.xml"/><Relationship Id="rId7" Type="http://schemas.openxmlformats.org/officeDocument/2006/relationships/tags" Target="../tags/tag783.xml"/><Relationship Id="rId2" Type="http://schemas.openxmlformats.org/officeDocument/2006/relationships/tags" Target="../tags/tag778.xml"/><Relationship Id="rId1" Type="http://schemas.openxmlformats.org/officeDocument/2006/relationships/tags" Target="../tags/tag777.xml"/><Relationship Id="rId6" Type="http://schemas.openxmlformats.org/officeDocument/2006/relationships/tags" Target="../tags/tag782.xml"/><Relationship Id="rId11" Type="http://schemas.openxmlformats.org/officeDocument/2006/relationships/slideMaster" Target="../slideMasters/slideMaster4.xml"/><Relationship Id="rId5" Type="http://schemas.openxmlformats.org/officeDocument/2006/relationships/tags" Target="../tags/tag781.xml"/><Relationship Id="rId10" Type="http://schemas.openxmlformats.org/officeDocument/2006/relationships/tags" Target="../tags/tag786.xml"/><Relationship Id="rId4" Type="http://schemas.openxmlformats.org/officeDocument/2006/relationships/tags" Target="../tags/tag780.xml"/><Relationship Id="rId9" Type="http://schemas.openxmlformats.org/officeDocument/2006/relationships/tags" Target="../tags/tag785.xml"/></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794.xml"/><Relationship Id="rId3" Type="http://schemas.openxmlformats.org/officeDocument/2006/relationships/tags" Target="../tags/tag789.xml"/><Relationship Id="rId7" Type="http://schemas.openxmlformats.org/officeDocument/2006/relationships/tags" Target="../tags/tag793.xml"/><Relationship Id="rId12" Type="http://schemas.openxmlformats.org/officeDocument/2006/relationships/slideMaster" Target="../slideMasters/slideMaster4.xml"/><Relationship Id="rId2" Type="http://schemas.openxmlformats.org/officeDocument/2006/relationships/tags" Target="../tags/tag788.xml"/><Relationship Id="rId1" Type="http://schemas.openxmlformats.org/officeDocument/2006/relationships/tags" Target="../tags/tag787.xml"/><Relationship Id="rId6" Type="http://schemas.openxmlformats.org/officeDocument/2006/relationships/tags" Target="../tags/tag792.xml"/><Relationship Id="rId11" Type="http://schemas.openxmlformats.org/officeDocument/2006/relationships/tags" Target="../tags/tag797.xml"/><Relationship Id="rId5" Type="http://schemas.openxmlformats.org/officeDocument/2006/relationships/tags" Target="../tags/tag791.xml"/><Relationship Id="rId10" Type="http://schemas.openxmlformats.org/officeDocument/2006/relationships/tags" Target="../tags/tag796.xml"/><Relationship Id="rId4" Type="http://schemas.openxmlformats.org/officeDocument/2006/relationships/tags" Target="../tags/tag790.xml"/><Relationship Id="rId9" Type="http://schemas.openxmlformats.org/officeDocument/2006/relationships/tags" Target="../tags/tag795.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805.xml"/><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slideMaster" Target="../slideMasters/slideMaster4.xml"/><Relationship Id="rId2" Type="http://schemas.openxmlformats.org/officeDocument/2006/relationships/tags" Target="../tags/tag799.xml"/><Relationship Id="rId1" Type="http://schemas.openxmlformats.org/officeDocument/2006/relationships/tags" Target="../tags/tag798.xml"/><Relationship Id="rId6" Type="http://schemas.openxmlformats.org/officeDocument/2006/relationships/tags" Target="../tags/tag803.xml"/><Relationship Id="rId11" Type="http://schemas.openxmlformats.org/officeDocument/2006/relationships/tags" Target="../tags/tag808.xml"/><Relationship Id="rId5" Type="http://schemas.openxmlformats.org/officeDocument/2006/relationships/tags" Target="../tags/tag802.xml"/><Relationship Id="rId10" Type="http://schemas.openxmlformats.org/officeDocument/2006/relationships/tags" Target="../tags/tag807.xml"/><Relationship Id="rId4" Type="http://schemas.openxmlformats.org/officeDocument/2006/relationships/tags" Target="../tags/tag801.xml"/><Relationship Id="rId9" Type="http://schemas.openxmlformats.org/officeDocument/2006/relationships/tags" Target="../tags/tag806.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816.xml"/><Relationship Id="rId13" Type="http://schemas.openxmlformats.org/officeDocument/2006/relationships/slideMaster" Target="../slideMasters/slideMaster4.xml"/><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tags" Target="../tags/tag820.xml"/><Relationship Id="rId2" Type="http://schemas.openxmlformats.org/officeDocument/2006/relationships/tags" Target="../tags/tag810.xml"/><Relationship Id="rId1" Type="http://schemas.openxmlformats.org/officeDocument/2006/relationships/tags" Target="../tags/tag809.xml"/><Relationship Id="rId6" Type="http://schemas.openxmlformats.org/officeDocument/2006/relationships/tags" Target="../tags/tag814.xml"/><Relationship Id="rId11" Type="http://schemas.openxmlformats.org/officeDocument/2006/relationships/tags" Target="../tags/tag819.xml"/><Relationship Id="rId5" Type="http://schemas.openxmlformats.org/officeDocument/2006/relationships/tags" Target="../tags/tag813.xml"/><Relationship Id="rId10" Type="http://schemas.openxmlformats.org/officeDocument/2006/relationships/tags" Target="../tags/tag818.xml"/><Relationship Id="rId4" Type="http://schemas.openxmlformats.org/officeDocument/2006/relationships/tags" Target="../tags/tag812.xml"/><Relationship Id="rId9" Type="http://schemas.openxmlformats.org/officeDocument/2006/relationships/tags" Target="../tags/tag817.xml"/></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828.xml"/><Relationship Id="rId13" Type="http://schemas.openxmlformats.org/officeDocument/2006/relationships/slideMaster" Target="../slideMasters/slideMaster4.xml"/><Relationship Id="rId3" Type="http://schemas.openxmlformats.org/officeDocument/2006/relationships/tags" Target="../tags/tag823.xml"/><Relationship Id="rId7" Type="http://schemas.openxmlformats.org/officeDocument/2006/relationships/tags" Target="../tags/tag827.xml"/><Relationship Id="rId12" Type="http://schemas.openxmlformats.org/officeDocument/2006/relationships/tags" Target="../tags/tag832.xml"/><Relationship Id="rId2" Type="http://schemas.openxmlformats.org/officeDocument/2006/relationships/tags" Target="../tags/tag822.xml"/><Relationship Id="rId1" Type="http://schemas.openxmlformats.org/officeDocument/2006/relationships/tags" Target="../tags/tag821.xml"/><Relationship Id="rId6" Type="http://schemas.openxmlformats.org/officeDocument/2006/relationships/tags" Target="../tags/tag826.xml"/><Relationship Id="rId11" Type="http://schemas.openxmlformats.org/officeDocument/2006/relationships/tags" Target="../tags/tag831.xml"/><Relationship Id="rId5" Type="http://schemas.openxmlformats.org/officeDocument/2006/relationships/tags" Target="../tags/tag825.xml"/><Relationship Id="rId10" Type="http://schemas.openxmlformats.org/officeDocument/2006/relationships/tags" Target="../tags/tag830.xml"/><Relationship Id="rId4" Type="http://schemas.openxmlformats.org/officeDocument/2006/relationships/tags" Target="../tags/tag824.xml"/><Relationship Id="rId9" Type="http://schemas.openxmlformats.org/officeDocument/2006/relationships/tags" Target="../tags/tag829.xml"/></Relationships>
</file>

<file path=ppt/slideLayouts/_rels/slideLayout155.xml.rels><?xml version="1.0" encoding="UTF-8" standalone="yes"?>
<Relationships xmlns="http://schemas.openxmlformats.org/package/2006/relationships"><Relationship Id="rId8" Type="http://schemas.openxmlformats.org/officeDocument/2006/relationships/tags" Target="../tags/tag840.xml"/><Relationship Id="rId13" Type="http://schemas.openxmlformats.org/officeDocument/2006/relationships/slideMaster" Target="../slideMasters/slideMaster4.xml"/><Relationship Id="rId3" Type="http://schemas.openxmlformats.org/officeDocument/2006/relationships/tags" Target="../tags/tag835.xml"/><Relationship Id="rId7" Type="http://schemas.openxmlformats.org/officeDocument/2006/relationships/tags" Target="../tags/tag839.xml"/><Relationship Id="rId12" Type="http://schemas.openxmlformats.org/officeDocument/2006/relationships/tags" Target="../tags/tag844.xml"/><Relationship Id="rId2" Type="http://schemas.openxmlformats.org/officeDocument/2006/relationships/tags" Target="../tags/tag834.xml"/><Relationship Id="rId1" Type="http://schemas.openxmlformats.org/officeDocument/2006/relationships/tags" Target="../tags/tag833.xml"/><Relationship Id="rId6" Type="http://schemas.openxmlformats.org/officeDocument/2006/relationships/tags" Target="../tags/tag838.xml"/><Relationship Id="rId11" Type="http://schemas.openxmlformats.org/officeDocument/2006/relationships/tags" Target="../tags/tag843.xml"/><Relationship Id="rId5" Type="http://schemas.openxmlformats.org/officeDocument/2006/relationships/tags" Target="../tags/tag837.xml"/><Relationship Id="rId10" Type="http://schemas.openxmlformats.org/officeDocument/2006/relationships/tags" Target="../tags/tag842.xml"/><Relationship Id="rId4" Type="http://schemas.openxmlformats.org/officeDocument/2006/relationships/tags" Target="../tags/tag836.xml"/><Relationship Id="rId9" Type="http://schemas.openxmlformats.org/officeDocument/2006/relationships/tags" Target="../tags/tag841.xml"/></Relationships>
</file>

<file path=ppt/slideLayouts/_rels/slideLayout156.xml.rels><?xml version="1.0" encoding="UTF-8" standalone="yes"?>
<Relationships xmlns="http://schemas.openxmlformats.org/package/2006/relationships"><Relationship Id="rId8" Type="http://schemas.openxmlformats.org/officeDocument/2006/relationships/tags" Target="../tags/tag852.xml"/><Relationship Id="rId3" Type="http://schemas.openxmlformats.org/officeDocument/2006/relationships/tags" Target="../tags/tag847.xml"/><Relationship Id="rId7" Type="http://schemas.openxmlformats.org/officeDocument/2006/relationships/tags" Target="../tags/tag851.xml"/><Relationship Id="rId2" Type="http://schemas.openxmlformats.org/officeDocument/2006/relationships/tags" Target="../tags/tag846.xml"/><Relationship Id="rId1" Type="http://schemas.openxmlformats.org/officeDocument/2006/relationships/tags" Target="../tags/tag845.xml"/><Relationship Id="rId6" Type="http://schemas.openxmlformats.org/officeDocument/2006/relationships/tags" Target="../tags/tag850.xml"/><Relationship Id="rId5" Type="http://schemas.openxmlformats.org/officeDocument/2006/relationships/tags" Target="../tags/tag849.xml"/><Relationship Id="rId10" Type="http://schemas.openxmlformats.org/officeDocument/2006/relationships/slideMaster" Target="../slideMasters/slideMaster4.xml"/><Relationship Id="rId4" Type="http://schemas.openxmlformats.org/officeDocument/2006/relationships/tags" Target="../tags/tag848.xml"/><Relationship Id="rId9" Type="http://schemas.openxmlformats.org/officeDocument/2006/relationships/tags" Target="../tags/tag853.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5.xml"/><Relationship Id="rId1" Type="http://schemas.openxmlformats.org/officeDocument/2006/relationships/tags" Target="../tags/tag854.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7.xml"/><Relationship Id="rId1" Type="http://schemas.openxmlformats.org/officeDocument/2006/relationships/tags" Target="../tags/tag856.xml"/></Relationships>
</file>

<file path=ppt/slideLayouts/_rels/slideLayout159.xml.rels><?xml version="1.0" encoding="UTF-8" standalone="yes"?>
<Relationships xmlns="http://schemas.openxmlformats.org/package/2006/relationships"><Relationship Id="rId8" Type="http://schemas.openxmlformats.org/officeDocument/2006/relationships/tags" Target="../tags/tag865.xml"/><Relationship Id="rId3" Type="http://schemas.openxmlformats.org/officeDocument/2006/relationships/tags" Target="../tags/tag860.xml"/><Relationship Id="rId7" Type="http://schemas.openxmlformats.org/officeDocument/2006/relationships/tags" Target="../tags/tag864.xml"/><Relationship Id="rId2" Type="http://schemas.openxmlformats.org/officeDocument/2006/relationships/tags" Target="../tags/tag859.xml"/><Relationship Id="rId1" Type="http://schemas.openxmlformats.org/officeDocument/2006/relationships/tags" Target="../tags/tag858.xml"/><Relationship Id="rId6" Type="http://schemas.openxmlformats.org/officeDocument/2006/relationships/tags" Target="../tags/tag863.xml"/><Relationship Id="rId5" Type="http://schemas.openxmlformats.org/officeDocument/2006/relationships/tags" Target="../tags/tag862.xml"/><Relationship Id="rId10" Type="http://schemas.openxmlformats.org/officeDocument/2006/relationships/slideMaster" Target="../slideMasters/slideMaster4.xml"/><Relationship Id="rId4" Type="http://schemas.openxmlformats.org/officeDocument/2006/relationships/tags" Target="../tags/tag861.xml"/><Relationship Id="rId9" Type="http://schemas.openxmlformats.org/officeDocument/2006/relationships/tags" Target="../tags/tag866.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 Id="rId9"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tags" Target="../tags/tag874.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tags" Target="../tags/tag867.xml"/><Relationship Id="rId6" Type="http://schemas.openxmlformats.org/officeDocument/2006/relationships/tags" Target="../tags/tag872.xml"/><Relationship Id="rId5" Type="http://schemas.openxmlformats.org/officeDocument/2006/relationships/tags" Target="../tags/tag871.xml"/><Relationship Id="rId4" Type="http://schemas.openxmlformats.org/officeDocument/2006/relationships/tags" Target="../tags/tag870.xml"/><Relationship Id="rId9"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882.xml"/><Relationship Id="rId13" Type="http://schemas.openxmlformats.org/officeDocument/2006/relationships/tags" Target="../tags/tag887.xml"/><Relationship Id="rId3" Type="http://schemas.openxmlformats.org/officeDocument/2006/relationships/tags" Target="../tags/tag877.xml"/><Relationship Id="rId7" Type="http://schemas.openxmlformats.org/officeDocument/2006/relationships/tags" Target="../tags/tag881.xml"/><Relationship Id="rId12" Type="http://schemas.openxmlformats.org/officeDocument/2006/relationships/tags" Target="../tags/tag886.xml"/><Relationship Id="rId2" Type="http://schemas.openxmlformats.org/officeDocument/2006/relationships/tags" Target="../tags/tag876.xml"/><Relationship Id="rId1" Type="http://schemas.openxmlformats.org/officeDocument/2006/relationships/tags" Target="../tags/tag875.xml"/><Relationship Id="rId6" Type="http://schemas.openxmlformats.org/officeDocument/2006/relationships/tags" Target="../tags/tag880.xml"/><Relationship Id="rId11" Type="http://schemas.openxmlformats.org/officeDocument/2006/relationships/tags" Target="../tags/tag885.xml"/><Relationship Id="rId5" Type="http://schemas.openxmlformats.org/officeDocument/2006/relationships/tags" Target="../tags/tag879.xml"/><Relationship Id="rId10" Type="http://schemas.openxmlformats.org/officeDocument/2006/relationships/tags" Target="../tags/tag884.xml"/><Relationship Id="rId4" Type="http://schemas.openxmlformats.org/officeDocument/2006/relationships/tags" Target="../tags/tag878.xml"/><Relationship Id="rId9" Type="http://schemas.openxmlformats.org/officeDocument/2006/relationships/tags" Target="../tags/tag883.xml"/><Relationship Id="rId14"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8" Type="http://schemas.openxmlformats.org/officeDocument/2006/relationships/tags" Target="../tags/tag895.xml"/><Relationship Id="rId3" Type="http://schemas.openxmlformats.org/officeDocument/2006/relationships/tags" Target="../tags/tag890.xml"/><Relationship Id="rId7" Type="http://schemas.openxmlformats.org/officeDocument/2006/relationships/tags" Target="../tags/tag894.xml"/><Relationship Id="rId2" Type="http://schemas.openxmlformats.org/officeDocument/2006/relationships/tags" Target="../tags/tag889.xml"/><Relationship Id="rId1" Type="http://schemas.openxmlformats.org/officeDocument/2006/relationships/tags" Target="../tags/tag888.xml"/><Relationship Id="rId6" Type="http://schemas.openxmlformats.org/officeDocument/2006/relationships/tags" Target="../tags/tag893.xml"/><Relationship Id="rId11" Type="http://schemas.openxmlformats.org/officeDocument/2006/relationships/slideMaster" Target="../slideMasters/slideMaster4.xml"/><Relationship Id="rId5" Type="http://schemas.openxmlformats.org/officeDocument/2006/relationships/tags" Target="../tags/tag892.xml"/><Relationship Id="rId10" Type="http://schemas.openxmlformats.org/officeDocument/2006/relationships/tags" Target="../tags/tag897.xml"/><Relationship Id="rId4" Type="http://schemas.openxmlformats.org/officeDocument/2006/relationships/tags" Target="../tags/tag891.xml"/><Relationship Id="rId9" Type="http://schemas.openxmlformats.org/officeDocument/2006/relationships/tags" Target="../tags/tag896.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905.xml"/><Relationship Id="rId3" Type="http://schemas.openxmlformats.org/officeDocument/2006/relationships/tags" Target="../tags/tag900.xml"/><Relationship Id="rId7" Type="http://schemas.openxmlformats.org/officeDocument/2006/relationships/tags" Target="../tags/tag904.xml"/><Relationship Id="rId2" Type="http://schemas.openxmlformats.org/officeDocument/2006/relationships/tags" Target="../tags/tag899.xml"/><Relationship Id="rId1" Type="http://schemas.openxmlformats.org/officeDocument/2006/relationships/tags" Target="../tags/tag898.xml"/><Relationship Id="rId6" Type="http://schemas.openxmlformats.org/officeDocument/2006/relationships/tags" Target="../tags/tag903.xml"/><Relationship Id="rId5" Type="http://schemas.openxmlformats.org/officeDocument/2006/relationships/tags" Target="../tags/tag902.xml"/><Relationship Id="rId10" Type="http://schemas.openxmlformats.org/officeDocument/2006/relationships/slideMaster" Target="../slideMasters/slideMaster4.xml"/><Relationship Id="rId4" Type="http://schemas.openxmlformats.org/officeDocument/2006/relationships/tags" Target="../tags/tag901.xml"/><Relationship Id="rId9" Type="http://schemas.openxmlformats.org/officeDocument/2006/relationships/tags" Target="../tags/tag906.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914.xml"/><Relationship Id="rId3" Type="http://schemas.openxmlformats.org/officeDocument/2006/relationships/tags" Target="../tags/tag909.xml"/><Relationship Id="rId7" Type="http://schemas.openxmlformats.org/officeDocument/2006/relationships/tags" Target="../tags/tag913.xml"/><Relationship Id="rId2" Type="http://schemas.openxmlformats.org/officeDocument/2006/relationships/tags" Target="../tags/tag908.xml"/><Relationship Id="rId1" Type="http://schemas.openxmlformats.org/officeDocument/2006/relationships/tags" Target="../tags/tag907.xml"/><Relationship Id="rId6" Type="http://schemas.openxmlformats.org/officeDocument/2006/relationships/tags" Target="../tags/tag912.xml"/><Relationship Id="rId5" Type="http://schemas.openxmlformats.org/officeDocument/2006/relationships/tags" Target="../tags/tag911.xml"/><Relationship Id="rId10" Type="http://schemas.openxmlformats.org/officeDocument/2006/relationships/slideMaster" Target="../slideMasters/slideMaster4.xml"/><Relationship Id="rId4" Type="http://schemas.openxmlformats.org/officeDocument/2006/relationships/tags" Target="../tags/tag910.xml"/><Relationship Id="rId9" Type="http://schemas.openxmlformats.org/officeDocument/2006/relationships/tags" Target="../tags/tag915.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923.xml"/><Relationship Id="rId3" Type="http://schemas.openxmlformats.org/officeDocument/2006/relationships/tags" Target="../tags/tag918.xml"/><Relationship Id="rId7" Type="http://schemas.openxmlformats.org/officeDocument/2006/relationships/tags" Target="../tags/tag922.xml"/><Relationship Id="rId2" Type="http://schemas.openxmlformats.org/officeDocument/2006/relationships/tags" Target="../tags/tag917.xml"/><Relationship Id="rId1" Type="http://schemas.openxmlformats.org/officeDocument/2006/relationships/tags" Target="../tags/tag916.xml"/><Relationship Id="rId6" Type="http://schemas.openxmlformats.org/officeDocument/2006/relationships/tags" Target="../tags/tag921.xml"/><Relationship Id="rId5" Type="http://schemas.openxmlformats.org/officeDocument/2006/relationships/tags" Target="../tags/tag920.xml"/><Relationship Id="rId10" Type="http://schemas.openxmlformats.org/officeDocument/2006/relationships/slideMaster" Target="../slideMasters/slideMaster4.xml"/><Relationship Id="rId4" Type="http://schemas.openxmlformats.org/officeDocument/2006/relationships/tags" Target="../tags/tag919.xml"/><Relationship Id="rId9" Type="http://schemas.openxmlformats.org/officeDocument/2006/relationships/tags" Target="../tags/tag924.xml"/></Relationships>
</file>

<file path=ppt/slideLayouts/_rels/slideLayout166.xml.rels><?xml version="1.0" encoding="UTF-8" standalone="yes"?>
<Relationships xmlns="http://schemas.openxmlformats.org/package/2006/relationships"><Relationship Id="rId8" Type="http://schemas.openxmlformats.org/officeDocument/2006/relationships/tags" Target="../tags/tag932.xml"/><Relationship Id="rId3" Type="http://schemas.openxmlformats.org/officeDocument/2006/relationships/tags" Target="../tags/tag927.xml"/><Relationship Id="rId7" Type="http://schemas.openxmlformats.org/officeDocument/2006/relationships/tags" Target="../tags/tag931.xml"/><Relationship Id="rId2" Type="http://schemas.openxmlformats.org/officeDocument/2006/relationships/tags" Target="../tags/tag926.xml"/><Relationship Id="rId1" Type="http://schemas.openxmlformats.org/officeDocument/2006/relationships/tags" Target="../tags/tag925.xml"/><Relationship Id="rId6" Type="http://schemas.openxmlformats.org/officeDocument/2006/relationships/tags" Target="../tags/tag930.xml"/><Relationship Id="rId5" Type="http://schemas.openxmlformats.org/officeDocument/2006/relationships/tags" Target="../tags/tag929.xml"/><Relationship Id="rId10" Type="http://schemas.openxmlformats.org/officeDocument/2006/relationships/slideMaster" Target="../slideMasters/slideMaster4.xml"/><Relationship Id="rId4" Type="http://schemas.openxmlformats.org/officeDocument/2006/relationships/tags" Target="../tags/tag928.xml"/><Relationship Id="rId9" Type="http://schemas.openxmlformats.org/officeDocument/2006/relationships/tags" Target="../tags/tag933.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4.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37.xml"/><Relationship Id="rId7" Type="http://schemas.openxmlformats.org/officeDocument/2006/relationships/image" Target="../media/image5.png"/><Relationship Id="rId2" Type="http://schemas.openxmlformats.org/officeDocument/2006/relationships/tags" Target="../tags/tag936.xml"/><Relationship Id="rId1" Type="http://schemas.openxmlformats.org/officeDocument/2006/relationships/tags" Target="../tags/tag935.xml"/><Relationship Id="rId6" Type="http://schemas.openxmlformats.org/officeDocument/2006/relationships/slideMaster" Target="../slideMasters/slideMaster4.xml"/><Relationship Id="rId5" Type="http://schemas.openxmlformats.org/officeDocument/2006/relationships/tags" Target="../tags/tag939.xml"/><Relationship Id="rId4" Type="http://schemas.openxmlformats.org/officeDocument/2006/relationships/tags" Target="../tags/tag938.xml"/></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42.xml"/><Relationship Id="rId7" Type="http://schemas.openxmlformats.org/officeDocument/2006/relationships/image" Target="../media/image5.png"/><Relationship Id="rId2" Type="http://schemas.openxmlformats.org/officeDocument/2006/relationships/tags" Target="../tags/tag941.xml"/><Relationship Id="rId1" Type="http://schemas.openxmlformats.org/officeDocument/2006/relationships/tags" Target="../tags/tag940.xml"/><Relationship Id="rId6" Type="http://schemas.openxmlformats.org/officeDocument/2006/relationships/slideMaster" Target="../slideMasters/slideMaster4.xml"/><Relationship Id="rId5" Type="http://schemas.openxmlformats.org/officeDocument/2006/relationships/tags" Target="../tags/tag944.xml"/><Relationship Id="rId4" Type="http://schemas.openxmlformats.org/officeDocument/2006/relationships/tags" Target="../tags/tag943.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tags" Target="../tags/tag163.xml"/><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tags" Target="../tags/tag162.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tags" Target="../tags/tag161.xml"/><Relationship Id="rId5" Type="http://schemas.openxmlformats.org/officeDocument/2006/relationships/tags" Target="../tags/tag155.xml"/><Relationship Id="rId10" Type="http://schemas.openxmlformats.org/officeDocument/2006/relationships/tags" Target="../tags/tag160.xml"/><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947.xml"/><Relationship Id="rId7" Type="http://schemas.openxmlformats.org/officeDocument/2006/relationships/image" Target="../media/image6.png"/><Relationship Id="rId2" Type="http://schemas.openxmlformats.org/officeDocument/2006/relationships/tags" Target="../tags/tag946.xml"/><Relationship Id="rId1" Type="http://schemas.openxmlformats.org/officeDocument/2006/relationships/tags" Target="../tags/tag945.xml"/><Relationship Id="rId6" Type="http://schemas.openxmlformats.org/officeDocument/2006/relationships/slideMaster" Target="../slideMasters/slideMaster4.xml"/><Relationship Id="rId5" Type="http://schemas.openxmlformats.org/officeDocument/2006/relationships/tags" Target="../tags/tag949.xml"/><Relationship Id="rId4" Type="http://schemas.openxmlformats.org/officeDocument/2006/relationships/tags" Target="../tags/tag948.xml"/></Relationships>
</file>

<file path=ppt/slideLayouts/_rels/slideLayout17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952.xml"/><Relationship Id="rId7" Type="http://schemas.openxmlformats.org/officeDocument/2006/relationships/tags" Target="../tags/tag956.xml"/><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tags" Target="../tags/tag955.xml"/><Relationship Id="rId5" Type="http://schemas.openxmlformats.org/officeDocument/2006/relationships/tags" Target="../tags/tag954.xml"/><Relationship Id="rId4" Type="http://schemas.openxmlformats.org/officeDocument/2006/relationships/tags" Target="../tags/tag953.xml"/><Relationship Id="rId9" Type="http://schemas.openxmlformats.org/officeDocument/2006/relationships/image" Target="../media/image6.png"/></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959.xml"/><Relationship Id="rId7" Type="http://schemas.openxmlformats.org/officeDocument/2006/relationships/tags" Target="../tags/tag963.xml"/><Relationship Id="rId2" Type="http://schemas.openxmlformats.org/officeDocument/2006/relationships/tags" Target="../tags/tag958.xml"/><Relationship Id="rId1" Type="http://schemas.openxmlformats.org/officeDocument/2006/relationships/tags" Target="../tags/tag957.xml"/><Relationship Id="rId6" Type="http://schemas.openxmlformats.org/officeDocument/2006/relationships/tags" Target="../tags/tag962.xml"/><Relationship Id="rId5" Type="http://schemas.openxmlformats.org/officeDocument/2006/relationships/tags" Target="../tags/tag961.xml"/><Relationship Id="rId4" Type="http://schemas.openxmlformats.org/officeDocument/2006/relationships/tags" Target="../tags/tag960.xml"/><Relationship Id="rId9" Type="http://schemas.openxmlformats.org/officeDocument/2006/relationships/image" Target="../media/image6.png"/></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964.xml"/><Relationship Id="rId4" Type="http://schemas.openxmlformats.org/officeDocument/2006/relationships/image" Target="../media/image8.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965.xml"/><Relationship Id="rId4" Type="http://schemas.openxmlformats.org/officeDocument/2006/relationships/image" Target="../media/image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966.xml"/><Relationship Id="rId4" Type="http://schemas.openxmlformats.org/officeDocument/2006/relationships/image" Target="../media/image8.emf"/></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71.xml"/><Relationship Id="rId3" Type="http://schemas.openxmlformats.org/officeDocument/2006/relationships/tags" Target="../tags/tag166.xml"/><Relationship Id="rId7" Type="http://schemas.openxmlformats.org/officeDocument/2006/relationships/tags" Target="../tags/tag170.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slideMaster" Target="../slideMasters/slideMaster1.xml"/><Relationship Id="rId5" Type="http://schemas.openxmlformats.org/officeDocument/2006/relationships/tags" Target="../tags/tag168.xml"/><Relationship Id="rId10" Type="http://schemas.openxmlformats.org/officeDocument/2006/relationships/tags" Target="../tags/tag173.xml"/><Relationship Id="rId4" Type="http://schemas.openxmlformats.org/officeDocument/2006/relationships/tags" Target="../tags/tag167.xml"/><Relationship Id="rId9" Type="http://schemas.openxmlformats.org/officeDocument/2006/relationships/tags" Target="../tags/tag17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81.xml"/><Relationship Id="rId3" Type="http://schemas.openxmlformats.org/officeDocument/2006/relationships/tags" Target="../tags/tag176.xml"/><Relationship Id="rId7" Type="http://schemas.openxmlformats.org/officeDocument/2006/relationships/tags" Target="../tags/tag180.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5" Type="http://schemas.openxmlformats.org/officeDocument/2006/relationships/tags" Target="../tags/tag178.xml"/><Relationship Id="rId10" Type="http://schemas.openxmlformats.org/officeDocument/2006/relationships/slideMaster" Target="../slideMasters/slideMaster1.xml"/><Relationship Id="rId4" Type="http://schemas.openxmlformats.org/officeDocument/2006/relationships/tags" Target="../tags/tag177.xml"/><Relationship Id="rId9" Type="http://schemas.openxmlformats.org/officeDocument/2006/relationships/tags" Target="../tags/tag18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3.emf"/><Relationship Id="rId5" Type="http://schemas.openxmlformats.org/officeDocument/2006/relationships/tags" Target="../tags/tag14.xml"/><Relationship Id="rId10" Type="http://schemas.openxmlformats.org/officeDocument/2006/relationships/oleObject" Target="../embeddings/oleObject2.bin"/><Relationship Id="rId4" Type="http://schemas.openxmlformats.org/officeDocument/2006/relationships/tags" Target="../tags/tag13.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5" Type="http://schemas.openxmlformats.org/officeDocument/2006/relationships/tags" Target="../tags/tag187.xml"/><Relationship Id="rId10" Type="http://schemas.openxmlformats.org/officeDocument/2006/relationships/slideMaster" Target="../slideMasters/slideMaster1.xml"/><Relationship Id="rId4" Type="http://schemas.openxmlformats.org/officeDocument/2006/relationships/tags" Target="../tags/tag186.xml"/><Relationship Id="rId9" Type="http://schemas.openxmlformats.org/officeDocument/2006/relationships/tags" Target="../tags/tag19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99.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slideMaster" Target="../slideMasters/slideMaster1.xml"/><Relationship Id="rId4" Type="http://schemas.openxmlformats.org/officeDocument/2006/relationships/tags" Target="../tags/tag195.xml"/><Relationship Id="rId9" Type="http://schemas.openxmlformats.org/officeDocument/2006/relationships/tags" Target="../tags/tag200.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08.xml"/><Relationship Id="rId3" Type="http://schemas.openxmlformats.org/officeDocument/2006/relationships/tags" Target="../tags/tag203.xml"/><Relationship Id="rId7" Type="http://schemas.openxmlformats.org/officeDocument/2006/relationships/tags" Target="../tags/tag207.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5" Type="http://schemas.openxmlformats.org/officeDocument/2006/relationships/tags" Target="../tags/tag205.xml"/><Relationship Id="rId10" Type="http://schemas.openxmlformats.org/officeDocument/2006/relationships/slideMaster" Target="../slideMasters/slideMaster1.xml"/><Relationship Id="rId4" Type="http://schemas.openxmlformats.org/officeDocument/2006/relationships/tags" Target="../tags/tag204.xml"/><Relationship Id="rId9" Type="http://schemas.openxmlformats.org/officeDocument/2006/relationships/tags" Target="../tags/tag209.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0.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13.xml"/><Relationship Id="rId7" Type="http://schemas.openxmlformats.org/officeDocument/2006/relationships/image" Target="../media/image5.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slideMaster" Target="../slideMasters/slideMaster1.xml"/><Relationship Id="rId5" Type="http://schemas.openxmlformats.org/officeDocument/2006/relationships/tags" Target="../tags/tag215.xml"/><Relationship Id="rId4" Type="http://schemas.openxmlformats.org/officeDocument/2006/relationships/tags" Target="../tags/tag21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18.xml"/><Relationship Id="rId7" Type="http://schemas.openxmlformats.org/officeDocument/2006/relationships/image" Target="../media/image5.pn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slideMaster" Target="../slideMasters/slideMaster1.xml"/><Relationship Id="rId5" Type="http://schemas.openxmlformats.org/officeDocument/2006/relationships/tags" Target="../tags/tag220.xml"/><Relationship Id="rId4" Type="http://schemas.openxmlformats.org/officeDocument/2006/relationships/tags" Target="../tags/tag219.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6.pn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slideMaster" Target="../slideMasters/slideMaster1.xml"/><Relationship Id="rId5" Type="http://schemas.openxmlformats.org/officeDocument/2006/relationships/tags" Target="../tags/tag225.xml"/><Relationship Id="rId4" Type="http://schemas.openxmlformats.org/officeDocument/2006/relationships/tags" Target="../tags/tag22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tags" Target="../tags/tag231.xml"/><Relationship Id="rId5" Type="http://schemas.openxmlformats.org/officeDocument/2006/relationships/tags" Target="../tags/tag230.xml"/><Relationship Id="rId4" Type="http://schemas.openxmlformats.org/officeDocument/2006/relationships/tags" Target="../tags/tag229.xml"/><Relationship Id="rId9" Type="http://schemas.openxmlformats.org/officeDocument/2006/relationships/image" Target="../media/image6.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35.xml"/><Relationship Id="rId7" Type="http://schemas.openxmlformats.org/officeDocument/2006/relationships/tags" Target="../tags/tag239.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 Id="rId9" Type="http://schemas.openxmlformats.org/officeDocument/2006/relationships/image" Target="../media/image6.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png"/><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tags" Target="../tags/tag37.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tags" Target="../tags/tag50.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5" Type="http://schemas.openxmlformats.org/officeDocument/2006/relationships/slideMaster" Target="../slideMasters/slideMaster1.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slideMaster" Target="../slideMasters/slideMaster1.xml"/><Relationship Id="rId5" Type="http://schemas.openxmlformats.org/officeDocument/2006/relationships/tags" Target="../tags/tag57.xml"/><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tags" Target="../tags/tag240.xml"/><Relationship Id="rId5" Type="http://schemas.openxmlformats.org/officeDocument/2006/relationships/slideMaster" Target="../slideMasters/slideMaster1.xml"/><Relationship Id="rId4" Type="http://schemas.openxmlformats.org/officeDocument/2006/relationships/tags" Target="../tags/tag24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49.xml"/><Relationship Id="rId7" Type="http://schemas.openxmlformats.org/officeDocument/2006/relationships/image" Target="../media/image2.png"/><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slideMaster" Target="../slideMasters/slideMaster2.xml"/><Relationship Id="rId5" Type="http://schemas.openxmlformats.org/officeDocument/2006/relationships/tags" Target="../tags/tag251.xml"/><Relationship Id="rId4" Type="http://schemas.openxmlformats.org/officeDocument/2006/relationships/tags" Target="../tags/tag250.xml"/></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259.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image" Target="../media/image4.png"/><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tags" Target="../tags/tag257.xml"/><Relationship Id="rId11" Type="http://schemas.openxmlformats.org/officeDocument/2006/relationships/image" Target="../media/image3.emf"/><Relationship Id="rId5" Type="http://schemas.openxmlformats.org/officeDocument/2006/relationships/tags" Target="../tags/tag256.xml"/><Relationship Id="rId10" Type="http://schemas.openxmlformats.org/officeDocument/2006/relationships/oleObject" Target="../embeddings/oleObject4.bin"/><Relationship Id="rId4" Type="http://schemas.openxmlformats.org/officeDocument/2006/relationships/tags" Target="../tags/tag255.xml"/><Relationship Id="rId9"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267.xml"/><Relationship Id="rId3" Type="http://schemas.openxmlformats.org/officeDocument/2006/relationships/tags" Target="../tags/tag262.xml"/><Relationship Id="rId7" Type="http://schemas.openxmlformats.org/officeDocument/2006/relationships/tags" Target="../tags/tag266.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5" Type="http://schemas.openxmlformats.org/officeDocument/2006/relationships/tags" Target="../tags/tag264.xml"/><Relationship Id="rId10" Type="http://schemas.openxmlformats.org/officeDocument/2006/relationships/image" Target="../media/image4.png"/><Relationship Id="rId4" Type="http://schemas.openxmlformats.org/officeDocument/2006/relationships/tags" Target="../tags/tag263.xml"/><Relationship Id="rId9"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275.xml"/><Relationship Id="rId13" Type="http://schemas.openxmlformats.org/officeDocument/2006/relationships/tags" Target="../tags/tag280.xml"/><Relationship Id="rId3" Type="http://schemas.openxmlformats.org/officeDocument/2006/relationships/tags" Target="../tags/tag270.xml"/><Relationship Id="rId7" Type="http://schemas.openxmlformats.org/officeDocument/2006/relationships/tags" Target="../tags/tag274.xml"/><Relationship Id="rId12" Type="http://schemas.openxmlformats.org/officeDocument/2006/relationships/tags" Target="../tags/tag279.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11" Type="http://schemas.openxmlformats.org/officeDocument/2006/relationships/tags" Target="../tags/tag278.xml"/><Relationship Id="rId5" Type="http://schemas.openxmlformats.org/officeDocument/2006/relationships/tags" Target="../tags/tag272.xml"/><Relationship Id="rId10" Type="http://schemas.openxmlformats.org/officeDocument/2006/relationships/tags" Target="../tags/tag277.xml"/><Relationship Id="rId4" Type="http://schemas.openxmlformats.org/officeDocument/2006/relationships/tags" Target="../tags/tag271.xml"/><Relationship Id="rId9" Type="http://schemas.openxmlformats.org/officeDocument/2006/relationships/tags" Target="../tags/tag276.xml"/><Relationship Id="rId1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tags" Target="../tags/tag293.xm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tags" Target="../tags/tag292.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tags" Target="../tags/tag291.xml"/><Relationship Id="rId5" Type="http://schemas.openxmlformats.org/officeDocument/2006/relationships/tags" Target="../tags/tag285.xml"/><Relationship Id="rId15" Type="http://schemas.openxmlformats.org/officeDocument/2006/relationships/slideMaster" Target="../slideMasters/slideMaster2.xml"/><Relationship Id="rId10" Type="http://schemas.openxmlformats.org/officeDocument/2006/relationships/tags" Target="../tags/tag290.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tags" Target="../tags/tag294.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302.xml"/><Relationship Id="rId3" Type="http://schemas.openxmlformats.org/officeDocument/2006/relationships/tags" Target="../tags/tag297.xml"/><Relationship Id="rId7" Type="http://schemas.openxmlformats.org/officeDocument/2006/relationships/tags" Target="../tags/tag301.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tags" Target="../tags/tag300.xml"/><Relationship Id="rId11" Type="http://schemas.openxmlformats.org/officeDocument/2006/relationships/slideMaster" Target="../slideMasters/slideMaster2.xml"/><Relationship Id="rId5" Type="http://schemas.openxmlformats.org/officeDocument/2006/relationships/tags" Target="../tags/tag299.xml"/><Relationship Id="rId10" Type="http://schemas.openxmlformats.org/officeDocument/2006/relationships/tags" Target="../tags/tag304.xml"/><Relationship Id="rId4" Type="http://schemas.openxmlformats.org/officeDocument/2006/relationships/tags" Target="../tags/tag298.xml"/><Relationship Id="rId9" Type="http://schemas.openxmlformats.org/officeDocument/2006/relationships/tags" Target="../tags/tag303.xml"/></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312.xml"/><Relationship Id="rId3" Type="http://schemas.openxmlformats.org/officeDocument/2006/relationships/tags" Target="../tags/tag307.xml"/><Relationship Id="rId7" Type="http://schemas.openxmlformats.org/officeDocument/2006/relationships/tags" Target="../tags/tag311.xml"/><Relationship Id="rId12" Type="http://schemas.openxmlformats.org/officeDocument/2006/relationships/slideMaster" Target="../slideMasters/slideMaster2.xml"/><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11" Type="http://schemas.openxmlformats.org/officeDocument/2006/relationships/tags" Target="../tags/tag315.xml"/><Relationship Id="rId5" Type="http://schemas.openxmlformats.org/officeDocument/2006/relationships/tags" Target="../tags/tag309.xml"/><Relationship Id="rId10" Type="http://schemas.openxmlformats.org/officeDocument/2006/relationships/tags" Target="../tags/tag314.xml"/><Relationship Id="rId4" Type="http://schemas.openxmlformats.org/officeDocument/2006/relationships/tags" Target="../tags/tag308.xml"/><Relationship Id="rId9" Type="http://schemas.openxmlformats.org/officeDocument/2006/relationships/tags" Target="../tags/tag313.xml"/></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323.xml"/><Relationship Id="rId3" Type="http://schemas.openxmlformats.org/officeDocument/2006/relationships/tags" Target="../tags/tag318.xml"/><Relationship Id="rId7" Type="http://schemas.openxmlformats.org/officeDocument/2006/relationships/tags" Target="../tags/tag322.xml"/><Relationship Id="rId12" Type="http://schemas.openxmlformats.org/officeDocument/2006/relationships/slideMaster" Target="../slideMasters/slideMaster2.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11" Type="http://schemas.openxmlformats.org/officeDocument/2006/relationships/tags" Target="../tags/tag326.xml"/><Relationship Id="rId5" Type="http://schemas.openxmlformats.org/officeDocument/2006/relationships/tags" Target="../tags/tag320.xml"/><Relationship Id="rId10" Type="http://schemas.openxmlformats.org/officeDocument/2006/relationships/tags" Target="../tags/tag325.xml"/><Relationship Id="rId4" Type="http://schemas.openxmlformats.org/officeDocument/2006/relationships/tags" Target="../tags/tag319.xml"/><Relationship Id="rId9" Type="http://schemas.openxmlformats.org/officeDocument/2006/relationships/tags" Target="../tags/tag324.xml"/></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slideMaster" Target="../slideMasters/slideMaster2.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tags" Target="../tags/tag338.xml"/><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tags" Target="../tags/tag337.xml"/><Relationship Id="rId5" Type="http://schemas.openxmlformats.org/officeDocument/2006/relationships/tags" Target="../tags/tag331.xml"/><Relationship Id="rId10" Type="http://schemas.openxmlformats.org/officeDocument/2006/relationships/tags" Target="../tags/tag336.xml"/><Relationship Id="rId4" Type="http://schemas.openxmlformats.org/officeDocument/2006/relationships/tags" Target="../tags/tag330.xml"/><Relationship Id="rId9" Type="http://schemas.openxmlformats.org/officeDocument/2006/relationships/tags" Target="../tags/tag335.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346.xml"/><Relationship Id="rId13" Type="http://schemas.openxmlformats.org/officeDocument/2006/relationships/slideMaster" Target="../slideMasters/slideMaster2.xml"/><Relationship Id="rId3" Type="http://schemas.openxmlformats.org/officeDocument/2006/relationships/tags" Target="../tags/tag341.xml"/><Relationship Id="rId7" Type="http://schemas.openxmlformats.org/officeDocument/2006/relationships/tags" Target="../tags/tag345.xml"/><Relationship Id="rId12" Type="http://schemas.openxmlformats.org/officeDocument/2006/relationships/tags" Target="../tags/tag350.xml"/><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tags" Target="../tags/tag344.xml"/><Relationship Id="rId11" Type="http://schemas.openxmlformats.org/officeDocument/2006/relationships/tags" Target="../tags/tag349.xml"/><Relationship Id="rId5" Type="http://schemas.openxmlformats.org/officeDocument/2006/relationships/tags" Target="../tags/tag343.xml"/><Relationship Id="rId10" Type="http://schemas.openxmlformats.org/officeDocument/2006/relationships/tags" Target="../tags/tag348.xml"/><Relationship Id="rId4" Type="http://schemas.openxmlformats.org/officeDocument/2006/relationships/tags" Target="../tags/tag342.xml"/><Relationship Id="rId9" Type="http://schemas.openxmlformats.org/officeDocument/2006/relationships/tags" Target="../tags/tag347.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358.xml"/><Relationship Id="rId13" Type="http://schemas.openxmlformats.org/officeDocument/2006/relationships/slideMaster" Target="../slideMasters/slideMaster2.xml"/><Relationship Id="rId3" Type="http://schemas.openxmlformats.org/officeDocument/2006/relationships/tags" Target="../tags/tag353.xml"/><Relationship Id="rId7" Type="http://schemas.openxmlformats.org/officeDocument/2006/relationships/tags" Target="../tags/tag357.xml"/><Relationship Id="rId12" Type="http://schemas.openxmlformats.org/officeDocument/2006/relationships/tags" Target="../tags/tag362.xml"/><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tags" Target="../tags/tag356.xml"/><Relationship Id="rId11" Type="http://schemas.openxmlformats.org/officeDocument/2006/relationships/tags" Target="../tags/tag361.xml"/><Relationship Id="rId5" Type="http://schemas.openxmlformats.org/officeDocument/2006/relationships/tags" Target="../tags/tag355.xml"/><Relationship Id="rId10" Type="http://schemas.openxmlformats.org/officeDocument/2006/relationships/tags" Target="../tags/tag360.xml"/><Relationship Id="rId4" Type="http://schemas.openxmlformats.org/officeDocument/2006/relationships/tags" Target="../tags/tag354.xml"/><Relationship Id="rId9" Type="http://schemas.openxmlformats.org/officeDocument/2006/relationships/tags" Target="../tags/tag359.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370.xml"/><Relationship Id="rId3" Type="http://schemas.openxmlformats.org/officeDocument/2006/relationships/tags" Target="../tags/tag365.xml"/><Relationship Id="rId7" Type="http://schemas.openxmlformats.org/officeDocument/2006/relationships/tags" Target="../tags/tag369.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5" Type="http://schemas.openxmlformats.org/officeDocument/2006/relationships/tags" Target="../tags/tag367.xml"/><Relationship Id="rId10" Type="http://schemas.openxmlformats.org/officeDocument/2006/relationships/slideMaster" Target="../slideMasters/slideMaster2.xml"/><Relationship Id="rId4" Type="http://schemas.openxmlformats.org/officeDocument/2006/relationships/tags" Target="../tags/tag366.xml"/><Relationship Id="rId9" Type="http://schemas.openxmlformats.org/officeDocument/2006/relationships/tags" Target="../tags/tag37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3.xml"/><Relationship Id="rId1" Type="http://schemas.openxmlformats.org/officeDocument/2006/relationships/tags" Target="../tags/tag37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5.xml"/><Relationship Id="rId1" Type="http://schemas.openxmlformats.org/officeDocument/2006/relationships/tags" Target="../tags/tag37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slideMaster" Target="../slideMasters/slideMaster1.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383.xml"/><Relationship Id="rId3" Type="http://schemas.openxmlformats.org/officeDocument/2006/relationships/tags" Target="../tags/tag378.xml"/><Relationship Id="rId7" Type="http://schemas.openxmlformats.org/officeDocument/2006/relationships/tags" Target="../tags/tag382.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tags" Target="../tags/tag381.xml"/><Relationship Id="rId5" Type="http://schemas.openxmlformats.org/officeDocument/2006/relationships/tags" Target="../tags/tag380.xml"/><Relationship Id="rId10" Type="http://schemas.openxmlformats.org/officeDocument/2006/relationships/slideMaster" Target="../slideMasters/slideMaster2.xml"/><Relationship Id="rId4" Type="http://schemas.openxmlformats.org/officeDocument/2006/relationships/tags" Target="../tags/tag379.xml"/><Relationship Id="rId9" Type="http://schemas.openxmlformats.org/officeDocument/2006/relationships/tags" Target="../tags/tag384.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392.xml"/><Relationship Id="rId3" Type="http://schemas.openxmlformats.org/officeDocument/2006/relationships/tags" Target="../tags/tag387.xml"/><Relationship Id="rId7" Type="http://schemas.openxmlformats.org/officeDocument/2006/relationships/tags" Target="../tags/tag391.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tags" Target="../tags/tag390.xml"/><Relationship Id="rId5" Type="http://schemas.openxmlformats.org/officeDocument/2006/relationships/tags" Target="../tags/tag389.xml"/><Relationship Id="rId4" Type="http://schemas.openxmlformats.org/officeDocument/2006/relationships/tags" Target="../tags/tag388.xml"/><Relationship Id="rId9"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400.xml"/><Relationship Id="rId13" Type="http://schemas.openxmlformats.org/officeDocument/2006/relationships/tags" Target="../tags/tag405.xml"/><Relationship Id="rId3" Type="http://schemas.openxmlformats.org/officeDocument/2006/relationships/tags" Target="../tags/tag395.xml"/><Relationship Id="rId7" Type="http://schemas.openxmlformats.org/officeDocument/2006/relationships/tags" Target="../tags/tag399.xml"/><Relationship Id="rId12" Type="http://schemas.openxmlformats.org/officeDocument/2006/relationships/tags" Target="../tags/tag404.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tags" Target="../tags/tag398.xml"/><Relationship Id="rId11" Type="http://schemas.openxmlformats.org/officeDocument/2006/relationships/tags" Target="../tags/tag403.xml"/><Relationship Id="rId5" Type="http://schemas.openxmlformats.org/officeDocument/2006/relationships/tags" Target="../tags/tag397.xml"/><Relationship Id="rId10" Type="http://schemas.openxmlformats.org/officeDocument/2006/relationships/tags" Target="../tags/tag402.xml"/><Relationship Id="rId4" Type="http://schemas.openxmlformats.org/officeDocument/2006/relationships/tags" Target="../tags/tag396.xml"/><Relationship Id="rId9" Type="http://schemas.openxmlformats.org/officeDocument/2006/relationships/tags" Target="../tags/tag401.xml"/><Relationship Id="rId1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413.xml"/><Relationship Id="rId3" Type="http://schemas.openxmlformats.org/officeDocument/2006/relationships/tags" Target="../tags/tag408.xml"/><Relationship Id="rId7" Type="http://schemas.openxmlformats.org/officeDocument/2006/relationships/tags" Target="../tags/tag412.xml"/><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tags" Target="../tags/tag411.xml"/><Relationship Id="rId11" Type="http://schemas.openxmlformats.org/officeDocument/2006/relationships/slideMaster" Target="../slideMasters/slideMaster2.xml"/><Relationship Id="rId5" Type="http://schemas.openxmlformats.org/officeDocument/2006/relationships/tags" Target="../tags/tag410.xml"/><Relationship Id="rId10" Type="http://schemas.openxmlformats.org/officeDocument/2006/relationships/tags" Target="../tags/tag415.xml"/><Relationship Id="rId4" Type="http://schemas.openxmlformats.org/officeDocument/2006/relationships/tags" Target="../tags/tag409.xml"/><Relationship Id="rId9" Type="http://schemas.openxmlformats.org/officeDocument/2006/relationships/tags" Target="../tags/tag414.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423.xml"/><Relationship Id="rId3" Type="http://schemas.openxmlformats.org/officeDocument/2006/relationships/tags" Target="../tags/tag418.xml"/><Relationship Id="rId7" Type="http://schemas.openxmlformats.org/officeDocument/2006/relationships/tags" Target="../tags/tag422.xml"/><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tags" Target="../tags/tag421.xml"/><Relationship Id="rId5" Type="http://schemas.openxmlformats.org/officeDocument/2006/relationships/tags" Target="../tags/tag420.xml"/><Relationship Id="rId10" Type="http://schemas.openxmlformats.org/officeDocument/2006/relationships/slideMaster" Target="../slideMasters/slideMaster2.xml"/><Relationship Id="rId4" Type="http://schemas.openxmlformats.org/officeDocument/2006/relationships/tags" Target="../tags/tag419.xml"/><Relationship Id="rId9" Type="http://schemas.openxmlformats.org/officeDocument/2006/relationships/tags" Target="../tags/tag424.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432.xml"/><Relationship Id="rId3" Type="http://schemas.openxmlformats.org/officeDocument/2006/relationships/tags" Target="../tags/tag427.xml"/><Relationship Id="rId7" Type="http://schemas.openxmlformats.org/officeDocument/2006/relationships/tags" Target="../tags/tag431.xml"/><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tags" Target="../tags/tag430.xml"/><Relationship Id="rId5" Type="http://schemas.openxmlformats.org/officeDocument/2006/relationships/tags" Target="../tags/tag429.xml"/><Relationship Id="rId10" Type="http://schemas.openxmlformats.org/officeDocument/2006/relationships/slideMaster" Target="../slideMasters/slideMaster2.xml"/><Relationship Id="rId4" Type="http://schemas.openxmlformats.org/officeDocument/2006/relationships/tags" Target="../tags/tag428.xml"/><Relationship Id="rId9" Type="http://schemas.openxmlformats.org/officeDocument/2006/relationships/tags" Target="../tags/tag433.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441.xml"/><Relationship Id="rId3" Type="http://schemas.openxmlformats.org/officeDocument/2006/relationships/tags" Target="../tags/tag436.xml"/><Relationship Id="rId7" Type="http://schemas.openxmlformats.org/officeDocument/2006/relationships/tags" Target="../tags/tag440.xml"/><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tags" Target="../tags/tag439.xml"/><Relationship Id="rId5" Type="http://schemas.openxmlformats.org/officeDocument/2006/relationships/tags" Target="../tags/tag438.xml"/><Relationship Id="rId10" Type="http://schemas.openxmlformats.org/officeDocument/2006/relationships/slideMaster" Target="../slideMasters/slideMaster2.xml"/><Relationship Id="rId4" Type="http://schemas.openxmlformats.org/officeDocument/2006/relationships/tags" Target="../tags/tag437.xml"/><Relationship Id="rId9" Type="http://schemas.openxmlformats.org/officeDocument/2006/relationships/tags" Target="../tags/tag442.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450.xml"/><Relationship Id="rId3" Type="http://schemas.openxmlformats.org/officeDocument/2006/relationships/tags" Target="../tags/tag445.xml"/><Relationship Id="rId7" Type="http://schemas.openxmlformats.org/officeDocument/2006/relationships/tags" Target="../tags/tag449.xml"/><Relationship Id="rId2" Type="http://schemas.openxmlformats.org/officeDocument/2006/relationships/tags" Target="../tags/tag444.xml"/><Relationship Id="rId1" Type="http://schemas.openxmlformats.org/officeDocument/2006/relationships/tags" Target="../tags/tag443.xml"/><Relationship Id="rId6" Type="http://schemas.openxmlformats.org/officeDocument/2006/relationships/tags" Target="../tags/tag448.xml"/><Relationship Id="rId5" Type="http://schemas.openxmlformats.org/officeDocument/2006/relationships/tags" Target="../tags/tag447.xml"/><Relationship Id="rId10" Type="http://schemas.openxmlformats.org/officeDocument/2006/relationships/slideMaster" Target="../slideMasters/slideMaster2.xml"/><Relationship Id="rId4" Type="http://schemas.openxmlformats.org/officeDocument/2006/relationships/tags" Target="../tags/tag446.xml"/><Relationship Id="rId9" Type="http://schemas.openxmlformats.org/officeDocument/2006/relationships/tags" Target="../tags/tag451.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2.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55.xml"/><Relationship Id="rId7" Type="http://schemas.openxmlformats.org/officeDocument/2006/relationships/image" Target="../media/image5.png"/><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slideMaster" Target="../slideMasters/slideMaster2.xml"/><Relationship Id="rId5" Type="http://schemas.openxmlformats.org/officeDocument/2006/relationships/tags" Target="../tags/tag457.xml"/><Relationship Id="rId4" Type="http://schemas.openxmlformats.org/officeDocument/2006/relationships/tags" Target="../tags/tag45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B0421D-0F2C-4D5C-8C6A-4F33BBA87B51}"/>
              </a:ext>
            </a:extLst>
          </p:cNvPr>
          <p:cNvGrpSpPr/>
          <p:nvPr/>
        </p:nvGrpSpPr>
        <p:grpSpPr>
          <a:xfrm>
            <a:off x="1" y="1192"/>
            <a:ext cx="12191999" cy="4534816"/>
            <a:chOff x="0" y="-1850"/>
            <a:chExt cx="10058399" cy="5139458"/>
          </a:xfrm>
        </p:grpSpPr>
        <p:sp>
          <p:nvSpPr>
            <p:cNvPr id="31" name="Rectangle 30">
              <a:extLst>
                <a:ext uri="{FF2B5EF4-FFF2-40B4-BE49-F238E27FC236}">
                  <a16:creationId xmlns:a16="http://schemas.microsoft.com/office/drawing/2014/main" id="{0AC2468B-7B7C-4C8C-B055-6EEB0FDFB458}"/>
                </a:ext>
              </a:extLst>
            </p:cNvPr>
            <p:cNvSpPr/>
            <p:nvPr/>
          </p:nvSpPr>
          <p:spPr bwMode="hidden">
            <a:xfrm>
              <a:off x="0" y="-1850"/>
              <a:ext cx="6738778" cy="3854593"/>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5" name="Rectangle 34">
              <a:extLst>
                <a:ext uri="{FF2B5EF4-FFF2-40B4-BE49-F238E27FC236}">
                  <a16:creationId xmlns:a16="http://schemas.microsoft.com/office/drawing/2014/main" id="{FBBA73F9-E23B-456D-80BC-9D102C6807BF}"/>
                </a:ext>
              </a:extLst>
            </p:cNvPr>
            <p:cNvSpPr/>
            <p:nvPr/>
          </p:nvSpPr>
          <p:spPr bwMode="hidden">
            <a:xfrm>
              <a:off x="0" y="3852743"/>
              <a:ext cx="6738778" cy="1284865"/>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7" name="Rectangle 36">
              <a:extLst>
                <a:ext uri="{FF2B5EF4-FFF2-40B4-BE49-F238E27FC236}">
                  <a16:creationId xmlns:a16="http://schemas.microsoft.com/office/drawing/2014/main" id="{6BE32A15-DC57-4998-AEBF-FEB28AD4F1C7}"/>
                </a:ext>
              </a:extLst>
            </p:cNvPr>
            <p:cNvSpPr/>
            <p:nvPr/>
          </p:nvSpPr>
          <p:spPr bwMode="hidden">
            <a:xfrm>
              <a:off x="6738779" y="-1850"/>
              <a:ext cx="3319620" cy="3854593"/>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grpSp>
      <p:pic>
        <p:nvPicPr>
          <p:cNvPr id="44" name="Picture 43">
            <a:extLst>
              <a:ext uri="{FF2B5EF4-FFF2-40B4-BE49-F238E27FC236}">
                <a16:creationId xmlns:a16="http://schemas.microsoft.com/office/drawing/2014/main" id="{ADEBCFBD-4064-4013-BFAD-CD6A74630FEE}"/>
              </a:ext>
            </a:extLst>
          </p:cNvPr>
          <p:cNvPicPr>
            <a:picLocks noChangeAspect="1"/>
          </p:cNvPicPr>
          <p:nvPr/>
        </p:nvPicPr>
        <p:blipFill>
          <a:blip r:embed="rId7"/>
          <a:stretch>
            <a:fillRect/>
          </a:stretch>
        </p:blipFill>
        <p:spPr bwMode="gray">
          <a:xfrm>
            <a:off x="345196" y="5410798"/>
            <a:ext cx="2182367" cy="1311444"/>
          </a:xfrm>
          <a:prstGeom prst="rect">
            <a:avLst/>
          </a:prstGeom>
        </p:spPr>
      </p:pic>
      <p:sp>
        <p:nvSpPr>
          <p:cNvPr id="12" name="Report Title">
            <a:extLst>
              <a:ext uri="{FF2B5EF4-FFF2-40B4-BE49-F238E27FC236}">
                <a16:creationId xmlns:a16="http://schemas.microsoft.com/office/drawing/2014/main" id="{33E879B0-433D-44B8-A45C-4AA9431195B4}"/>
              </a:ext>
            </a:extLst>
          </p:cNvPr>
          <p:cNvSpPr>
            <a:spLocks noGrp="1"/>
          </p:cNvSpPr>
          <p:nvPr>
            <p:ph type="ctrTitle" hasCustomPrompt="1"/>
            <p:custDataLst>
              <p:tags r:id="rId1"/>
            </p:custDataLst>
          </p:nvPr>
        </p:nvSpPr>
        <p:spPr bwMode="white">
          <a:xfrm>
            <a:off x="602834" y="2123558"/>
            <a:ext cx="7362768"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D138D7C5-AFED-488C-9EB0-31F9B7E94C54}"/>
              </a:ext>
            </a:extLst>
          </p:cNvPr>
          <p:cNvSpPr>
            <a:spLocks noGrp="1"/>
          </p:cNvSpPr>
          <p:nvPr>
            <p:ph type="subTitle" idx="1" hasCustomPrompt="1"/>
            <p:custDataLst>
              <p:tags r:id="rId2"/>
            </p:custDataLst>
          </p:nvPr>
        </p:nvSpPr>
        <p:spPr bwMode="white">
          <a:xfrm>
            <a:off x="602834" y="3475573"/>
            <a:ext cx="7362768"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4" name="Confidentiality Stamp">
            <a:extLst>
              <a:ext uri="{FF2B5EF4-FFF2-40B4-BE49-F238E27FC236}">
                <a16:creationId xmlns:a16="http://schemas.microsoft.com/office/drawing/2014/main" id="{CB4906E0-DCF0-4572-8EB8-2DD2439A515D}"/>
              </a:ext>
            </a:extLst>
          </p:cNvPr>
          <p:cNvSpPr txBox="1"/>
          <p:nvPr>
            <p:custDataLst>
              <p:tags r:id="rId3"/>
            </p:custDataLst>
          </p:nvPr>
        </p:nvSpPr>
        <p:spPr>
          <a:xfrm>
            <a:off x="602834" y="4338549"/>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4D76D332-7278-485D-8CDF-6978AE979BD5}"/>
              </a:ext>
            </a:extLst>
          </p:cNvPr>
          <p:cNvSpPr txBox="1">
            <a:spLocks/>
          </p:cNvSpPr>
          <p:nvPr>
            <p:custDataLst>
              <p:tags r:id="rId4"/>
            </p:custDataLst>
          </p:nvPr>
        </p:nvSpPr>
        <p:spPr bwMode="black">
          <a:xfrm>
            <a:off x="602834" y="4153041"/>
            <a:ext cx="2669925" cy="174724"/>
          </a:xfrm>
          <a:prstGeom prst="rect">
            <a:avLst/>
          </a:prstGeom>
          <a:noFill/>
          <a:ln>
            <a:noFill/>
          </a:ln>
        </p:spPr>
        <p:txBody>
          <a:bodyPr wrap="square" lIns="0" tIns="0" rIns="0" bIns="0" rtlCol="0" anchor="t" anchorCtr="0">
            <a:noAutofit/>
          </a:bodyPr>
          <a:lstStyle/>
          <a:p>
            <a:pPr algn="l">
              <a:lnSpc>
                <a:spcPct val="100000"/>
              </a:lnSpc>
            </a:pPr>
            <a:endParaRPr lang="en-GB" sz="882" b="0" i="0">
              <a:solidFill>
                <a:schemeClr val="bg1"/>
              </a:solidFill>
              <a:latin typeface="+mn-lt"/>
            </a:endParaRPr>
          </a:p>
        </p:txBody>
      </p:sp>
      <p:sp>
        <p:nvSpPr>
          <p:cNvPr id="16" name="Report Date">
            <a:extLst>
              <a:ext uri="{FF2B5EF4-FFF2-40B4-BE49-F238E27FC236}">
                <a16:creationId xmlns:a16="http://schemas.microsoft.com/office/drawing/2014/main" id="{0E3D03A1-F1AB-4918-AAE4-A674AC23F6DF}"/>
              </a:ext>
            </a:extLst>
          </p:cNvPr>
          <p:cNvSpPr txBox="1"/>
          <p:nvPr>
            <p:custDataLst>
              <p:tags r:id="rId5"/>
            </p:custDataLst>
          </p:nvPr>
        </p:nvSpPr>
        <p:spPr bwMode="black">
          <a:xfrm>
            <a:off x="602834" y="3701056"/>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36495870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Two top ">
    <p:spTree>
      <p:nvGrpSpPr>
        <p:cNvPr id="1" name=""/>
        <p:cNvGrpSpPr/>
        <p:nvPr/>
      </p:nvGrpSpPr>
      <p:grpSpPr>
        <a:xfrm>
          <a:off x="0" y="0"/>
          <a:ext cx="0" cy="0"/>
          <a:chOff x="0" y="0"/>
          <a:chExt cx="0" cy="0"/>
        </a:xfrm>
      </p:grpSpPr>
      <p:sp>
        <p:nvSpPr>
          <p:cNvPr id="48"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46"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31"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2"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9" name="Content Placeholder 2"/>
          <p:cNvSpPr>
            <a:spLocks noGrp="1"/>
          </p:cNvSpPr>
          <p:nvPr>
            <p:ph sz="quarter" idx="10"/>
            <p:custDataLst>
              <p:tags r:id="rId5"/>
            </p:custDataLst>
          </p:nvPr>
        </p:nvSpPr>
        <p:spPr>
          <a:xfrm>
            <a:off x="642851"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3"/>
          <p:cNvSpPr>
            <a:spLocks noGrp="1"/>
          </p:cNvSpPr>
          <p:nvPr>
            <p:ph sz="quarter" idx="11"/>
            <p:custDataLst>
              <p:tags r:id="rId6"/>
            </p:custDataLst>
          </p:nvPr>
        </p:nvSpPr>
        <p:spPr>
          <a:xfrm>
            <a:off x="6184669"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4"/>
          <p:cNvSpPr>
            <a:spLocks noGrp="1"/>
          </p:cNvSpPr>
          <p:nvPr>
            <p:ph sz="quarter" idx="12"/>
            <p:custDataLst>
              <p:tags r:id="rId7"/>
            </p:custDataLst>
          </p:nvPr>
        </p:nvSpPr>
        <p:spPr>
          <a:xfrm>
            <a:off x="642851" y="4043202"/>
            <a:ext cx="10906298"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Draft stamp">
            <a:extLst>
              <a:ext uri="{FF2B5EF4-FFF2-40B4-BE49-F238E27FC236}">
                <a16:creationId xmlns:a16="http://schemas.microsoft.com/office/drawing/2014/main" id="{E4D3AC3D-FB5C-4056-B3CE-C6F201747179}"/>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0" name="Report Date">
            <a:extLst>
              <a:ext uri="{FF2B5EF4-FFF2-40B4-BE49-F238E27FC236}">
                <a16:creationId xmlns:a16="http://schemas.microsoft.com/office/drawing/2014/main" id="{D8BE6AE2-E4FA-4A4C-9F4A-0801F27EF156}"/>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7" name="Page Number">
            <a:extLst>
              <a:ext uri="{FF2B5EF4-FFF2-40B4-BE49-F238E27FC236}">
                <a16:creationId xmlns:a16="http://schemas.microsoft.com/office/drawing/2014/main" id="{B132AC77-15B7-427D-9EDA-27E044A04CD8}"/>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Presentation Disclaimer">
            <a:extLst>
              <a:ext uri="{FF2B5EF4-FFF2-40B4-BE49-F238E27FC236}">
                <a16:creationId xmlns:a16="http://schemas.microsoft.com/office/drawing/2014/main" id="{C1ACCB47-82D5-446E-80FB-2690A95152B9}"/>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0" name="Section Footer">
            <a:extLst>
              <a:ext uri="{FF2B5EF4-FFF2-40B4-BE49-F238E27FC236}">
                <a16:creationId xmlns:a16="http://schemas.microsoft.com/office/drawing/2014/main" id="{9A254952-4576-4CFE-B61C-9E6180278110}"/>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2" name="TextBox 31">
            <a:extLst>
              <a:ext uri="{FF2B5EF4-FFF2-40B4-BE49-F238E27FC236}">
                <a16:creationId xmlns:a16="http://schemas.microsoft.com/office/drawing/2014/main" id="{2DDE2759-0B78-4BAC-9091-A3898FCC7E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3" name="Straight Connector 32">
            <a:extLst>
              <a:ext uri="{FF2B5EF4-FFF2-40B4-BE49-F238E27FC236}">
                <a16:creationId xmlns:a16="http://schemas.microsoft.com/office/drawing/2014/main" id="{9D178E40-037A-4FB9-9A78-25D7EB7BC066}"/>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18619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12" name="Picture Placeholder 9">
            <a:extLst>
              <a:ext uri="{FF2B5EF4-FFF2-40B4-BE49-F238E27FC236}">
                <a16:creationId xmlns:a16="http://schemas.microsoft.com/office/drawing/2014/main" id="{627FAFAA-285F-4945-A3A2-666A8A502E15}"/>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5" name="Freeform: Shape 14">
            <a:extLst>
              <a:ext uri="{FF2B5EF4-FFF2-40B4-BE49-F238E27FC236}">
                <a16:creationId xmlns:a16="http://schemas.microsoft.com/office/drawing/2014/main" id="{575F215B-4184-4392-9C86-1A188FA31F05}"/>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4" name="Picture 13">
            <a:extLst>
              <a:ext uri="{FF2B5EF4-FFF2-40B4-BE49-F238E27FC236}">
                <a16:creationId xmlns:a16="http://schemas.microsoft.com/office/drawing/2014/main" id="{5D160942-482E-4DB8-A58E-71FBEDE7727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11" name="Report Title">
            <a:extLst>
              <a:ext uri="{FF2B5EF4-FFF2-40B4-BE49-F238E27FC236}">
                <a16:creationId xmlns:a16="http://schemas.microsoft.com/office/drawing/2014/main" id="{12C0EFB5-DB4A-44B7-BEB6-50F77D1D323D}"/>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2EEB4B15-EBE2-4CC7-87E7-CF12291C9A89}"/>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6" name="Confidentiality Stamp">
            <a:extLst>
              <a:ext uri="{FF2B5EF4-FFF2-40B4-BE49-F238E27FC236}">
                <a16:creationId xmlns:a16="http://schemas.microsoft.com/office/drawing/2014/main" id="{BB6F76BA-CA5E-46B1-A4FE-A04494BA1F41}"/>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7" name="Draft Stamp">
            <a:extLst>
              <a:ext uri="{FF2B5EF4-FFF2-40B4-BE49-F238E27FC236}">
                <a16:creationId xmlns:a16="http://schemas.microsoft.com/office/drawing/2014/main" id="{FD086E63-2C7B-45FF-B665-56AD61AC323A}"/>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18" name="Report Date">
            <a:extLst>
              <a:ext uri="{FF2B5EF4-FFF2-40B4-BE49-F238E27FC236}">
                <a16:creationId xmlns:a16="http://schemas.microsoft.com/office/drawing/2014/main" id="{2093D07F-E838-4E22-A6DD-E50DBC55755D}"/>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166548212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accent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7"/>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11454905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Ttle Slide 2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a:solidFill>
            <a:schemeClr val="accent6"/>
          </a:solidFill>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a:grpFill/>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33977224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Ttle Slide 3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13022826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GB"/>
              <a:t>Click icon to add picture</a:t>
            </a:r>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a:t>[Presentation title]</a:t>
            </a:r>
            <a:endParaRPr lang="en-GB"/>
          </a:p>
        </p:txBody>
      </p:sp>
    </p:spTree>
    <p:extLst>
      <p:ext uri="{BB962C8B-B14F-4D97-AF65-F5344CB8AC3E}">
        <p14:creationId xmlns:p14="http://schemas.microsoft.com/office/powerpoint/2010/main" val="321640817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484C0D-6176-452F-9734-BCF5DF2748D2}"/>
              </a:ext>
            </a:extLst>
          </p:cNvPr>
          <p:cNvGraphicFramePr>
            <a:graphicFrameLocks noChangeAspect="1"/>
          </p:cNvGraphicFramePr>
          <p:nvPr userDrawn="1">
            <p:custDataLst>
              <p:tags r:id="rId1"/>
            </p:custDataLst>
            <p:extLst>
              <p:ext uri="{D42A27DB-BD31-4B8C-83A1-F6EECF244321}">
                <p14:modId xmlns:p14="http://schemas.microsoft.com/office/powerpoint/2010/main" val="402867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2" name="Object 1" hidden="1">
                        <a:extLst>
                          <a:ext uri="{FF2B5EF4-FFF2-40B4-BE49-F238E27FC236}">
                            <a16:creationId xmlns:a16="http://schemas.microsoft.com/office/drawing/2014/main" id="{23484C0D-6176-452F-9734-BCF5DF2748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Google Shape;24;p12"/>
          <p:cNvSpPr txBox="1">
            <a:spLocks noGrp="1"/>
          </p:cNvSpPr>
          <p:nvPr>
            <p:ph type="title"/>
          </p:nvPr>
        </p:nvSpPr>
        <p:spPr>
          <a:xfrm>
            <a:off x="442913" y="274544"/>
            <a:ext cx="11306175" cy="43088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dk1"/>
              </a:buClr>
              <a:buSzPts val="2400"/>
              <a:buFont typeface="Georgia"/>
              <a:buNone/>
              <a:defRPr sz="2800">
                <a:solidFill>
                  <a:schemeClr val="tx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 name="Google Shape;75;p2">
            <a:extLst>
              <a:ext uri="{FF2B5EF4-FFF2-40B4-BE49-F238E27FC236}">
                <a16:creationId xmlns:a16="http://schemas.microsoft.com/office/drawing/2014/main" id="{15733BA1-7A19-46BC-94D4-AA73D5B54FD6}"/>
              </a:ext>
            </a:extLst>
          </p:cNvPr>
          <p:cNvSpPr txBox="1">
            <a:spLocks noGrp="1"/>
          </p:cNvSpPr>
          <p:nvPr>
            <p:ph type="sldNum" idx="12"/>
          </p:nvPr>
        </p:nvSpPr>
        <p:spPr>
          <a:xfrm>
            <a:off x="9984296" y="6492240"/>
            <a:ext cx="1764792" cy="137160"/>
          </a:xfrm>
        </p:spPr>
        <p:txBody>
          <a:bodyPr/>
          <a:lstStyle/>
          <a:p>
            <a:pPr lvl="0"/>
            <a:fld id="{00000000-1234-1234-1234-123412341234}" type="slidenum">
              <a:rPr lang="en-US"/>
              <a:pPr lvl="0"/>
              <a:t>‹#›</a:t>
            </a:fld>
            <a:endParaRPr lang="en-US"/>
          </a:p>
        </p:txBody>
      </p:sp>
      <p:sp>
        <p:nvSpPr>
          <p:cNvPr id="9" name="Google Shape;76;p2">
            <a:extLst>
              <a:ext uri="{FF2B5EF4-FFF2-40B4-BE49-F238E27FC236}">
                <a16:creationId xmlns:a16="http://schemas.microsoft.com/office/drawing/2014/main" id="{F90358ED-B9E4-4B7A-98F8-7ED4D7F4D258}"/>
              </a:ext>
            </a:extLst>
          </p:cNvPr>
          <p:cNvSpPr txBox="1">
            <a:spLocks noGrp="1"/>
          </p:cNvSpPr>
          <p:nvPr>
            <p:ph type="dt" idx="10"/>
          </p:nvPr>
        </p:nvSpPr>
        <p:spPr>
          <a:xfrm>
            <a:off x="9753600" y="6492240"/>
            <a:ext cx="1764792" cy="13716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r>
              <a:rPr lang="en-US"/>
              <a:t>Sep 23</a:t>
            </a:r>
            <a:endParaRPr/>
          </a:p>
        </p:txBody>
      </p:sp>
      <p:cxnSp>
        <p:nvCxnSpPr>
          <p:cNvPr id="12" name="Straight Connector 11">
            <a:extLst>
              <a:ext uri="{FF2B5EF4-FFF2-40B4-BE49-F238E27FC236}">
                <a16:creationId xmlns:a16="http://schemas.microsoft.com/office/drawing/2014/main" id="{96FDEDB9-2304-493D-BD8E-B70153449AC3}"/>
              </a:ext>
            </a:extLst>
          </p:cNvPr>
          <p:cNvCxnSpPr>
            <a:cxnSpLocks/>
          </p:cNvCxnSpPr>
          <p:nvPr userDrawn="1"/>
        </p:nvCxnSpPr>
        <p:spPr>
          <a:xfrm>
            <a:off x="0" y="1110482"/>
            <a:ext cx="12192000" cy="0"/>
          </a:xfrm>
          <a:prstGeom prst="line">
            <a:avLst/>
          </a:prstGeom>
          <a:ln w="254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C9CF0553-8850-4340-B496-AF2A4B7C163E}"/>
              </a:ext>
            </a:extLst>
          </p:cNvPr>
          <p:cNvGrpSpPr/>
          <p:nvPr userDrawn="1"/>
        </p:nvGrpSpPr>
        <p:grpSpPr>
          <a:xfrm>
            <a:off x="11163300" y="1028412"/>
            <a:ext cx="591246" cy="164140"/>
            <a:chOff x="10705057" y="974091"/>
            <a:chExt cx="935189" cy="259624"/>
          </a:xfrm>
        </p:grpSpPr>
        <p:sp>
          <p:nvSpPr>
            <p:cNvPr id="14" name="Oval 13">
              <a:extLst>
                <a:ext uri="{FF2B5EF4-FFF2-40B4-BE49-F238E27FC236}">
                  <a16:creationId xmlns:a16="http://schemas.microsoft.com/office/drawing/2014/main" id="{53F50E06-3BA3-45B0-872E-2A68E4020100}"/>
                </a:ext>
              </a:extLst>
            </p:cNvPr>
            <p:cNvSpPr/>
            <p:nvPr userDrawn="1"/>
          </p:nvSpPr>
          <p:spPr>
            <a:xfrm>
              <a:off x="10705057" y="974091"/>
              <a:ext cx="260263" cy="2596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ABE8DA4A-B361-4FAD-A5A6-ADCCEEE72520}"/>
                </a:ext>
              </a:extLst>
            </p:cNvPr>
            <p:cNvSpPr/>
            <p:nvPr userDrawn="1"/>
          </p:nvSpPr>
          <p:spPr>
            <a:xfrm>
              <a:off x="11042520" y="974091"/>
              <a:ext cx="260263" cy="2596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7A4F0084-564A-428C-A03F-C139E2F54A41}"/>
                </a:ext>
              </a:extLst>
            </p:cNvPr>
            <p:cNvSpPr/>
            <p:nvPr userDrawn="1"/>
          </p:nvSpPr>
          <p:spPr>
            <a:xfrm>
              <a:off x="11379983" y="974091"/>
              <a:ext cx="260263" cy="2596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984093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Sep 23</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41197650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F55A2-2C43-4003-B7DB-BB2BA8FD1AC6}"/>
              </a:ext>
            </a:extLst>
          </p:cNvPr>
          <p:cNvGraphicFramePr>
            <a:graphicFrameLocks noChangeAspect="1"/>
          </p:cNvGraphicFramePr>
          <p:nvPr userDrawn="1">
            <p:custDataLst>
              <p:tags r:id="rId1"/>
            </p:custDataLst>
            <p:extLst>
              <p:ext uri="{D42A27DB-BD31-4B8C-83A1-F6EECF244321}">
                <p14:modId xmlns:p14="http://schemas.microsoft.com/office/powerpoint/2010/main" val="83588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E5AF55A2-2C43-4003-B7DB-BB2BA8FD1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spcAft>
                <a:spcPts val="1200"/>
              </a:spcAft>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hasCustomPrompt="1"/>
          </p:nvPr>
        </p:nvSpPr>
        <p:spPr>
          <a:xfrm>
            <a:off x="442913" y="3693523"/>
            <a:ext cx="5473700" cy="594360"/>
          </a:xfrm>
        </p:spPr>
        <p:txBody>
          <a:bodyPr anchor="ctr"/>
          <a:lstStyle>
            <a:lvl1pPr marL="0" indent="0" algn="l">
              <a:lnSpc>
                <a:spcPct val="100000"/>
              </a:lnSpc>
              <a:spcBef>
                <a:spcPts val="0"/>
              </a:spcBef>
              <a:spcAft>
                <a:spcPts val="60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16" name="Rectangle 15">
            <a:extLst>
              <a:ext uri="{FF2B5EF4-FFF2-40B4-BE49-F238E27FC236}">
                <a16:creationId xmlns:a16="http://schemas.microsoft.com/office/drawing/2014/main" id="{C9AE8A82-226D-458A-B26F-C73B563AC241}"/>
              </a:ext>
            </a:extLst>
          </p:cNvPr>
          <p:cNvSpPr/>
          <p:nvPr userDrawn="1"/>
        </p:nvSpPr>
        <p:spPr>
          <a:xfrm rot="5400000">
            <a:off x="2605770" y="3352800"/>
            <a:ext cx="6858000" cy="1524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5752113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F55A2-2C43-4003-B7DB-BB2BA8FD1AC6}"/>
              </a:ext>
            </a:extLst>
          </p:cNvPr>
          <p:cNvGraphicFramePr>
            <a:graphicFrameLocks noChangeAspect="1"/>
          </p:cNvGraphicFramePr>
          <p:nvPr userDrawn="1">
            <p:custDataLst>
              <p:tags r:id="rId1"/>
            </p:custDataLst>
            <p:extLst>
              <p:ext uri="{D42A27DB-BD31-4B8C-83A1-F6EECF244321}">
                <p14:modId xmlns:p14="http://schemas.microsoft.com/office/powerpoint/2010/main" val="83588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E5AF55A2-2C43-4003-B7DB-BB2BA8FD1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spcAft>
                <a:spcPts val="1200"/>
              </a:spcAft>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497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4978400"/>
            <a:ext cx="6096000" cy="18796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hasCustomPrompt="1"/>
          </p:nvPr>
        </p:nvSpPr>
        <p:spPr>
          <a:xfrm>
            <a:off x="442913" y="3693523"/>
            <a:ext cx="5473700" cy="594360"/>
          </a:xfrm>
        </p:spPr>
        <p:txBody>
          <a:bodyPr anchor="ctr"/>
          <a:lstStyle>
            <a:lvl1pPr marL="0" indent="0" algn="l">
              <a:lnSpc>
                <a:spcPct val="100000"/>
              </a:lnSpc>
              <a:spcBef>
                <a:spcPts val="0"/>
              </a:spcBef>
              <a:spcAft>
                <a:spcPts val="60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7654667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1_Quote 1 Image Orange">
    <p:bg>
      <p:bgPr>
        <a:solidFill>
          <a:schemeClr val="accent6"/>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F37D7A94-5169-4B57-B053-68AF3C9AE503}"/>
              </a:ext>
            </a:extLst>
          </p:cNvPr>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GB"/>
              <a:t>Click icon to add picture</a:t>
            </a:r>
          </a:p>
        </p:txBody>
      </p:sp>
      <p:sp>
        <p:nvSpPr>
          <p:cNvPr id="4" name="Rectangle 3">
            <a:extLst>
              <a:ext uri="{FF2B5EF4-FFF2-40B4-BE49-F238E27FC236}">
                <a16:creationId xmlns:a16="http://schemas.microsoft.com/office/drawing/2014/main" id="{3BDB9795-14DB-4611-A356-F1F92FE05ED1}"/>
              </a:ext>
            </a:extLst>
          </p:cNvPr>
          <p:cNvSpPr/>
          <p:nvPr userDrawn="1"/>
        </p:nvSpPr>
        <p:spPr>
          <a:xfrm>
            <a:off x="0" y="1111250"/>
            <a:ext cx="6095999" cy="46355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77519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Report Date">
            <a:extLst>
              <a:ext uri="{FF2B5EF4-FFF2-40B4-BE49-F238E27FC236}">
                <a16:creationId xmlns:a16="http://schemas.microsoft.com/office/drawing/2014/main" id="{71242622-92E5-4577-9939-C23982B6F01C}"/>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5" name="Page Number">
            <a:extLst>
              <a:ext uri="{FF2B5EF4-FFF2-40B4-BE49-F238E27FC236}">
                <a16:creationId xmlns:a16="http://schemas.microsoft.com/office/drawing/2014/main" id="{7253FE5D-87D6-4F45-BF52-14884C4140B0}"/>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6" name="Presentation Disclaimer">
            <a:extLst>
              <a:ext uri="{FF2B5EF4-FFF2-40B4-BE49-F238E27FC236}">
                <a16:creationId xmlns:a16="http://schemas.microsoft.com/office/drawing/2014/main" id="{2DE48912-752E-4B28-992E-A8018FA045F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7" name="Section Footer">
            <a:extLst>
              <a:ext uri="{FF2B5EF4-FFF2-40B4-BE49-F238E27FC236}">
                <a16:creationId xmlns:a16="http://schemas.microsoft.com/office/drawing/2014/main" id="{24E13DC1-0CD8-4F00-BEB6-8ED480D16571}"/>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9" name="TextBox 28">
            <a:extLst>
              <a:ext uri="{FF2B5EF4-FFF2-40B4-BE49-F238E27FC236}">
                <a16:creationId xmlns:a16="http://schemas.microsoft.com/office/drawing/2014/main" id="{87E1B077-C346-4667-9422-134889A69A8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0" name="Straight Connector 29">
            <a:extLst>
              <a:ext uri="{FF2B5EF4-FFF2-40B4-BE49-F238E27FC236}">
                <a16:creationId xmlns:a16="http://schemas.microsoft.com/office/drawing/2014/main" id="{430B69CA-5FCE-4A4A-B144-701CC8BBBE64}"/>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Draft stamp">
            <a:extLst>
              <a:ext uri="{FF2B5EF4-FFF2-40B4-BE49-F238E27FC236}">
                <a16:creationId xmlns:a16="http://schemas.microsoft.com/office/drawing/2014/main" id="{8BA4733D-DD24-4E66-AB15-27D0B8AA9EB2}"/>
              </a:ext>
            </a:extLst>
          </p:cNvPr>
          <p:cNvSpPr txBox="1"/>
          <p:nvPr>
            <p:custDataLst>
              <p:tags r:id="rId1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314839973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GB"/>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Date Placeholder 7">
            <a:extLst>
              <a:ext uri="{FF2B5EF4-FFF2-40B4-BE49-F238E27FC236}">
                <a16:creationId xmlns:a16="http://schemas.microsoft.com/office/drawing/2014/main" id="{08C77347-C792-41EE-BAB8-07B37B9B5F0A}"/>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US"/>
              <a:t>Sep 23</a:t>
            </a:r>
          </a:p>
        </p:txBody>
      </p:sp>
      <p:sp>
        <p:nvSpPr>
          <p:cNvPr id="9" name="Footer Placeholder 8">
            <a:extLst>
              <a:ext uri="{FF2B5EF4-FFF2-40B4-BE49-F238E27FC236}">
                <a16:creationId xmlns:a16="http://schemas.microsoft.com/office/drawing/2014/main" id="{1855CA0F-B925-4009-AFC7-2C64D81F36C5}"/>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r>
              <a:rPr lang="en-US"/>
              <a:t>Prefeasibility study for establishment of ICIC under STKEC</a:t>
            </a:r>
          </a:p>
        </p:txBody>
      </p:sp>
      <p:sp>
        <p:nvSpPr>
          <p:cNvPr id="10" name="Slide Number Placeholder 9">
            <a:extLst>
              <a:ext uri="{FF2B5EF4-FFF2-40B4-BE49-F238E27FC236}">
                <a16:creationId xmlns:a16="http://schemas.microsoft.com/office/drawing/2014/main" id="{5FBE9ADE-3F54-4820-9478-1C0D6A253293}"/>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1537D5A3-B672-4852-AC41-91EB6B6297EE}" type="slidenum">
              <a:rPr lang="en-US" smtClean="0"/>
              <a:pPr/>
              <a:t>‹#›</a:t>
            </a:fld>
            <a:endParaRPr lang="en-US"/>
          </a:p>
        </p:txBody>
      </p:sp>
    </p:spTree>
    <p:extLst>
      <p:ext uri="{BB962C8B-B14F-4D97-AF65-F5344CB8AC3E}">
        <p14:creationId xmlns:p14="http://schemas.microsoft.com/office/powerpoint/2010/main" val="10215082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B0421D-0F2C-4D5C-8C6A-4F33BBA87B51}"/>
              </a:ext>
            </a:extLst>
          </p:cNvPr>
          <p:cNvGrpSpPr/>
          <p:nvPr/>
        </p:nvGrpSpPr>
        <p:grpSpPr>
          <a:xfrm>
            <a:off x="1" y="1192"/>
            <a:ext cx="12191999" cy="4534816"/>
            <a:chOff x="0" y="-1850"/>
            <a:chExt cx="10058399" cy="5139458"/>
          </a:xfrm>
        </p:grpSpPr>
        <p:sp>
          <p:nvSpPr>
            <p:cNvPr id="31" name="Rectangle 30">
              <a:extLst>
                <a:ext uri="{FF2B5EF4-FFF2-40B4-BE49-F238E27FC236}">
                  <a16:creationId xmlns:a16="http://schemas.microsoft.com/office/drawing/2014/main" id="{0AC2468B-7B7C-4C8C-B055-6EEB0FDFB458}"/>
                </a:ext>
              </a:extLst>
            </p:cNvPr>
            <p:cNvSpPr/>
            <p:nvPr/>
          </p:nvSpPr>
          <p:spPr bwMode="hidden">
            <a:xfrm>
              <a:off x="0" y="-1850"/>
              <a:ext cx="6738778" cy="3854593"/>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5" name="Rectangle 34">
              <a:extLst>
                <a:ext uri="{FF2B5EF4-FFF2-40B4-BE49-F238E27FC236}">
                  <a16:creationId xmlns:a16="http://schemas.microsoft.com/office/drawing/2014/main" id="{FBBA73F9-E23B-456D-80BC-9D102C6807BF}"/>
                </a:ext>
              </a:extLst>
            </p:cNvPr>
            <p:cNvSpPr/>
            <p:nvPr/>
          </p:nvSpPr>
          <p:spPr bwMode="hidden">
            <a:xfrm>
              <a:off x="0" y="3852743"/>
              <a:ext cx="6738778" cy="1284865"/>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7" name="Rectangle 36">
              <a:extLst>
                <a:ext uri="{FF2B5EF4-FFF2-40B4-BE49-F238E27FC236}">
                  <a16:creationId xmlns:a16="http://schemas.microsoft.com/office/drawing/2014/main" id="{6BE32A15-DC57-4998-AEBF-FEB28AD4F1C7}"/>
                </a:ext>
              </a:extLst>
            </p:cNvPr>
            <p:cNvSpPr/>
            <p:nvPr/>
          </p:nvSpPr>
          <p:spPr bwMode="hidden">
            <a:xfrm>
              <a:off x="6738779" y="-1850"/>
              <a:ext cx="3319620" cy="3854593"/>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grpSp>
      <p:pic>
        <p:nvPicPr>
          <p:cNvPr id="44" name="Picture 43">
            <a:extLst>
              <a:ext uri="{FF2B5EF4-FFF2-40B4-BE49-F238E27FC236}">
                <a16:creationId xmlns:a16="http://schemas.microsoft.com/office/drawing/2014/main" id="{ADEBCFBD-4064-4013-BFAD-CD6A74630FEE}"/>
              </a:ext>
            </a:extLst>
          </p:cNvPr>
          <p:cNvPicPr>
            <a:picLocks noChangeAspect="1"/>
          </p:cNvPicPr>
          <p:nvPr/>
        </p:nvPicPr>
        <p:blipFill>
          <a:blip r:embed="rId7"/>
          <a:stretch>
            <a:fillRect/>
          </a:stretch>
        </p:blipFill>
        <p:spPr bwMode="gray">
          <a:xfrm>
            <a:off x="345196" y="5410798"/>
            <a:ext cx="2182367" cy="1311444"/>
          </a:xfrm>
          <a:prstGeom prst="rect">
            <a:avLst/>
          </a:prstGeom>
        </p:spPr>
      </p:pic>
      <p:sp>
        <p:nvSpPr>
          <p:cNvPr id="12" name="Report Title">
            <a:extLst>
              <a:ext uri="{FF2B5EF4-FFF2-40B4-BE49-F238E27FC236}">
                <a16:creationId xmlns:a16="http://schemas.microsoft.com/office/drawing/2014/main" id="{33E879B0-433D-44B8-A45C-4AA9431195B4}"/>
              </a:ext>
            </a:extLst>
          </p:cNvPr>
          <p:cNvSpPr>
            <a:spLocks noGrp="1"/>
          </p:cNvSpPr>
          <p:nvPr>
            <p:ph type="ctrTitle" hasCustomPrompt="1"/>
            <p:custDataLst>
              <p:tags r:id="rId1"/>
            </p:custDataLst>
          </p:nvPr>
        </p:nvSpPr>
        <p:spPr bwMode="white">
          <a:xfrm>
            <a:off x="602834" y="2123558"/>
            <a:ext cx="7362768"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D138D7C5-AFED-488C-9EB0-31F9B7E94C54}"/>
              </a:ext>
            </a:extLst>
          </p:cNvPr>
          <p:cNvSpPr>
            <a:spLocks noGrp="1"/>
          </p:cNvSpPr>
          <p:nvPr>
            <p:ph type="subTitle" idx="1" hasCustomPrompt="1"/>
            <p:custDataLst>
              <p:tags r:id="rId2"/>
            </p:custDataLst>
          </p:nvPr>
        </p:nvSpPr>
        <p:spPr bwMode="white">
          <a:xfrm>
            <a:off x="602834" y="3475573"/>
            <a:ext cx="7362768"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4" name="Confidentiality Stamp">
            <a:extLst>
              <a:ext uri="{FF2B5EF4-FFF2-40B4-BE49-F238E27FC236}">
                <a16:creationId xmlns:a16="http://schemas.microsoft.com/office/drawing/2014/main" id="{CB4906E0-DCF0-4572-8EB8-2DD2439A515D}"/>
              </a:ext>
            </a:extLst>
          </p:cNvPr>
          <p:cNvSpPr txBox="1"/>
          <p:nvPr>
            <p:custDataLst>
              <p:tags r:id="rId3"/>
            </p:custDataLst>
          </p:nvPr>
        </p:nvSpPr>
        <p:spPr>
          <a:xfrm>
            <a:off x="602834" y="4338549"/>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4D76D332-7278-485D-8CDF-6978AE979BD5}"/>
              </a:ext>
            </a:extLst>
          </p:cNvPr>
          <p:cNvSpPr txBox="1">
            <a:spLocks/>
          </p:cNvSpPr>
          <p:nvPr>
            <p:custDataLst>
              <p:tags r:id="rId4"/>
            </p:custDataLst>
          </p:nvPr>
        </p:nvSpPr>
        <p:spPr bwMode="black">
          <a:xfrm>
            <a:off x="602834" y="4153041"/>
            <a:ext cx="2669925" cy="174724"/>
          </a:xfrm>
          <a:prstGeom prst="rect">
            <a:avLst/>
          </a:prstGeom>
          <a:noFill/>
          <a:ln>
            <a:noFill/>
          </a:ln>
        </p:spPr>
        <p:txBody>
          <a:bodyPr wrap="square" lIns="0" tIns="0" rIns="0" bIns="0" rtlCol="0" anchor="t" anchorCtr="0">
            <a:noAutofit/>
          </a:bodyPr>
          <a:lstStyle/>
          <a:p>
            <a:pPr algn="l">
              <a:lnSpc>
                <a:spcPct val="100000"/>
              </a:lnSpc>
            </a:pPr>
            <a:endParaRPr lang="en-GB" sz="882" b="0" i="0">
              <a:solidFill>
                <a:schemeClr val="bg1"/>
              </a:solidFill>
              <a:latin typeface="+mn-lt"/>
            </a:endParaRPr>
          </a:p>
        </p:txBody>
      </p:sp>
      <p:sp>
        <p:nvSpPr>
          <p:cNvPr id="16" name="Report Date">
            <a:extLst>
              <a:ext uri="{FF2B5EF4-FFF2-40B4-BE49-F238E27FC236}">
                <a16:creationId xmlns:a16="http://schemas.microsoft.com/office/drawing/2014/main" id="{0E3D03A1-F1AB-4918-AAE4-A674AC23F6DF}"/>
              </a:ext>
            </a:extLst>
          </p:cNvPr>
          <p:cNvSpPr txBox="1"/>
          <p:nvPr>
            <p:custDataLst>
              <p:tags r:id="rId5"/>
            </p:custDataLst>
          </p:nvPr>
        </p:nvSpPr>
        <p:spPr bwMode="black">
          <a:xfrm>
            <a:off x="602834" y="3701056"/>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339559505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ver Let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E44432-2DD3-429B-9192-CDE2430039EB}"/>
              </a:ext>
            </a:extLst>
          </p:cNvPr>
          <p:cNvGraphicFramePr>
            <a:graphicFrameLocks noChangeAspect="1"/>
          </p:cNvGraphicFramePr>
          <p:nvPr>
            <p:custDataLst>
              <p:tags r:id="rId1"/>
            </p:custData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10" imgW="423" imgH="424" progId="TCLayout.ActiveDocument.1">
                  <p:embed/>
                </p:oleObj>
              </mc:Choice>
              <mc:Fallback>
                <p:oleObj name="think-cell Slide" r:id="rId10" imgW="423" imgH="424" progId="TCLayout.ActiveDocument.1">
                  <p:embed/>
                  <p:pic>
                    <p:nvPicPr>
                      <p:cNvPr id="2" name="Object 1" hidden="1">
                        <a:extLst>
                          <a:ext uri="{FF2B5EF4-FFF2-40B4-BE49-F238E27FC236}">
                            <a16:creationId xmlns:a16="http://schemas.microsoft.com/office/drawing/2014/main" id="{6EE44432-2DD3-429B-9192-CDE2430039EB}"/>
                          </a:ext>
                        </a:extLst>
                      </p:cNvPr>
                      <p:cNvPicPr/>
                      <p:nvPr/>
                    </p:nvPicPr>
                    <p:blipFill>
                      <a:blip r:embed="rId11"/>
                      <a:stretch>
                        <a:fillRect/>
                      </a:stretch>
                    </p:blipFill>
                    <p:spPr>
                      <a:xfrm>
                        <a:off x="1925" y="1401"/>
                        <a:ext cx="1925" cy="1401"/>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4E73762-5B0C-4A73-AAD9-B6C6DB42A1C9}"/>
              </a:ext>
            </a:extLst>
          </p:cNvPr>
          <p:cNvSpPr/>
          <p:nvPr/>
        </p:nvSpPr>
        <p:spPr>
          <a:xfrm>
            <a:off x="0" y="0"/>
            <a:ext cx="3147753" cy="6858000"/>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13" name="Picture 12">
            <a:extLst>
              <a:ext uri="{FF2B5EF4-FFF2-40B4-BE49-F238E27FC236}">
                <a16:creationId xmlns:a16="http://schemas.microsoft.com/office/drawing/2014/main" id="{F21C81E0-A595-44BD-A048-8DF8E985F86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4" name="Text Placeholder 3">
            <a:extLst>
              <a:ext uri="{FF2B5EF4-FFF2-40B4-BE49-F238E27FC236}">
                <a16:creationId xmlns:a16="http://schemas.microsoft.com/office/drawing/2014/main" id="{A888DD68-89F1-4B99-A070-7459C90282B3}"/>
              </a:ext>
            </a:extLst>
          </p:cNvPr>
          <p:cNvSpPr>
            <a:spLocks noGrp="1"/>
          </p:cNvSpPr>
          <p:nvPr>
            <p:ph type="body" sz="quarter" idx="10" hasCustomPrompt="1"/>
          </p:nvPr>
        </p:nvSpPr>
        <p:spPr>
          <a:xfrm>
            <a:off x="543225" y="1815353"/>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21" name="Text Placeholder 5">
            <a:extLst>
              <a:ext uri="{FF2B5EF4-FFF2-40B4-BE49-F238E27FC236}">
                <a16:creationId xmlns:a16="http://schemas.microsoft.com/office/drawing/2014/main" id="{FEBB040F-A728-48CD-A5B9-F69EC5296FF1}"/>
              </a:ext>
            </a:extLst>
          </p:cNvPr>
          <p:cNvSpPr>
            <a:spLocks noGrp="1"/>
          </p:cNvSpPr>
          <p:nvPr>
            <p:ph type="body" sz="quarter" idx="11" hasCustomPrompt="1"/>
          </p:nvPr>
        </p:nvSpPr>
        <p:spPr>
          <a:xfrm>
            <a:off x="543225" y="5356604"/>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cxnSp>
        <p:nvCxnSpPr>
          <p:cNvPr id="22" name="Frame Line">
            <a:extLst>
              <a:ext uri="{FF2B5EF4-FFF2-40B4-BE49-F238E27FC236}">
                <a16:creationId xmlns:a16="http://schemas.microsoft.com/office/drawing/2014/main" id="{F7BAF0B3-E029-470C-87E4-46D3229C1448}"/>
              </a:ext>
            </a:extLst>
          </p:cNvPr>
          <p:cNvCxnSpPr>
            <a:cxnSpLocks/>
          </p:cNvCxnSpPr>
          <p:nvPr>
            <p:custDataLst>
              <p:tags r:id="rId3"/>
            </p:custDataLst>
          </p:nvPr>
        </p:nvCxnSpPr>
        <p:spPr>
          <a:xfrm>
            <a:off x="3585682" y="1748118"/>
            <a:ext cx="796913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7">
            <a:extLst>
              <a:ext uri="{FF2B5EF4-FFF2-40B4-BE49-F238E27FC236}">
                <a16:creationId xmlns:a16="http://schemas.microsoft.com/office/drawing/2014/main" id="{33075B3C-DA49-4F57-9409-515CA5F8C155}"/>
              </a:ext>
            </a:extLst>
          </p:cNvPr>
          <p:cNvSpPr>
            <a:spLocks noGrp="1"/>
          </p:cNvSpPr>
          <p:nvPr>
            <p:ph type="body" sz="quarter" idx="12" hasCustomPrompt="1"/>
          </p:nvPr>
        </p:nvSpPr>
        <p:spPr>
          <a:xfrm>
            <a:off x="3585683" y="941295"/>
            <a:ext cx="3213601" cy="149362"/>
          </a:xfrm>
        </p:spPr>
        <p:txBody>
          <a:bodyPr>
            <a:spAutoFit/>
          </a:bodyPr>
          <a:lstStyle>
            <a:lvl1pPr>
              <a:defRPr/>
            </a:lvl1pPr>
          </a:lstStyle>
          <a:p>
            <a:pPr lvl="0"/>
            <a:r>
              <a:rPr lang="en-GB"/>
              <a:t>Insert text here </a:t>
            </a:r>
          </a:p>
        </p:txBody>
      </p:sp>
      <p:sp>
        <p:nvSpPr>
          <p:cNvPr id="24" name="Text Placeholder 12">
            <a:extLst>
              <a:ext uri="{FF2B5EF4-FFF2-40B4-BE49-F238E27FC236}">
                <a16:creationId xmlns:a16="http://schemas.microsoft.com/office/drawing/2014/main" id="{1A63BB9A-729A-4857-BE09-F8368F34E8D6}"/>
              </a:ext>
            </a:extLst>
          </p:cNvPr>
          <p:cNvSpPr>
            <a:spLocks noGrp="1"/>
          </p:cNvSpPr>
          <p:nvPr>
            <p:ph type="body" sz="quarter" idx="13" hasCustomPrompt="1"/>
          </p:nvPr>
        </p:nvSpPr>
        <p:spPr>
          <a:xfrm>
            <a:off x="3585683" y="1815353"/>
            <a:ext cx="7963465" cy="3618687"/>
          </a:xfrm>
        </p:spPr>
        <p:txBody>
          <a:bodyPr/>
          <a:lstStyle>
            <a:lvl1pPr>
              <a:defRPr/>
            </a:lvl1pPr>
          </a:lstStyle>
          <a:p>
            <a:pPr lvl="0"/>
            <a:r>
              <a:rPr lang="en-GB"/>
              <a:t>Insert text here </a:t>
            </a:r>
          </a:p>
        </p:txBody>
      </p:sp>
      <p:sp>
        <p:nvSpPr>
          <p:cNvPr id="26" name="Report Date">
            <a:extLst>
              <a:ext uri="{FF2B5EF4-FFF2-40B4-BE49-F238E27FC236}">
                <a16:creationId xmlns:a16="http://schemas.microsoft.com/office/drawing/2014/main" id="{EE19D4BC-B65F-4593-B6DA-6CEA94B7B65E}"/>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27" name="Presentation Disclaimer">
            <a:extLst>
              <a:ext uri="{FF2B5EF4-FFF2-40B4-BE49-F238E27FC236}">
                <a16:creationId xmlns:a16="http://schemas.microsoft.com/office/drawing/2014/main" id="{DBA60797-0C6B-4279-88BD-0214B400B514}"/>
              </a:ext>
            </a:extLst>
          </p:cNvPr>
          <p:cNvSpPr txBox="1"/>
          <p:nvPr>
            <p:custDataLst>
              <p:tags r:id="rId5"/>
            </p:custDataLst>
          </p:nvPr>
        </p:nvSpPr>
        <p:spPr>
          <a:xfrm>
            <a:off x="548283" y="6317437"/>
            <a:ext cx="3037401" cy="108619"/>
          </a:xfrm>
          <a:prstGeom prst="rect">
            <a:avLst/>
          </a:prstGeom>
          <a:noFill/>
        </p:spPr>
        <p:txBody>
          <a:bodyPr wrap="square" lIns="0" tIns="0" rIns="0" bIns="0" rtlCol="0" anchor="b" anchorCtr="0">
            <a:spAutoFit/>
          </a:bodyPr>
          <a:lstStyle/>
          <a:p>
            <a:pPr algn="l"/>
            <a:r>
              <a:rPr lang="en-GB" sz="706" noProof="1">
                <a:solidFill>
                  <a:schemeClr val="bg1"/>
                </a:solidFill>
              </a:rPr>
              <a:t>Strictly private and confidential</a:t>
            </a:r>
          </a:p>
        </p:txBody>
      </p:sp>
      <p:sp>
        <p:nvSpPr>
          <p:cNvPr id="28" name="Page Number">
            <a:extLst>
              <a:ext uri="{FF2B5EF4-FFF2-40B4-BE49-F238E27FC236}">
                <a16:creationId xmlns:a16="http://schemas.microsoft.com/office/drawing/2014/main" id="{0AC58CDE-7BF7-4E9A-86DE-005A8226C2D9}"/>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Section Footer">
            <a:extLst>
              <a:ext uri="{FF2B5EF4-FFF2-40B4-BE49-F238E27FC236}">
                <a16:creationId xmlns:a16="http://schemas.microsoft.com/office/drawing/2014/main" id="{7BC2F3DA-F5E4-44B0-8190-5C4510FA91EF}"/>
              </a:ext>
            </a:extLst>
          </p:cNvPr>
          <p:cNvSpPr txBox="1"/>
          <p:nvPr>
            <p:custDataLst>
              <p:tags r:id="rId7"/>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30" name="TextBox 29">
            <a:extLst>
              <a:ext uri="{FF2B5EF4-FFF2-40B4-BE49-F238E27FC236}">
                <a16:creationId xmlns:a16="http://schemas.microsoft.com/office/drawing/2014/main" id="{6A4FBAFA-F1A1-40A6-9134-3230D2D92D31}"/>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31" name="Straight Connector 30">
            <a:extLst>
              <a:ext uri="{FF2B5EF4-FFF2-40B4-BE49-F238E27FC236}">
                <a16:creationId xmlns:a16="http://schemas.microsoft.com/office/drawing/2014/main" id="{10810281-0E5A-4B69-940A-B5D1F833254D}"/>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42061688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ver Letter US">
    <p:spTree>
      <p:nvGrpSpPr>
        <p:cNvPr id="1" name=""/>
        <p:cNvGrpSpPr/>
        <p:nvPr/>
      </p:nvGrpSpPr>
      <p:grpSpPr>
        <a:xfrm>
          <a:off x="0" y="0"/>
          <a:ext cx="0" cy="0"/>
          <a:chOff x="0" y="0"/>
          <a:chExt cx="0" cy="0"/>
        </a:xfrm>
      </p:grpSpPr>
      <p:sp>
        <p:nvSpPr>
          <p:cNvPr id="15" name="Report Date">
            <a:extLst>
              <a:ext uri="{FF2B5EF4-FFF2-40B4-BE49-F238E27FC236}">
                <a16:creationId xmlns:a16="http://schemas.microsoft.com/office/drawing/2014/main" id="{53D1EBEC-E8DA-41B3-AC08-642CC2A5848F}"/>
              </a:ext>
            </a:extLst>
          </p:cNvPr>
          <p:cNvSpPr txBox="1"/>
          <p:nvPr>
            <p:custDataLst>
              <p:tags r:id="rId1"/>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21430" y="6317429"/>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13" name="Text Placeholder 12">
            <a:extLst>
              <a:ext uri="{FF2B5EF4-FFF2-40B4-BE49-F238E27FC236}">
                <a16:creationId xmlns:a16="http://schemas.microsoft.com/office/drawing/2014/main" id="{40E7DDA1-E9E0-4BD2-9F18-4D73A5A3E34F}"/>
              </a:ext>
            </a:extLst>
          </p:cNvPr>
          <p:cNvSpPr>
            <a:spLocks noGrp="1"/>
          </p:cNvSpPr>
          <p:nvPr>
            <p:ph type="body" sz="quarter" idx="13" hasCustomPrompt="1"/>
          </p:nvPr>
        </p:nvSpPr>
        <p:spPr>
          <a:xfrm>
            <a:off x="3509305" y="1282424"/>
            <a:ext cx="3904775" cy="4611356"/>
          </a:xfrm>
        </p:spPr>
        <p:txBody>
          <a:bodyPr/>
          <a:lstStyle>
            <a:lvl1pPr>
              <a:defRPr sz="794"/>
            </a:lvl1pPr>
          </a:lstStyle>
          <a:p>
            <a:pPr lvl="0"/>
            <a:r>
              <a:rPr lang="en-GB"/>
              <a:t>Insert text here </a:t>
            </a:r>
          </a:p>
        </p:txBody>
      </p:sp>
      <p:sp>
        <p:nvSpPr>
          <p:cNvPr id="21" name="Text Placeholder 12">
            <a:extLst>
              <a:ext uri="{FF2B5EF4-FFF2-40B4-BE49-F238E27FC236}">
                <a16:creationId xmlns:a16="http://schemas.microsoft.com/office/drawing/2014/main" id="{3A63B2BC-C1AA-475D-80E8-6103AE001718}"/>
              </a:ext>
            </a:extLst>
          </p:cNvPr>
          <p:cNvSpPr>
            <a:spLocks noGrp="1"/>
          </p:cNvSpPr>
          <p:nvPr>
            <p:ph type="body" sz="quarter" idx="14" hasCustomPrompt="1"/>
          </p:nvPr>
        </p:nvSpPr>
        <p:spPr>
          <a:xfrm>
            <a:off x="7644375" y="1282424"/>
            <a:ext cx="3904775" cy="4611356"/>
          </a:xfrm>
        </p:spPr>
        <p:txBody>
          <a:bodyPr/>
          <a:lstStyle>
            <a:lvl1pPr>
              <a:defRPr sz="794"/>
            </a:lvl1pPr>
          </a:lstStyle>
          <a:p>
            <a:pPr lvl="0"/>
            <a:r>
              <a:rPr lang="en-GB"/>
              <a:t>Insert text here </a:t>
            </a:r>
          </a:p>
        </p:txBody>
      </p:sp>
      <p:sp>
        <p:nvSpPr>
          <p:cNvPr id="32" name="Rectangle 31">
            <a:extLst>
              <a:ext uri="{FF2B5EF4-FFF2-40B4-BE49-F238E27FC236}">
                <a16:creationId xmlns:a16="http://schemas.microsoft.com/office/drawing/2014/main" id="{6772873F-F098-49A1-B629-C8530BE60C1A}"/>
              </a:ext>
            </a:extLst>
          </p:cNvPr>
          <p:cNvSpPr/>
          <p:nvPr/>
        </p:nvSpPr>
        <p:spPr>
          <a:xfrm>
            <a:off x="1" y="0"/>
            <a:ext cx="3150086" cy="6858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33" name="Picture 32">
            <a:extLst>
              <a:ext uri="{FF2B5EF4-FFF2-40B4-BE49-F238E27FC236}">
                <a16:creationId xmlns:a16="http://schemas.microsoft.com/office/drawing/2014/main" id="{318A1954-C595-46AF-9BD0-C51B68380FC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34" name="Presentation Disclaimer">
            <a:extLst>
              <a:ext uri="{FF2B5EF4-FFF2-40B4-BE49-F238E27FC236}">
                <a16:creationId xmlns:a16="http://schemas.microsoft.com/office/drawing/2014/main" id="{04DDCE90-61F5-41F7-BCB5-5378C4B9A371}"/>
              </a:ext>
            </a:extLst>
          </p:cNvPr>
          <p:cNvSpPr txBox="1"/>
          <p:nvPr>
            <p:custDataLst>
              <p:tags r:id="rId3"/>
            </p:custDataLst>
          </p:nvPr>
        </p:nvSpPr>
        <p:spPr>
          <a:xfrm>
            <a:off x="548283" y="6087752"/>
            <a:ext cx="2376566" cy="108619"/>
          </a:xfrm>
          <a:prstGeom prst="rect">
            <a:avLst/>
          </a:prstGeom>
          <a:noFill/>
        </p:spPr>
        <p:txBody>
          <a:bodyPr wrap="square" lIns="0" tIns="0" rIns="0" bIns="0" rtlCol="0" anchor="b" anchorCtr="0">
            <a:spAutoFit/>
          </a:bodyPr>
          <a:lstStyle/>
          <a:p>
            <a:pPr algn="l"/>
            <a:r>
              <a:rPr lang="en-GB" sz="706" noProof="1">
                <a:solidFill>
                  <a:schemeClr val="bg2"/>
                </a:solidFill>
              </a:rPr>
              <a:t>Strictly private and confidential</a:t>
            </a:r>
          </a:p>
        </p:txBody>
      </p:sp>
      <p:sp>
        <p:nvSpPr>
          <p:cNvPr id="35" name="Text Placeholder 3">
            <a:extLst>
              <a:ext uri="{FF2B5EF4-FFF2-40B4-BE49-F238E27FC236}">
                <a16:creationId xmlns:a16="http://schemas.microsoft.com/office/drawing/2014/main" id="{011B331F-A998-4B93-9E0F-EFB8090DC593}"/>
              </a:ext>
            </a:extLst>
          </p:cNvPr>
          <p:cNvSpPr>
            <a:spLocks noGrp="1"/>
          </p:cNvSpPr>
          <p:nvPr>
            <p:ph type="body" sz="quarter" idx="10" hasCustomPrompt="1"/>
          </p:nvPr>
        </p:nvSpPr>
        <p:spPr>
          <a:xfrm>
            <a:off x="543225" y="1815353"/>
            <a:ext cx="237656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36" name="Text Placeholder 5">
            <a:extLst>
              <a:ext uri="{FF2B5EF4-FFF2-40B4-BE49-F238E27FC236}">
                <a16:creationId xmlns:a16="http://schemas.microsoft.com/office/drawing/2014/main" id="{012E331A-BF46-4F6E-9356-402F5B3A21AA}"/>
              </a:ext>
            </a:extLst>
          </p:cNvPr>
          <p:cNvSpPr>
            <a:spLocks noGrp="1"/>
          </p:cNvSpPr>
          <p:nvPr>
            <p:ph type="body" sz="quarter" idx="11" hasCustomPrompt="1"/>
          </p:nvPr>
        </p:nvSpPr>
        <p:spPr>
          <a:xfrm>
            <a:off x="543225" y="5230180"/>
            <a:ext cx="2376566" cy="149362"/>
          </a:xfrm>
        </p:spPr>
        <p:txBody>
          <a:bodyPr wrap="square" anchor="b" anchorCtr="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sp>
        <p:nvSpPr>
          <p:cNvPr id="41" name="Page Number">
            <a:extLst>
              <a:ext uri="{FF2B5EF4-FFF2-40B4-BE49-F238E27FC236}">
                <a16:creationId xmlns:a16="http://schemas.microsoft.com/office/drawing/2014/main" id="{F36165EE-352C-4AC1-98EF-60E59C280DC8}"/>
              </a:ext>
            </a:extLst>
          </p:cNvPr>
          <p:cNvSpPr txBox="1"/>
          <p:nvPr>
            <p:custDataLst>
              <p:tags r:id="rId4"/>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2" name="Section Footer">
            <a:extLst>
              <a:ext uri="{FF2B5EF4-FFF2-40B4-BE49-F238E27FC236}">
                <a16:creationId xmlns:a16="http://schemas.microsoft.com/office/drawing/2014/main" id="{DFD9E5A5-EA34-4218-A4A4-FD56114AF055}"/>
              </a:ext>
            </a:extLst>
          </p:cNvPr>
          <p:cNvSpPr txBox="1"/>
          <p:nvPr>
            <p:custDataLst>
              <p:tags r:id="rId5"/>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43" name="TextBox 42">
            <a:extLst>
              <a:ext uri="{FF2B5EF4-FFF2-40B4-BE49-F238E27FC236}">
                <a16:creationId xmlns:a16="http://schemas.microsoft.com/office/drawing/2014/main" id="{88601950-F3C4-4D1E-A940-993B2DC79208}"/>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44" name="Straight Connector 43">
            <a:extLst>
              <a:ext uri="{FF2B5EF4-FFF2-40B4-BE49-F238E27FC236}">
                <a16:creationId xmlns:a16="http://schemas.microsoft.com/office/drawing/2014/main" id="{ED043B99-C2CB-4B03-BAF5-2B73C672E9E7}"/>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Draft stamp">
            <a:extLst>
              <a:ext uri="{FF2B5EF4-FFF2-40B4-BE49-F238E27FC236}">
                <a16:creationId xmlns:a16="http://schemas.microsoft.com/office/drawing/2014/main" id="{0C7A3222-0907-4B8B-931D-CDF391F1375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7" name="HeaderTOCPlaceholder"/>
          <p:cNvSpPr txBox="1"/>
          <p:nvPr>
            <p:custDataLst>
              <p:tags r:id="rId7"/>
            </p:custDataLst>
          </p:nvPr>
        </p:nvSpPr>
        <p:spPr>
          <a:xfrm>
            <a:off x="3378647"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13095574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ER: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10906298"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6"/>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7"/>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2" name="Section Header">
            <a:extLst>
              <a:ext uri="{FF2B5EF4-FFF2-40B4-BE49-F238E27FC236}">
                <a16:creationId xmlns:a16="http://schemas.microsoft.com/office/drawing/2014/main" id="{42230C15-E0EF-475B-8C56-8180ED2FC022}"/>
              </a:ext>
            </a:extLst>
          </p:cNvPr>
          <p:cNvSpPr txBox="1"/>
          <p:nvPr>
            <p:custDataLst>
              <p:tags r:id="rId8"/>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39" name="Report Date">
            <a:extLst>
              <a:ext uri="{FF2B5EF4-FFF2-40B4-BE49-F238E27FC236}">
                <a16:creationId xmlns:a16="http://schemas.microsoft.com/office/drawing/2014/main" id="{B66C8374-F5C4-4996-A017-C80027E874A2}"/>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40" name="Page Number">
            <a:extLst>
              <a:ext uri="{FF2B5EF4-FFF2-40B4-BE49-F238E27FC236}">
                <a16:creationId xmlns:a16="http://schemas.microsoft.com/office/drawing/2014/main" id="{00FF76E0-A4C6-4C27-96DB-D6E6C03A892A}"/>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1" name="Presentation Disclaimer">
            <a:extLst>
              <a:ext uri="{FF2B5EF4-FFF2-40B4-BE49-F238E27FC236}">
                <a16:creationId xmlns:a16="http://schemas.microsoft.com/office/drawing/2014/main" id="{08D357CF-2BDC-45D2-B8A1-33CD43A8FB0F}"/>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43" name="Section Footer">
            <a:extLst>
              <a:ext uri="{FF2B5EF4-FFF2-40B4-BE49-F238E27FC236}">
                <a16:creationId xmlns:a16="http://schemas.microsoft.com/office/drawing/2014/main" id="{98D7C6BC-F4A4-4F9C-A8BF-E320D746F028}"/>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44" name="TextBox 43">
            <a:extLst>
              <a:ext uri="{FF2B5EF4-FFF2-40B4-BE49-F238E27FC236}">
                <a16:creationId xmlns:a16="http://schemas.microsoft.com/office/drawing/2014/main" id="{F93993BF-D529-458F-A6DB-FF58DC66AF25}"/>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46" name="Straight Connector 45">
            <a:extLst>
              <a:ext uri="{FF2B5EF4-FFF2-40B4-BE49-F238E27FC236}">
                <a16:creationId xmlns:a16="http://schemas.microsoft.com/office/drawing/2014/main" id="{A69A4775-51B2-49AF-BE77-A2DD117CCF43}"/>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17968DA8-EB16-47EE-839F-ED9A501B8C22}"/>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28043592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ER: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7"/>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8"/>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3" name="Section Header">
            <a:extLst>
              <a:ext uri="{FF2B5EF4-FFF2-40B4-BE49-F238E27FC236}">
                <a16:creationId xmlns:a16="http://schemas.microsoft.com/office/drawing/2014/main" id="{7F444856-1130-46B5-A045-52E1A79FBBD1}"/>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5" name="Report Date">
            <a:extLst>
              <a:ext uri="{FF2B5EF4-FFF2-40B4-BE49-F238E27FC236}">
                <a16:creationId xmlns:a16="http://schemas.microsoft.com/office/drawing/2014/main" id="{B4D96363-5048-42D4-A625-7660951202C5}"/>
              </a:ext>
            </a:extLst>
          </p:cNvPr>
          <p:cNvSpPr txBox="1"/>
          <p:nvPr>
            <p:custDataLst>
              <p:tags r:id="rId10"/>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59EA6C49-2D7E-4FCB-8DA7-C1A79DF7B9BF}"/>
              </a:ext>
            </a:extLst>
          </p:cNvPr>
          <p:cNvSpPr txBox="1"/>
          <p:nvPr>
            <p:custDataLst>
              <p:tags r:id="rId11"/>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2072BD5A-7576-4E0D-976F-209E7B832A29}"/>
              </a:ext>
            </a:extLst>
          </p:cNvPr>
          <p:cNvSpPr txBox="1"/>
          <p:nvPr>
            <p:custDataLst>
              <p:tags r:id="rId12"/>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0698F7A3-ECB8-4459-B242-13A3C3A4C412}"/>
              </a:ext>
            </a:extLst>
          </p:cNvPr>
          <p:cNvSpPr txBox="1"/>
          <p:nvPr>
            <p:custDataLst>
              <p:tags r:id="rId13"/>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A0767C8B-73EA-42B7-9AA5-AE3E0CFA7F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DE701F06-0467-480F-B3C7-DDF18CF6675F}"/>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Draft stamp">
            <a:extLst>
              <a:ext uri="{FF2B5EF4-FFF2-40B4-BE49-F238E27FC236}">
                <a16:creationId xmlns:a16="http://schemas.microsoft.com/office/drawing/2014/main" id="{76E39CD5-987F-43AE-B084-849EE59B5399}"/>
              </a:ext>
            </a:extLst>
          </p:cNvPr>
          <p:cNvSpPr txBox="1"/>
          <p:nvPr>
            <p:custDataLst>
              <p:tags r:id="rId14"/>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26218009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9" name="Report Date">
            <a:extLst>
              <a:ext uri="{FF2B5EF4-FFF2-40B4-BE49-F238E27FC236}">
                <a16:creationId xmlns:a16="http://schemas.microsoft.com/office/drawing/2014/main" id="{64581E60-A0D4-4BC1-823A-2B418E8F2128}"/>
              </a:ext>
            </a:extLst>
          </p:cNvPr>
          <p:cNvSpPr txBox="1"/>
          <p:nvPr>
            <p:custDataLst>
              <p:tags r:id="rId7"/>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30" name="Page Number">
            <a:extLst>
              <a:ext uri="{FF2B5EF4-FFF2-40B4-BE49-F238E27FC236}">
                <a16:creationId xmlns:a16="http://schemas.microsoft.com/office/drawing/2014/main" id="{41779BE8-A4CC-4DAD-B153-54092D7A99B3}"/>
              </a:ext>
            </a:extLst>
          </p:cNvPr>
          <p:cNvSpPr txBox="1"/>
          <p:nvPr>
            <p:custDataLst>
              <p:tags r:id="rId8"/>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31" name="Presentation Disclaimer">
            <a:extLst>
              <a:ext uri="{FF2B5EF4-FFF2-40B4-BE49-F238E27FC236}">
                <a16:creationId xmlns:a16="http://schemas.microsoft.com/office/drawing/2014/main" id="{3C2E928F-BA23-4F06-9CC3-E08864FB8464}"/>
              </a:ext>
            </a:extLst>
          </p:cNvPr>
          <p:cNvSpPr txBox="1"/>
          <p:nvPr>
            <p:custDataLst>
              <p:tags r:id="rId9"/>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2" name="Section Footer">
            <a:extLst>
              <a:ext uri="{FF2B5EF4-FFF2-40B4-BE49-F238E27FC236}">
                <a16:creationId xmlns:a16="http://schemas.microsoft.com/office/drawing/2014/main" id="{8D2C9B10-5BE7-4AF8-BFF8-A3046EC4F941}"/>
              </a:ext>
            </a:extLst>
          </p:cNvPr>
          <p:cNvSpPr txBox="1"/>
          <p:nvPr>
            <p:custDataLst>
              <p:tags r:id="rId10"/>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3" name="TextBox 32">
            <a:extLst>
              <a:ext uri="{FF2B5EF4-FFF2-40B4-BE49-F238E27FC236}">
                <a16:creationId xmlns:a16="http://schemas.microsoft.com/office/drawing/2014/main" id="{687D8D29-B820-4A31-8280-EFE6F9FA98F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5" name="Straight Connector 34">
            <a:extLst>
              <a:ext uri="{FF2B5EF4-FFF2-40B4-BE49-F238E27FC236}">
                <a16:creationId xmlns:a16="http://schemas.microsoft.com/office/drawing/2014/main" id="{AB44D133-2D16-42A3-A3AD-A385F9C01A0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78228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A8AA2BC8-1024-45CC-9E76-6C0E7A21F6C0}"/>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A89B890D-CBFA-4D2C-BB10-C27690A9929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7CE9966-8074-4152-9D34-F90B6B3C28D5}"/>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FC58C329-4792-4816-A60A-3D2DCE9CA036}"/>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B5AFC1A6-EFD9-4BBD-86EB-FA5F92D972EA}"/>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A55CE69C-839D-427C-8F86-57156ADECE5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32834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ontent: Large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721975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8035637" y="1815353"/>
            <a:ext cx="3506124"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176703B5-D291-496D-B26E-525DA3A36755}"/>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53D88DCA-117D-416D-82D2-2367ED968B27}"/>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D7336B48-3136-4E82-8B16-FBC22E8CAE0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90BED7C2-73F9-48D2-A750-793071C5693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951C7BF0-CFC4-4094-AA1F-87A845BB8958}"/>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72F61651-EB89-48D4-A6DE-27384110A6BB}"/>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F3DD7B9E-30C4-4159-BFEE-77F215166572}"/>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28062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ntent: Two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0" y="1815353"/>
            <a:ext cx="5360787" cy="2084294"/>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42850" y="4042186"/>
            <a:ext cx="5360787"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custDataLst>
              <p:tags r:id="rId3"/>
            </p:custDataLst>
          </p:nvPr>
        </p:nvSpPr>
        <p:spPr>
          <a:xfrm>
            <a:off x="6188364"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4" name="HeaderTOCPlaceholder"/>
          <p:cNvSpPr txBox="1"/>
          <p:nvPr>
            <p:custDataLst>
              <p:tags r:id="rId4"/>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5"/>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5" name="Date/Filepath" hidden="1"/>
          <p:cNvSpPr txBox="1"/>
          <p:nvPr>
            <p:custDataLst>
              <p:tags r:id="rId6"/>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0" name="Slide Tags" hidden="1"/>
          <p:cNvSpPr txBox="1"/>
          <p:nvPr>
            <p:custDataLst>
              <p:tags r:id="rId7"/>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4" name="Draft stamp">
            <a:extLst>
              <a:ext uri="{FF2B5EF4-FFF2-40B4-BE49-F238E27FC236}">
                <a16:creationId xmlns:a16="http://schemas.microsoft.com/office/drawing/2014/main" id="{98F467DD-E508-4793-B8C1-41188C0178BC}"/>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19" name="Report Date">
            <a:extLst>
              <a:ext uri="{FF2B5EF4-FFF2-40B4-BE49-F238E27FC236}">
                <a16:creationId xmlns:a16="http://schemas.microsoft.com/office/drawing/2014/main" id="{BDC234B1-84B0-44C3-BE38-95CEC0CA133D}"/>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1" name="Page Number">
            <a:extLst>
              <a:ext uri="{FF2B5EF4-FFF2-40B4-BE49-F238E27FC236}">
                <a16:creationId xmlns:a16="http://schemas.microsoft.com/office/drawing/2014/main" id="{B4A20242-E44A-4263-95BA-D1D5664EE2C3}"/>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3" name="Presentation Disclaimer">
            <a:extLst>
              <a:ext uri="{FF2B5EF4-FFF2-40B4-BE49-F238E27FC236}">
                <a16:creationId xmlns:a16="http://schemas.microsoft.com/office/drawing/2014/main" id="{885D6D75-46D2-4F31-9186-3D5BFAC2EBA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880E68C9-26BA-4DB5-861B-DC433ABD5EC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FDB6D62A-63C1-496F-864F-F8EA90700F13}"/>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EFA8B007-F8F4-4D8B-B7BA-C35A62369B11}"/>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6785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Four">
    <p:spTree>
      <p:nvGrpSpPr>
        <p:cNvPr id="1" name=""/>
        <p:cNvGrpSpPr/>
        <p:nvPr/>
      </p:nvGrpSpPr>
      <p:grpSpPr>
        <a:xfrm>
          <a:off x="0" y="0"/>
          <a:ext cx="0" cy="0"/>
          <a:chOff x="0" y="0"/>
          <a:chExt cx="0" cy="0"/>
        </a:xfrm>
      </p:grpSpPr>
      <p:sp>
        <p:nvSpPr>
          <p:cNvPr id="53"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nvPr>
        </p:nvSpPr>
        <p:spPr>
          <a:xfrm>
            <a:off x="642851"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nvPr>
        </p:nvSpPr>
        <p:spPr>
          <a:xfrm>
            <a:off x="6184669"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nvPr>
        </p:nvSpPr>
        <p:spPr>
          <a:xfrm>
            <a:off x="642851"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0" name="Content Placeholder 5"/>
          <p:cNvSpPr>
            <a:spLocks noGrp="1"/>
          </p:cNvSpPr>
          <p:nvPr>
            <p:ph sz="quarter" idx="27"/>
          </p:nvPr>
        </p:nvSpPr>
        <p:spPr>
          <a:xfrm>
            <a:off x="6184669"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1"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6"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7"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Report Date">
            <a:extLst>
              <a:ext uri="{FF2B5EF4-FFF2-40B4-BE49-F238E27FC236}">
                <a16:creationId xmlns:a16="http://schemas.microsoft.com/office/drawing/2014/main" id="{C9AC37EA-A51B-4D19-8AFD-D5550BB1DBD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2" name="Page Number">
            <a:extLst>
              <a:ext uri="{FF2B5EF4-FFF2-40B4-BE49-F238E27FC236}">
                <a16:creationId xmlns:a16="http://schemas.microsoft.com/office/drawing/2014/main" id="{D5E4965D-0DB2-40AB-8C54-A02F73111BD4}"/>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D5F1A31-F3C3-4E8D-8EE5-5D802CF63C9C}"/>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8" name="Section Footer">
            <a:extLst>
              <a:ext uri="{FF2B5EF4-FFF2-40B4-BE49-F238E27FC236}">
                <a16:creationId xmlns:a16="http://schemas.microsoft.com/office/drawing/2014/main" id="{386FB611-2223-4501-B9AF-3FF472560856}"/>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6337E43E-8B9E-4332-A613-62823857903C}"/>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B42FC379-8CCB-4D1B-B59F-CD6E374799E5}"/>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2F22AEF7-CCE6-447D-A2ED-AE17E661B936}"/>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28413686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Content: Two top ">
    <p:spTree>
      <p:nvGrpSpPr>
        <p:cNvPr id="1" name=""/>
        <p:cNvGrpSpPr/>
        <p:nvPr/>
      </p:nvGrpSpPr>
      <p:grpSpPr>
        <a:xfrm>
          <a:off x="0" y="0"/>
          <a:ext cx="0" cy="0"/>
          <a:chOff x="0" y="0"/>
          <a:chExt cx="0" cy="0"/>
        </a:xfrm>
      </p:grpSpPr>
      <p:sp>
        <p:nvSpPr>
          <p:cNvPr id="48"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46"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31"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2"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9" name="Content Placeholder 2"/>
          <p:cNvSpPr>
            <a:spLocks noGrp="1"/>
          </p:cNvSpPr>
          <p:nvPr>
            <p:ph sz="quarter" idx="10"/>
            <p:custDataLst>
              <p:tags r:id="rId5"/>
            </p:custDataLst>
          </p:nvPr>
        </p:nvSpPr>
        <p:spPr>
          <a:xfrm>
            <a:off x="642851"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3"/>
          <p:cNvSpPr>
            <a:spLocks noGrp="1"/>
          </p:cNvSpPr>
          <p:nvPr>
            <p:ph sz="quarter" idx="11"/>
            <p:custDataLst>
              <p:tags r:id="rId6"/>
            </p:custDataLst>
          </p:nvPr>
        </p:nvSpPr>
        <p:spPr>
          <a:xfrm>
            <a:off x="6184669"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4"/>
          <p:cNvSpPr>
            <a:spLocks noGrp="1"/>
          </p:cNvSpPr>
          <p:nvPr>
            <p:ph sz="quarter" idx="12"/>
            <p:custDataLst>
              <p:tags r:id="rId7"/>
            </p:custDataLst>
          </p:nvPr>
        </p:nvSpPr>
        <p:spPr>
          <a:xfrm>
            <a:off x="642851" y="4043202"/>
            <a:ext cx="10906298"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Draft stamp">
            <a:extLst>
              <a:ext uri="{FF2B5EF4-FFF2-40B4-BE49-F238E27FC236}">
                <a16:creationId xmlns:a16="http://schemas.microsoft.com/office/drawing/2014/main" id="{E4D3AC3D-FB5C-4056-B3CE-C6F201747179}"/>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0" name="Report Date">
            <a:extLst>
              <a:ext uri="{FF2B5EF4-FFF2-40B4-BE49-F238E27FC236}">
                <a16:creationId xmlns:a16="http://schemas.microsoft.com/office/drawing/2014/main" id="{D8BE6AE2-E4FA-4A4C-9F4A-0801F27EF156}"/>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7" name="Page Number">
            <a:extLst>
              <a:ext uri="{FF2B5EF4-FFF2-40B4-BE49-F238E27FC236}">
                <a16:creationId xmlns:a16="http://schemas.microsoft.com/office/drawing/2014/main" id="{B132AC77-15B7-427D-9EDA-27E044A04CD8}"/>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Presentation Disclaimer">
            <a:extLst>
              <a:ext uri="{FF2B5EF4-FFF2-40B4-BE49-F238E27FC236}">
                <a16:creationId xmlns:a16="http://schemas.microsoft.com/office/drawing/2014/main" id="{C1ACCB47-82D5-446E-80FB-2690A95152B9}"/>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0" name="Section Footer">
            <a:extLst>
              <a:ext uri="{FF2B5EF4-FFF2-40B4-BE49-F238E27FC236}">
                <a16:creationId xmlns:a16="http://schemas.microsoft.com/office/drawing/2014/main" id="{9A254952-4576-4CFE-B61C-9E6180278110}"/>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2" name="TextBox 31">
            <a:extLst>
              <a:ext uri="{FF2B5EF4-FFF2-40B4-BE49-F238E27FC236}">
                <a16:creationId xmlns:a16="http://schemas.microsoft.com/office/drawing/2014/main" id="{2DDE2759-0B78-4BAC-9091-A3898FCC7E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3" name="Straight Connector 32">
            <a:extLst>
              <a:ext uri="{FF2B5EF4-FFF2-40B4-BE49-F238E27FC236}">
                <a16:creationId xmlns:a16="http://schemas.microsoft.com/office/drawing/2014/main" id="{9D178E40-037A-4FB9-9A78-25D7EB7BC066}"/>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1791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Report Date">
            <a:extLst>
              <a:ext uri="{FF2B5EF4-FFF2-40B4-BE49-F238E27FC236}">
                <a16:creationId xmlns:a16="http://schemas.microsoft.com/office/drawing/2014/main" id="{71242622-92E5-4577-9939-C23982B6F01C}"/>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5" name="Page Number">
            <a:extLst>
              <a:ext uri="{FF2B5EF4-FFF2-40B4-BE49-F238E27FC236}">
                <a16:creationId xmlns:a16="http://schemas.microsoft.com/office/drawing/2014/main" id="{7253FE5D-87D6-4F45-BF52-14884C4140B0}"/>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6" name="Presentation Disclaimer">
            <a:extLst>
              <a:ext uri="{FF2B5EF4-FFF2-40B4-BE49-F238E27FC236}">
                <a16:creationId xmlns:a16="http://schemas.microsoft.com/office/drawing/2014/main" id="{2DE48912-752E-4B28-992E-A8018FA045F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7" name="Section Footer">
            <a:extLst>
              <a:ext uri="{FF2B5EF4-FFF2-40B4-BE49-F238E27FC236}">
                <a16:creationId xmlns:a16="http://schemas.microsoft.com/office/drawing/2014/main" id="{24E13DC1-0CD8-4F00-BEB6-8ED480D16571}"/>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9" name="TextBox 28">
            <a:extLst>
              <a:ext uri="{FF2B5EF4-FFF2-40B4-BE49-F238E27FC236}">
                <a16:creationId xmlns:a16="http://schemas.microsoft.com/office/drawing/2014/main" id="{87E1B077-C346-4667-9422-134889A69A8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0" name="Straight Connector 29">
            <a:extLst>
              <a:ext uri="{FF2B5EF4-FFF2-40B4-BE49-F238E27FC236}">
                <a16:creationId xmlns:a16="http://schemas.microsoft.com/office/drawing/2014/main" id="{430B69CA-5FCE-4A4A-B144-701CC8BBBE64}"/>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Draft stamp">
            <a:extLst>
              <a:ext uri="{FF2B5EF4-FFF2-40B4-BE49-F238E27FC236}">
                <a16:creationId xmlns:a16="http://schemas.microsoft.com/office/drawing/2014/main" id="{8BA4733D-DD24-4E66-AB15-27D0B8AA9EB2}"/>
              </a:ext>
            </a:extLst>
          </p:cNvPr>
          <p:cNvSpPr txBox="1"/>
          <p:nvPr>
            <p:custDataLst>
              <p:tags r:id="rId1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7509757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ontent: Four">
    <p:spTree>
      <p:nvGrpSpPr>
        <p:cNvPr id="1" name=""/>
        <p:cNvGrpSpPr/>
        <p:nvPr/>
      </p:nvGrpSpPr>
      <p:grpSpPr>
        <a:xfrm>
          <a:off x="0" y="0"/>
          <a:ext cx="0" cy="0"/>
          <a:chOff x="0" y="0"/>
          <a:chExt cx="0" cy="0"/>
        </a:xfrm>
      </p:grpSpPr>
      <p:sp>
        <p:nvSpPr>
          <p:cNvPr id="53"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nvPr>
        </p:nvSpPr>
        <p:spPr>
          <a:xfrm>
            <a:off x="642851"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nvPr>
        </p:nvSpPr>
        <p:spPr>
          <a:xfrm>
            <a:off x="6184669"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nvPr>
        </p:nvSpPr>
        <p:spPr>
          <a:xfrm>
            <a:off x="642851"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0" name="Content Placeholder 5"/>
          <p:cNvSpPr>
            <a:spLocks noGrp="1"/>
          </p:cNvSpPr>
          <p:nvPr>
            <p:ph sz="quarter" idx="27"/>
          </p:nvPr>
        </p:nvSpPr>
        <p:spPr>
          <a:xfrm>
            <a:off x="6184669"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1"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6"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7"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Report Date">
            <a:extLst>
              <a:ext uri="{FF2B5EF4-FFF2-40B4-BE49-F238E27FC236}">
                <a16:creationId xmlns:a16="http://schemas.microsoft.com/office/drawing/2014/main" id="{C9AC37EA-A51B-4D19-8AFD-D5550BB1DBD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2" name="Page Number">
            <a:extLst>
              <a:ext uri="{FF2B5EF4-FFF2-40B4-BE49-F238E27FC236}">
                <a16:creationId xmlns:a16="http://schemas.microsoft.com/office/drawing/2014/main" id="{D5E4965D-0DB2-40AB-8C54-A02F73111BD4}"/>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D5F1A31-F3C3-4E8D-8EE5-5D802CF63C9C}"/>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8" name="Section Footer">
            <a:extLst>
              <a:ext uri="{FF2B5EF4-FFF2-40B4-BE49-F238E27FC236}">
                <a16:creationId xmlns:a16="http://schemas.microsoft.com/office/drawing/2014/main" id="{386FB611-2223-4501-B9AF-3FF472560856}"/>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6337E43E-8B9E-4332-A613-62823857903C}"/>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B42FC379-8CCB-4D1B-B59F-CD6E374799E5}"/>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2F22AEF7-CCE6-447D-A2ED-AE17E661B936}"/>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9713554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p:custDataLst>
              <p:tags r:id="rId1"/>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5"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7532982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ntent: Title Only ">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12"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8"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32485393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ntent: Header Footer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p>
        </p:txBody>
      </p:sp>
      <p:sp>
        <p:nvSpPr>
          <p:cNvPr id="6"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878B0EBC-141B-4C4F-A362-F528990FC2B7}"/>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5" name="Page Number">
            <a:extLst>
              <a:ext uri="{FF2B5EF4-FFF2-40B4-BE49-F238E27FC236}">
                <a16:creationId xmlns:a16="http://schemas.microsoft.com/office/drawing/2014/main" id="{C9163938-2785-4D1F-BF6D-38BF33DF9B97}"/>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6" name="Presentation Disclaimer">
            <a:extLst>
              <a:ext uri="{FF2B5EF4-FFF2-40B4-BE49-F238E27FC236}">
                <a16:creationId xmlns:a16="http://schemas.microsoft.com/office/drawing/2014/main" id="{C7F05687-DF8A-4343-AC91-BC2675AFB87E}"/>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3" name="Section Footer">
            <a:extLst>
              <a:ext uri="{FF2B5EF4-FFF2-40B4-BE49-F238E27FC236}">
                <a16:creationId xmlns:a16="http://schemas.microsoft.com/office/drawing/2014/main" id="{DED794C3-4383-43AC-902C-5A450186D193}"/>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4" name="TextBox 23">
            <a:extLst>
              <a:ext uri="{FF2B5EF4-FFF2-40B4-BE49-F238E27FC236}">
                <a16:creationId xmlns:a16="http://schemas.microsoft.com/office/drawing/2014/main" id="{964F52D2-7367-4B0E-9D2D-29AFCA9CD2C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5" name="Straight Connector 24">
            <a:extLst>
              <a:ext uri="{FF2B5EF4-FFF2-40B4-BE49-F238E27FC236}">
                <a16:creationId xmlns:a16="http://schemas.microsoft.com/office/drawing/2014/main" id="{9F7E5360-4F8D-4FCD-B7AC-F798EC35A7A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Draft stamp">
            <a:extLst>
              <a:ext uri="{FF2B5EF4-FFF2-40B4-BE49-F238E27FC236}">
                <a16:creationId xmlns:a16="http://schemas.microsoft.com/office/drawing/2014/main" id="{1DF6D7B6-5867-4B92-8FBA-C62AA2356B05}"/>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1403359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Intro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6"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EA7A290B-C63D-405E-8ACC-CE7A7042C432}"/>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8" name="Page Number">
            <a:extLst>
              <a:ext uri="{FF2B5EF4-FFF2-40B4-BE49-F238E27FC236}">
                <a16:creationId xmlns:a16="http://schemas.microsoft.com/office/drawing/2014/main" id="{A58703A6-1313-434F-9F41-5C0717B2C451}"/>
              </a:ext>
            </a:extLst>
          </p:cNvPr>
          <p:cNvSpPr txBox="1"/>
          <p:nvPr>
            <p:custDataLst>
              <p:tags r:id="rId5"/>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9" name="Presentation Disclaimer">
            <a:extLst>
              <a:ext uri="{FF2B5EF4-FFF2-40B4-BE49-F238E27FC236}">
                <a16:creationId xmlns:a16="http://schemas.microsoft.com/office/drawing/2014/main" id="{FEED1EAE-54DA-4BFE-B8AA-01FAFBE1ABE8}"/>
              </a:ext>
            </a:extLst>
          </p:cNvPr>
          <p:cNvSpPr txBox="1"/>
          <p:nvPr>
            <p:custDataLst>
              <p:tags r:id="rId6"/>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1" name="Section Footer">
            <a:extLst>
              <a:ext uri="{FF2B5EF4-FFF2-40B4-BE49-F238E27FC236}">
                <a16:creationId xmlns:a16="http://schemas.microsoft.com/office/drawing/2014/main" id="{F1847CC5-B1D1-4474-9C3E-39FBF238FC90}"/>
              </a:ext>
            </a:extLst>
          </p:cNvPr>
          <p:cNvSpPr txBox="1"/>
          <p:nvPr>
            <p:custDataLst>
              <p:tags r:id="rId7"/>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3" name="TextBox 22">
            <a:extLst>
              <a:ext uri="{FF2B5EF4-FFF2-40B4-BE49-F238E27FC236}">
                <a16:creationId xmlns:a16="http://schemas.microsoft.com/office/drawing/2014/main" id="{82891E66-7DDE-4707-BC15-833A2E60B93F}"/>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4" name="Straight Connector 23">
            <a:extLst>
              <a:ext uri="{FF2B5EF4-FFF2-40B4-BE49-F238E27FC236}">
                <a16:creationId xmlns:a16="http://schemas.microsoft.com/office/drawing/2014/main" id="{E939BE09-0D2C-4954-8138-608BE1226AD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Draft stamp">
            <a:extLst>
              <a:ext uri="{FF2B5EF4-FFF2-40B4-BE49-F238E27FC236}">
                <a16:creationId xmlns:a16="http://schemas.microsoft.com/office/drawing/2014/main" id="{6C4C93B2-A619-441E-B329-F1D1D1339EBD}"/>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334267934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At a Glance ">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3513513"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At a glanc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Content Placeholder 2">
            <a:extLst>
              <a:ext uri="{FF2B5EF4-FFF2-40B4-BE49-F238E27FC236}">
                <a16:creationId xmlns:a16="http://schemas.microsoft.com/office/drawing/2014/main" id="{3EFFD349-10E5-48CF-8A59-EF1555B521B2}"/>
              </a:ext>
            </a:extLst>
          </p:cNvPr>
          <p:cNvSpPr>
            <a:spLocks noGrp="1"/>
          </p:cNvSpPr>
          <p:nvPr>
            <p:ph sz="quarter" idx="27" hasCustomPrompt="1"/>
            <p:custDataLst>
              <p:tags r:id="rId8"/>
            </p:custDataLst>
          </p:nvPr>
        </p:nvSpPr>
        <p:spPr>
          <a:xfrm>
            <a:off x="4339244" y="949817"/>
            <a:ext cx="7209905" cy="742278"/>
          </a:xfrm>
        </p:spPr>
        <p:txBody>
          <a:bodyPr tIns="0" bIns="0"/>
          <a:lstStyle>
            <a:lvl1pPr>
              <a:defRPr sz="882" b="1" i="0">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25" name="Report Date">
            <a:extLst>
              <a:ext uri="{FF2B5EF4-FFF2-40B4-BE49-F238E27FC236}">
                <a16:creationId xmlns:a16="http://schemas.microsoft.com/office/drawing/2014/main" id="{0665A064-6277-415D-A60B-2C406E27F0A5}"/>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3E3BCC40-17E6-40CE-86FB-031964A7D935}"/>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E93B3E1C-A734-4BF7-8D8A-7ABE20B0541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EAB395CC-B6E8-411B-AD9B-E9D9855FB07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34D888D0-1439-411F-967C-CAA5F572B50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8D75FF6B-0198-42AD-B231-B2AA3F0AE8FC}"/>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Draft stamp">
            <a:extLst>
              <a:ext uri="{FF2B5EF4-FFF2-40B4-BE49-F238E27FC236}">
                <a16:creationId xmlns:a16="http://schemas.microsoft.com/office/drawing/2014/main" id="{E209326F-C152-4F60-A83B-88FAC2D99544}"/>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92110882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Glossary">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Glossary</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BCDE7FFC-7693-4723-B753-B6E41BB1B5EA}"/>
              </a:ext>
            </a:extLst>
          </p:cNvPr>
          <p:cNvSpPr txBox="1"/>
          <p:nvPr>
            <p:custDataLst>
              <p:tags r:id="rId6"/>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3" name="Page Number">
            <a:extLst>
              <a:ext uri="{FF2B5EF4-FFF2-40B4-BE49-F238E27FC236}">
                <a16:creationId xmlns:a16="http://schemas.microsoft.com/office/drawing/2014/main" id="{48686681-E6DE-42F4-A1DD-218D21E6C1AC}"/>
              </a:ext>
            </a:extLst>
          </p:cNvPr>
          <p:cNvSpPr txBox="1"/>
          <p:nvPr>
            <p:custDataLst>
              <p:tags r:id="rId7"/>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4" name="Presentation Disclaimer">
            <a:extLst>
              <a:ext uri="{FF2B5EF4-FFF2-40B4-BE49-F238E27FC236}">
                <a16:creationId xmlns:a16="http://schemas.microsoft.com/office/drawing/2014/main" id="{3DD43CF5-DB97-4C55-B532-40D00A448FDC}"/>
              </a:ext>
            </a:extLst>
          </p:cNvPr>
          <p:cNvSpPr txBox="1"/>
          <p:nvPr>
            <p:custDataLst>
              <p:tags r:id="rId8"/>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5" name="Section Footer">
            <a:extLst>
              <a:ext uri="{FF2B5EF4-FFF2-40B4-BE49-F238E27FC236}">
                <a16:creationId xmlns:a16="http://schemas.microsoft.com/office/drawing/2014/main" id="{21726509-E513-4245-AE69-0956E3B47115}"/>
              </a:ext>
            </a:extLst>
          </p:cNvPr>
          <p:cNvSpPr txBox="1"/>
          <p:nvPr>
            <p:custDataLst>
              <p:tags r:id="rId9"/>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6" name="TextBox 25">
            <a:extLst>
              <a:ext uri="{FF2B5EF4-FFF2-40B4-BE49-F238E27FC236}">
                <a16:creationId xmlns:a16="http://schemas.microsoft.com/office/drawing/2014/main" id="{A174265E-D6B4-4307-BBAE-41A376249A96}"/>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7" name="Straight Connector 26">
            <a:extLst>
              <a:ext uri="{FF2B5EF4-FFF2-40B4-BE49-F238E27FC236}">
                <a16:creationId xmlns:a16="http://schemas.microsoft.com/office/drawing/2014/main" id="{62174D3C-422F-4C24-91E7-4C14614D41BB}"/>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Draft stamp">
            <a:extLst>
              <a:ext uri="{FF2B5EF4-FFF2-40B4-BE49-F238E27FC236}">
                <a16:creationId xmlns:a16="http://schemas.microsoft.com/office/drawing/2014/main" id="{B9EC7613-0765-4C3E-A317-ECEF6A7225CE}"/>
              </a:ext>
            </a:extLst>
          </p:cNvPr>
          <p:cNvSpPr txBox="1"/>
          <p:nvPr>
            <p:custDataLst>
              <p:tags r:id="rId10"/>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883660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accent1"/>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6"/>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4FBEF6FA-A0C7-46EC-AFF5-9AFA4782851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B864BC2B-A74D-467D-99EB-1EE062BBD3CF}"/>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14075855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p:custDataLst>
              <p:tags r:id="rId1"/>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5"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13569857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Divider 1">
    <p:bg>
      <p:bgPr>
        <a:solidFill>
          <a:schemeClr val="accent6"/>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1"/>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0E108681-ED46-4FCD-AF9B-B0F12DB82361}"/>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9FB0E485-E0C8-4B7D-BB20-D326D12F239D}"/>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188231175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ppendix Divider">
    <p:bg>
      <p:bgPr>
        <a:solidFill>
          <a:schemeClr val="accent1"/>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6"/>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784D724-50E8-40C9-83D5-3D08BB1550D7}"/>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DB77E1-10C5-41A7-B534-2D41309DC8D7}"/>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42603935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ppendix Divider 1">
    <p:bg>
      <p:bgPr>
        <a:solidFill>
          <a:schemeClr val="accent6"/>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4"/>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2C19DD9-BA46-4527-91D3-9377718D0CB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1998C4-AD53-42B5-93F1-BC4AA20A5246}"/>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216506230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09600" y="457200"/>
            <a:ext cx="5309062" cy="2517289"/>
          </a:xfrm>
        </p:spPr>
        <p:txBody>
          <a:bodyPr vert="horz" lIns="0" tIns="0" rIns="0" bIns="0" rtlCol="0" anchor="b" anchorCtr="0">
            <a:noAutofit/>
          </a:bodyPr>
          <a:lstStyle>
            <a:lvl1pPr algn="l" defTabSz="899010" rtl="0" eaLnBrk="1" latinLnBrk="0" hangingPunct="1">
              <a:spcBef>
                <a:spcPct val="0"/>
              </a:spcBef>
              <a:buNone/>
              <a:defRPr lang="en-GB" sz="4236"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Thank you</a:t>
            </a:r>
            <a:endParaRPr lang="en-GB"/>
          </a:p>
        </p:txBody>
      </p:sp>
      <p:sp>
        <p:nvSpPr>
          <p:cNvPr id="8" name="Slide Tags" hidden="1"/>
          <p:cNvSpPr txBox="1"/>
          <p:nvPr>
            <p:custDataLst>
              <p:tags r:id="rId1"/>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5" name="Rectangle 4">
            <a:extLst>
              <a:ext uri="{FF2B5EF4-FFF2-40B4-BE49-F238E27FC236}">
                <a16:creationId xmlns:a16="http://schemas.microsoft.com/office/drawing/2014/main" id="{AAF4687C-57A8-453A-A049-0D4DDFEA3263}"/>
              </a:ext>
            </a:extLst>
          </p:cNvPr>
          <p:cNvSpPr/>
          <p:nvPr/>
        </p:nvSpPr>
        <p:spPr bwMode="hidden">
          <a:xfrm>
            <a:off x="0" y="4940855"/>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10"/>
          </a:p>
        </p:txBody>
      </p:sp>
      <p:sp>
        <p:nvSpPr>
          <p:cNvPr id="3" name="Text Placeholder 2">
            <a:extLst>
              <a:ext uri="{FF2B5EF4-FFF2-40B4-BE49-F238E27FC236}">
                <a16:creationId xmlns:a16="http://schemas.microsoft.com/office/drawing/2014/main" id="{41C2BBAF-6A4B-47CB-BD75-5168D1A27556}"/>
              </a:ext>
            </a:extLst>
          </p:cNvPr>
          <p:cNvSpPr>
            <a:spLocks noGrp="1"/>
          </p:cNvSpPr>
          <p:nvPr>
            <p:ph type="body" sz="quarter" idx="10" hasCustomPrompt="1"/>
          </p:nvPr>
        </p:nvSpPr>
        <p:spPr>
          <a:xfrm>
            <a:off x="609600" y="5212080"/>
            <a:ext cx="10906298" cy="13716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gal]</a:t>
            </a:r>
          </a:p>
        </p:txBody>
      </p:sp>
    </p:spTree>
    <p:extLst>
      <p:ext uri="{BB962C8B-B14F-4D97-AF65-F5344CB8AC3E}">
        <p14:creationId xmlns:p14="http://schemas.microsoft.com/office/powerpoint/2010/main" val="6081691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15" name="Picture Placeholder 9">
            <a:extLst>
              <a:ext uri="{FF2B5EF4-FFF2-40B4-BE49-F238E27FC236}">
                <a16:creationId xmlns:a16="http://schemas.microsoft.com/office/drawing/2014/main" id="{88EEE73C-8877-43D1-86A9-69E953630E6B}"/>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2" name="Freeform: Shape 11">
            <a:extLst>
              <a:ext uri="{FF2B5EF4-FFF2-40B4-BE49-F238E27FC236}">
                <a16:creationId xmlns:a16="http://schemas.microsoft.com/office/drawing/2014/main" id="{12869856-6182-4B8D-938C-EBFCD02C87F2}"/>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179773553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12" name="Picture Placeholder 9">
            <a:extLst>
              <a:ext uri="{FF2B5EF4-FFF2-40B4-BE49-F238E27FC236}">
                <a16:creationId xmlns:a16="http://schemas.microsoft.com/office/drawing/2014/main" id="{627FAFAA-285F-4945-A3A2-666A8A502E15}"/>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5" name="Freeform: Shape 14">
            <a:extLst>
              <a:ext uri="{FF2B5EF4-FFF2-40B4-BE49-F238E27FC236}">
                <a16:creationId xmlns:a16="http://schemas.microsoft.com/office/drawing/2014/main" id="{575F215B-4184-4392-9C86-1A188FA31F05}"/>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4" name="Picture 13">
            <a:extLst>
              <a:ext uri="{FF2B5EF4-FFF2-40B4-BE49-F238E27FC236}">
                <a16:creationId xmlns:a16="http://schemas.microsoft.com/office/drawing/2014/main" id="{5D160942-482E-4DB8-A58E-71FBEDE7727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11" name="Report Title">
            <a:extLst>
              <a:ext uri="{FF2B5EF4-FFF2-40B4-BE49-F238E27FC236}">
                <a16:creationId xmlns:a16="http://schemas.microsoft.com/office/drawing/2014/main" id="{12C0EFB5-DB4A-44B7-BEB6-50F77D1D323D}"/>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2EEB4B15-EBE2-4CC7-87E7-CF12291C9A89}"/>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6" name="Confidentiality Stamp">
            <a:extLst>
              <a:ext uri="{FF2B5EF4-FFF2-40B4-BE49-F238E27FC236}">
                <a16:creationId xmlns:a16="http://schemas.microsoft.com/office/drawing/2014/main" id="{BB6F76BA-CA5E-46B1-A4FE-A04494BA1F41}"/>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7" name="Draft Stamp">
            <a:extLst>
              <a:ext uri="{FF2B5EF4-FFF2-40B4-BE49-F238E27FC236}">
                <a16:creationId xmlns:a16="http://schemas.microsoft.com/office/drawing/2014/main" id="{FD086E63-2C7B-45FF-B665-56AD61AC323A}"/>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18" name="Report Date">
            <a:extLst>
              <a:ext uri="{FF2B5EF4-FFF2-40B4-BE49-F238E27FC236}">
                <a16:creationId xmlns:a16="http://schemas.microsoft.com/office/drawing/2014/main" id="{2093D07F-E838-4E22-A6DD-E50DBC55755D}"/>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185774721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accent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7"/>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253040987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tle Slide 2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a:solidFill>
            <a:schemeClr val="accent6"/>
          </a:solidFill>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a:grpFill/>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40020415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tle Slide 3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157795046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GB"/>
              <a:t>Click icon to add picture</a:t>
            </a:r>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a:t>[Presentation title]</a:t>
            </a:r>
            <a:endParaRPr lang="en-GB"/>
          </a:p>
        </p:txBody>
      </p:sp>
    </p:spTree>
    <p:extLst>
      <p:ext uri="{BB962C8B-B14F-4D97-AF65-F5344CB8AC3E}">
        <p14:creationId xmlns:p14="http://schemas.microsoft.com/office/powerpoint/2010/main" val="31603605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Title Only ">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12"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8"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260817396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484C0D-6176-452F-9734-BCF5DF2748D2}"/>
              </a:ext>
            </a:extLst>
          </p:cNvPr>
          <p:cNvGraphicFramePr>
            <a:graphicFrameLocks noChangeAspect="1"/>
          </p:cNvGraphicFramePr>
          <p:nvPr userDrawn="1">
            <p:custDataLst>
              <p:tags r:id="rId1"/>
            </p:custDataLst>
            <p:extLst>
              <p:ext uri="{D42A27DB-BD31-4B8C-83A1-F6EECF244321}">
                <p14:modId xmlns:p14="http://schemas.microsoft.com/office/powerpoint/2010/main" val="402867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2" name="Object 1" hidden="1">
                        <a:extLst>
                          <a:ext uri="{FF2B5EF4-FFF2-40B4-BE49-F238E27FC236}">
                            <a16:creationId xmlns:a16="http://schemas.microsoft.com/office/drawing/2014/main" id="{23484C0D-6176-452F-9734-BCF5DF2748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Google Shape;24;p12"/>
          <p:cNvSpPr txBox="1">
            <a:spLocks noGrp="1"/>
          </p:cNvSpPr>
          <p:nvPr>
            <p:ph type="title"/>
          </p:nvPr>
        </p:nvSpPr>
        <p:spPr>
          <a:xfrm>
            <a:off x="442913" y="274544"/>
            <a:ext cx="11306175" cy="43088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dk1"/>
              </a:buClr>
              <a:buSzPts val="2400"/>
              <a:buFont typeface="Georgia"/>
              <a:buNone/>
              <a:defRPr sz="2800">
                <a:solidFill>
                  <a:schemeClr val="tx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 name="Google Shape;75;p2">
            <a:extLst>
              <a:ext uri="{FF2B5EF4-FFF2-40B4-BE49-F238E27FC236}">
                <a16:creationId xmlns:a16="http://schemas.microsoft.com/office/drawing/2014/main" id="{15733BA1-7A19-46BC-94D4-AA73D5B54FD6}"/>
              </a:ext>
            </a:extLst>
          </p:cNvPr>
          <p:cNvSpPr txBox="1">
            <a:spLocks noGrp="1"/>
          </p:cNvSpPr>
          <p:nvPr>
            <p:ph type="sldNum" idx="12"/>
          </p:nvPr>
        </p:nvSpPr>
        <p:spPr>
          <a:xfrm>
            <a:off x="9984296" y="6492240"/>
            <a:ext cx="1764792" cy="137160"/>
          </a:xfrm>
        </p:spPr>
        <p:txBody>
          <a:bodyPr/>
          <a:lstStyle/>
          <a:p>
            <a:pPr lvl="0"/>
            <a:fld id="{00000000-1234-1234-1234-123412341234}" type="slidenum">
              <a:rPr lang="en-US"/>
              <a:pPr lvl="0"/>
              <a:t>‹#›</a:t>
            </a:fld>
            <a:endParaRPr lang="en-US"/>
          </a:p>
        </p:txBody>
      </p:sp>
      <p:sp>
        <p:nvSpPr>
          <p:cNvPr id="9" name="Google Shape;76;p2">
            <a:extLst>
              <a:ext uri="{FF2B5EF4-FFF2-40B4-BE49-F238E27FC236}">
                <a16:creationId xmlns:a16="http://schemas.microsoft.com/office/drawing/2014/main" id="{F90358ED-B9E4-4B7A-98F8-7ED4D7F4D258}"/>
              </a:ext>
            </a:extLst>
          </p:cNvPr>
          <p:cNvSpPr txBox="1">
            <a:spLocks noGrp="1"/>
          </p:cNvSpPr>
          <p:nvPr>
            <p:ph type="dt" idx="10"/>
          </p:nvPr>
        </p:nvSpPr>
        <p:spPr>
          <a:xfrm>
            <a:off x="9753600" y="6492240"/>
            <a:ext cx="1764792" cy="13716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r>
              <a:rPr lang="en-US"/>
              <a:t>Sep 23</a:t>
            </a:r>
            <a:endParaRPr/>
          </a:p>
        </p:txBody>
      </p:sp>
      <p:cxnSp>
        <p:nvCxnSpPr>
          <p:cNvPr id="12" name="Straight Connector 11">
            <a:extLst>
              <a:ext uri="{FF2B5EF4-FFF2-40B4-BE49-F238E27FC236}">
                <a16:creationId xmlns:a16="http://schemas.microsoft.com/office/drawing/2014/main" id="{96FDEDB9-2304-493D-BD8E-B70153449AC3}"/>
              </a:ext>
            </a:extLst>
          </p:cNvPr>
          <p:cNvCxnSpPr>
            <a:cxnSpLocks/>
          </p:cNvCxnSpPr>
          <p:nvPr userDrawn="1"/>
        </p:nvCxnSpPr>
        <p:spPr>
          <a:xfrm>
            <a:off x="0" y="1110482"/>
            <a:ext cx="12192000" cy="0"/>
          </a:xfrm>
          <a:prstGeom prst="line">
            <a:avLst/>
          </a:prstGeom>
          <a:ln w="254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C9CF0553-8850-4340-B496-AF2A4B7C163E}"/>
              </a:ext>
            </a:extLst>
          </p:cNvPr>
          <p:cNvGrpSpPr/>
          <p:nvPr userDrawn="1"/>
        </p:nvGrpSpPr>
        <p:grpSpPr>
          <a:xfrm>
            <a:off x="11163300" y="1028412"/>
            <a:ext cx="591246" cy="164140"/>
            <a:chOff x="10705057" y="974091"/>
            <a:chExt cx="935189" cy="259624"/>
          </a:xfrm>
        </p:grpSpPr>
        <p:sp>
          <p:nvSpPr>
            <p:cNvPr id="14" name="Oval 13">
              <a:extLst>
                <a:ext uri="{FF2B5EF4-FFF2-40B4-BE49-F238E27FC236}">
                  <a16:creationId xmlns:a16="http://schemas.microsoft.com/office/drawing/2014/main" id="{53F50E06-3BA3-45B0-872E-2A68E4020100}"/>
                </a:ext>
              </a:extLst>
            </p:cNvPr>
            <p:cNvSpPr/>
            <p:nvPr userDrawn="1"/>
          </p:nvSpPr>
          <p:spPr>
            <a:xfrm>
              <a:off x="10705057" y="974091"/>
              <a:ext cx="260263" cy="2596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ABE8DA4A-B361-4FAD-A5A6-ADCCEEE72520}"/>
                </a:ext>
              </a:extLst>
            </p:cNvPr>
            <p:cNvSpPr/>
            <p:nvPr userDrawn="1"/>
          </p:nvSpPr>
          <p:spPr>
            <a:xfrm>
              <a:off x="11042520" y="974091"/>
              <a:ext cx="260263" cy="2596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7A4F0084-564A-428C-A03F-C139E2F54A41}"/>
                </a:ext>
              </a:extLst>
            </p:cNvPr>
            <p:cNvSpPr/>
            <p:nvPr userDrawn="1"/>
          </p:nvSpPr>
          <p:spPr>
            <a:xfrm>
              <a:off x="11379983" y="974091"/>
              <a:ext cx="260263" cy="2596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3349320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F55A2-2C43-4003-B7DB-BB2BA8FD1AC6}"/>
              </a:ext>
            </a:extLst>
          </p:cNvPr>
          <p:cNvGraphicFramePr>
            <a:graphicFrameLocks noChangeAspect="1"/>
          </p:cNvGraphicFramePr>
          <p:nvPr userDrawn="1">
            <p:custDataLst>
              <p:tags r:id="rId1"/>
            </p:custDataLst>
            <p:extLst>
              <p:ext uri="{D42A27DB-BD31-4B8C-83A1-F6EECF244321}">
                <p14:modId xmlns:p14="http://schemas.microsoft.com/office/powerpoint/2010/main" val="83588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E5AF55A2-2C43-4003-B7DB-BB2BA8FD1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spcAft>
                <a:spcPts val="1200"/>
              </a:spcAft>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hasCustomPrompt="1"/>
          </p:nvPr>
        </p:nvSpPr>
        <p:spPr>
          <a:xfrm>
            <a:off x="442913" y="3693523"/>
            <a:ext cx="5473700" cy="594360"/>
          </a:xfrm>
        </p:spPr>
        <p:txBody>
          <a:bodyPr anchor="ctr"/>
          <a:lstStyle>
            <a:lvl1pPr marL="0" indent="0" algn="l">
              <a:lnSpc>
                <a:spcPct val="100000"/>
              </a:lnSpc>
              <a:spcBef>
                <a:spcPts val="0"/>
              </a:spcBef>
              <a:spcAft>
                <a:spcPts val="60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16" name="Rectangle 15">
            <a:extLst>
              <a:ext uri="{FF2B5EF4-FFF2-40B4-BE49-F238E27FC236}">
                <a16:creationId xmlns:a16="http://schemas.microsoft.com/office/drawing/2014/main" id="{C9AE8A82-226D-458A-B26F-C73B563AC241}"/>
              </a:ext>
            </a:extLst>
          </p:cNvPr>
          <p:cNvSpPr/>
          <p:nvPr userDrawn="1"/>
        </p:nvSpPr>
        <p:spPr>
          <a:xfrm rot="5400000">
            <a:off x="2605770" y="3352800"/>
            <a:ext cx="6858000" cy="1524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82786565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F55A2-2C43-4003-B7DB-BB2BA8FD1AC6}"/>
              </a:ext>
            </a:extLst>
          </p:cNvPr>
          <p:cNvGraphicFramePr>
            <a:graphicFrameLocks noChangeAspect="1"/>
          </p:cNvGraphicFramePr>
          <p:nvPr userDrawn="1">
            <p:custDataLst>
              <p:tags r:id="rId1"/>
            </p:custDataLst>
            <p:extLst>
              <p:ext uri="{D42A27DB-BD31-4B8C-83A1-F6EECF244321}">
                <p14:modId xmlns:p14="http://schemas.microsoft.com/office/powerpoint/2010/main" val="83588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E5AF55A2-2C43-4003-B7DB-BB2BA8FD1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spcAft>
                <a:spcPts val="1200"/>
              </a:spcAft>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497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4978400"/>
            <a:ext cx="6096000" cy="18796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hasCustomPrompt="1"/>
          </p:nvPr>
        </p:nvSpPr>
        <p:spPr>
          <a:xfrm>
            <a:off x="442913" y="3693523"/>
            <a:ext cx="5473700" cy="594360"/>
          </a:xfrm>
        </p:spPr>
        <p:txBody>
          <a:bodyPr anchor="ctr"/>
          <a:lstStyle>
            <a:lvl1pPr marL="0" indent="0" algn="l">
              <a:lnSpc>
                <a:spcPct val="100000"/>
              </a:lnSpc>
              <a:spcBef>
                <a:spcPts val="0"/>
              </a:spcBef>
              <a:spcAft>
                <a:spcPts val="60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78473964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1_Quote 1 Image Orange">
    <p:bg>
      <p:bgPr>
        <a:solidFill>
          <a:schemeClr val="accent6"/>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F37D7A94-5169-4B57-B053-68AF3C9AE503}"/>
              </a:ext>
            </a:extLst>
          </p:cNvPr>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GB"/>
              <a:t>Click icon to add picture</a:t>
            </a:r>
          </a:p>
        </p:txBody>
      </p:sp>
      <p:sp>
        <p:nvSpPr>
          <p:cNvPr id="4" name="Rectangle 3">
            <a:extLst>
              <a:ext uri="{FF2B5EF4-FFF2-40B4-BE49-F238E27FC236}">
                <a16:creationId xmlns:a16="http://schemas.microsoft.com/office/drawing/2014/main" id="{3BDB9795-14DB-4611-A356-F1F92FE05ED1}"/>
              </a:ext>
            </a:extLst>
          </p:cNvPr>
          <p:cNvSpPr/>
          <p:nvPr userDrawn="1"/>
        </p:nvSpPr>
        <p:spPr>
          <a:xfrm>
            <a:off x="0" y="1111250"/>
            <a:ext cx="6095999" cy="46355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92155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GB"/>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Date Placeholder 7">
            <a:extLst>
              <a:ext uri="{FF2B5EF4-FFF2-40B4-BE49-F238E27FC236}">
                <a16:creationId xmlns:a16="http://schemas.microsoft.com/office/drawing/2014/main" id="{08C77347-C792-41EE-BAB8-07B37B9B5F0A}"/>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US"/>
              <a:t>Sep 23</a:t>
            </a:r>
          </a:p>
        </p:txBody>
      </p:sp>
      <p:sp>
        <p:nvSpPr>
          <p:cNvPr id="9" name="Footer Placeholder 8">
            <a:extLst>
              <a:ext uri="{FF2B5EF4-FFF2-40B4-BE49-F238E27FC236}">
                <a16:creationId xmlns:a16="http://schemas.microsoft.com/office/drawing/2014/main" id="{1855CA0F-B925-4009-AFC7-2C64D81F36C5}"/>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r>
              <a:rPr lang="en-US"/>
              <a:t>Prefeasibility study for establishment of ICIC under STKEC</a:t>
            </a:r>
          </a:p>
        </p:txBody>
      </p:sp>
      <p:sp>
        <p:nvSpPr>
          <p:cNvPr id="10" name="Slide Number Placeholder 9">
            <a:extLst>
              <a:ext uri="{FF2B5EF4-FFF2-40B4-BE49-F238E27FC236}">
                <a16:creationId xmlns:a16="http://schemas.microsoft.com/office/drawing/2014/main" id="{5FBE9ADE-3F54-4820-9478-1C0D6A253293}"/>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1537D5A3-B672-4852-AC41-91EB6B6297EE}" type="slidenum">
              <a:rPr lang="en-US" smtClean="0"/>
              <a:pPr/>
              <a:t>‹#›</a:t>
            </a:fld>
            <a:endParaRPr lang="en-US"/>
          </a:p>
        </p:txBody>
      </p:sp>
    </p:spTree>
    <p:extLst>
      <p:ext uri="{BB962C8B-B14F-4D97-AF65-F5344CB8AC3E}">
        <p14:creationId xmlns:p14="http://schemas.microsoft.com/office/powerpoint/2010/main" val="20969742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B0421D-0F2C-4D5C-8C6A-4F33BBA87B51}"/>
              </a:ext>
            </a:extLst>
          </p:cNvPr>
          <p:cNvGrpSpPr/>
          <p:nvPr/>
        </p:nvGrpSpPr>
        <p:grpSpPr>
          <a:xfrm>
            <a:off x="1" y="1192"/>
            <a:ext cx="12191999" cy="4534816"/>
            <a:chOff x="0" y="-1850"/>
            <a:chExt cx="10058399" cy="5139458"/>
          </a:xfrm>
        </p:grpSpPr>
        <p:sp>
          <p:nvSpPr>
            <p:cNvPr id="31" name="Rectangle 30">
              <a:extLst>
                <a:ext uri="{FF2B5EF4-FFF2-40B4-BE49-F238E27FC236}">
                  <a16:creationId xmlns:a16="http://schemas.microsoft.com/office/drawing/2014/main" id="{0AC2468B-7B7C-4C8C-B055-6EEB0FDFB458}"/>
                </a:ext>
              </a:extLst>
            </p:cNvPr>
            <p:cNvSpPr/>
            <p:nvPr/>
          </p:nvSpPr>
          <p:spPr bwMode="hidden">
            <a:xfrm>
              <a:off x="0" y="-1850"/>
              <a:ext cx="6738778" cy="3854593"/>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5" name="Rectangle 34">
              <a:extLst>
                <a:ext uri="{FF2B5EF4-FFF2-40B4-BE49-F238E27FC236}">
                  <a16:creationId xmlns:a16="http://schemas.microsoft.com/office/drawing/2014/main" id="{FBBA73F9-E23B-456D-80BC-9D102C6807BF}"/>
                </a:ext>
              </a:extLst>
            </p:cNvPr>
            <p:cNvSpPr/>
            <p:nvPr/>
          </p:nvSpPr>
          <p:spPr bwMode="hidden">
            <a:xfrm>
              <a:off x="0" y="3852743"/>
              <a:ext cx="6738778" cy="1284865"/>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7" name="Rectangle 36">
              <a:extLst>
                <a:ext uri="{FF2B5EF4-FFF2-40B4-BE49-F238E27FC236}">
                  <a16:creationId xmlns:a16="http://schemas.microsoft.com/office/drawing/2014/main" id="{6BE32A15-DC57-4998-AEBF-FEB28AD4F1C7}"/>
                </a:ext>
              </a:extLst>
            </p:cNvPr>
            <p:cNvSpPr/>
            <p:nvPr/>
          </p:nvSpPr>
          <p:spPr bwMode="hidden">
            <a:xfrm>
              <a:off x="6738779" y="-1850"/>
              <a:ext cx="3319620" cy="3854593"/>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grpSp>
      <p:pic>
        <p:nvPicPr>
          <p:cNvPr id="44" name="Picture 43">
            <a:extLst>
              <a:ext uri="{FF2B5EF4-FFF2-40B4-BE49-F238E27FC236}">
                <a16:creationId xmlns:a16="http://schemas.microsoft.com/office/drawing/2014/main" id="{ADEBCFBD-4064-4013-BFAD-CD6A74630FEE}"/>
              </a:ext>
            </a:extLst>
          </p:cNvPr>
          <p:cNvPicPr>
            <a:picLocks noChangeAspect="1"/>
          </p:cNvPicPr>
          <p:nvPr/>
        </p:nvPicPr>
        <p:blipFill>
          <a:blip r:embed="rId7"/>
          <a:stretch>
            <a:fillRect/>
          </a:stretch>
        </p:blipFill>
        <p:spPr bwMode="gray">
          <a:xfrm>
            <a:off x="345196" y="5410798"/>
            <a:ext cx="2182367" cy="1311444"/>
          </a:xfrm>
          <a:prstGeom prst="rect">
            <a:avLst/>
          </a:prstGeom>
        </p:spPr>
      </p:pic>
      <p:sp>
        <p:nvSpPr>
          <p:cNvPr id="12" name="Report Title">
            <a:extLst>
              <a:ext uri="{FF2B5EF4-FFF2-40B4-BE49-F238E27FC236}">
                <a16:creationId xmlns:a16="http://schemas.microsoft.com/office/drawing/2014/main" id="{33E879B0-433D-44B8-A45C-4AA9431195B4}"/>
              </a:ext>
            </a:extLst>
          </p:cNvPr>
          <p:cNvSpPr>
            <a:spLocks noGrp="1"/>
          </p:cNvSpPr>
          <p:nvPr>
            <p:ph type="ctrTitle" hasCustomPrompt="1"/>
            <p:custDataLst>
              <p:tags r:id="rId1"/>
            </p:custDataLst>
          </p:nvPr>
        </p:nvSpPr>
        <p:spPr bwMode="white">
          <a:xfrm>
            <a:off x="602834" y="2123558"/>
            <a:ext cx="7362768"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D138D7C5-AFED-488C-9EB0-31F9B7E94C54}"/>
              </a:ext>
            </a:extLst>
          </p:cNvPr>
          <p:cNvSpPr>
            <a:spLocks noGrp="1"/>
          </p:cNvSpPr>
          <p:nvPr>
            <p:ph type="subTitle" idx="1" hasCustomPrompt="1"/>
            <p:custDataLst>
              <p:tags r:id="rId2"/>
            </p:custDataLst>
          </p:nvPr>
        </p:nvSpPr>
        <p:spPr bwMode="white">
          <a:xfrm>
            <a:off x="602834" y="3475573"/>
            <a:ext cx="7362768"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4" name="Confidentiality Stamp">
            <a:extLst>
              <a:ext uri="{FF2B5EF4-FFF2-40B4-BE49-F238E27FC236}">
                <a16:creationId xmlns:a16="http://schemas.microsoft.com/office/drawing/2014/main" id="{CB4906E0-DCF0-4572-8EB8-2DD2439A515D}"/>
              </a:ext>
            </a:extLst>
          </p:cNvPr>
          <p:cNvSpPr txBox="1"/>
          <p:nvPr>
            <p:custDataLst>
              <p:tags r:id="rId3"/>
            </p:custDataLst>
          </p:nvPr>
        </p:nvSpPr>
        <p:spPr>
          <a:xfrm>
            <a:off x="602834" y="4338549"/>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4D76D332-7278-485D-8CDF-6978AE979BD5}"/>
              </a:ext>
            </a:extLst>
          </p:cNvPr>
          <p:cNvSpPr txBox="1">
            <a:spLocks/>
          </p:cNvSpPr>
          <p:nvPr>
            <p:custDataLst>
              <p:tags r:id="rId4"/>
            </p:custDataLst>
          </p:nvPr>
        </p:nvSpPr>
        <p:spPr bwMode="black">
          <a:xfrm>
            <a:off x="602834" y="4153041"/>
            <a:ext cx="2669925" cy="174724"/>
          </a:xfrm>
          <a:prstGeom prst="rect">
            <a:avLst/>
          </a:prstGeom>
          <a:noFill/>
          <a:ln>
            <a:noFill/>
          </a:ln>
        </p:spPr>
        <p:txBody>
          <a:bodyPr wrap="square" lIns="0" tIns="0" rIns="0" bIns="0" rtlCol="0" anchor="t" anchorCtr="0">
            <a:noAutofit/>
          </a:bodyPr>
          <a:lstStyle/>
          <a:p>
            <a:pPr algn="l">
              <a:lnSpc>
                <a:spcPct val="100000"/>
              </a:lnSpc>
            </a:pPr>
            <a:endParaRPr lang="en-GB" sz="882" b="0" i="0">
              <a:solidFill>
                <a:schemeClr val="bg1"/>
              </a:solidFill>
              <a:latin typeface="+mn-lt"/>
            </a:endParaRPr>
          </a:p>
        </p:txBody>
      </p:sp>
      <p:sp>
        <p:nvSpPr>
          <p:cNvPr id="16" name="Report Date">
            <a:extLst>
              <a:ext uri="{FF2B5EF4-FFF2-40B4-BE49-F238E27FC236}">
                <a16:creationId xmlns:a16="http://schemas.microsoft.com/office/drawing/2014/main" id="{0E3D03A1-F1AB-4918-AAE4-A674AC23F6DF}"/>
              </a:ext>
            </a:extLst>
          </p:cNvPr>
          <p:cNvSpPr txBox="1"/>
          <p:nvPr>
            <p:custDataLst>
              <p:tags r:id="rId5"/>
            </p:custDataLst>
          </p:nvPr>
        </p:nvSpPr>
        <p:spPr bwMode="black">
          <a:xfrm>
            <a:off x="602834" y="3701056"/>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403165780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Cover Let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E44432-2DD3-429B-9192-CDE2430039EB}"/>
              </a:ext>
            </a:extLst>
          </p:cNvPr>
          <p:cNvGraphicFramePr>
            <a:graphicFrameLocks noChangeAspect="1"/>
          </p:cNvGraphicFramePr>
          <p:nvPr>
            <p:custDataLst>
              <p:tags r:id="rId1"/>
            </p:custData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10" imgW="423" imgH="424" progId="TCLayout.ActiveDocument.1">
                  <p:embed/>
                </p:oleObj>
              </mc:Choice>
              <mc:Fallback>
                <p:oleObj name="think-cell Slide" r:id="rId10" imgW="423" imgH="424" progId="TCLayout.ActiveDocument.1">
                  <p:embed/>
                  <p:pic>
                    <p:nvPicPr>
                      <p:cNvPr id="2" name="Object 1" hidden="1">
                        <a:extLst>
                          <a:ext uri="{FF2B5EF4-FFF2-40B4-BE49-F238E27FC236}">
                            <a16:creationId xmlns:a16="http://schemas.microsoft.com/office/drawing/2014/main" id="{6EE44432-2DD3-429B-9192-CDE2430039EB}"/>
                          </a:ext>
                        </a:extLst>
                      </p:cNvPr>
                      <p:cNvPicPr/>
                      <p:nvPr/>
                    </p:nvPicPr>
                    <p:blipFill>
                      <a:blip r:embed="rId11"/>
                      <a:stretch>
                        <a:fillRect/>
                      </a:stretch>
                    </p:blipFill>
                    <p:spPr>
                      <a:xfrm>
                        <a:off x="1925" y="1401"/>
                        <a:ext cx="1925" cy="1401"/>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4E73762-5B0C-4A73-AAD9-B6C6DB42A1C9}"/>
              </a:ext>
            </a:extLst>
          </p:cNvPr>
          <p:cNvSpPr/>
          <p:nvPr/>
        </p:nvSpPr>
        <p:spPr>
          <a:xfrm>
            <a:off x="0" y="0"/>
            <a:ext cx="3147753" cy="6858000"/>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13" name="Picture 12">
            <a:extLst>
              <a:ext uri="{FF2B5EF4-FFF2-40B4-BE49-F238E27FC236}">
                <a16:creationId xmlns:a16="http://schemas.microsoft.com/office/drawing/2014/main" id="{F21C81E0-A595-44BD-A048-8DF8E985F86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4" name="Text Placeholder 3">
            <a:extLst>
              <a:ext uri="{FF2B5EF4-FFF2-40B4-BE49-F238E27FC236}">
                <a16:creationId xmlns:a16="http://schemas.microsoft.com/office/drawing/2014/main" id="{A888DD68-89F1-4B99-A070-7459C90282B3}"/>
              </a:ext>
            </a:extLst>
          </p:cNvPr>
          <p:cNvSpPr>
            <a:spLocks noGrp="1"/>
          </p:cNvSpPr>
          <p:nvPr>
            <p:ph type="body" sz="quarter" idx="10" hasCustomPrompt="1"/>
          </p:nvPr>
        </p:nvSpPr>
        <p:spPr>
          <a:xfrm>
            <a:off x="543225" y="1815353"/>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21" name="Text Placeholder 5">
            <a:extLst>
              <a:ext uri="{FF2B5EF4-FFF2-40B4-BE49-F238E27FC236}">
                <a16:creationId xmlns:a16="http://schemas.microsoft.com/office/drawing/2014/main" id="{FEBB040F-A728-48CD-A5B9-F69EC5296FF1}"/>
              </a:ext>
            </a:extLst>
          </p:cNvPr>
          <p:cNvSpPr>
            <a:spLocks noGrp="1"/>
          </p:cNvSpPr>
          <p:nvPr>
            <p:ph type="body" sz="quarter" idx="11" hasCustomPrompt="1"/>
          </p:nvPr>
        </p:nvSpPr>
        <p:spPr>
          <a:xfrm>
            <a:off x="543225" y="5356604"/>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cxnSp>
        <p:nvCxnSpPr>
          <p:cNvPr id="22" name="Frame Line">
            <a:extLst>
              <a:ext uri="{FF2B5EF4-FFF2-40B4-BE49-F238E27FC236}">
                <a16:creationId xmlns:a16="http://schemas.microsoft.com/office/drawing/2014/main" id="{F7BAF0B3-E029-470C-87E4-46D3229C1448}"/>
              </a:ext>
            </a:extLst>
          </p:cNvPr>
          <p:cNvCxnSpPr>
            <a:cxnSpLocks/>
          </p:cNvCxnSpPr>
          <p:nvPr>
            <p:custDataLst>
              <p:tags r:id="rId3"/>
            </p:custDataLst>
          </p:nvPr>
        </p:nvCxnSpPr>
        <p:spPr>
          <a:xfrm>
            <a:off x="3585682" y="1748118"/>
            <a:ext cx="796913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7">
            <a:extLst>
              <a:ext uri="{FF2B5EF4-FFF2-40B4-BE49-F238E27FC236}">
                <a16:creationId xmlns:a16="http://schemas.microsoft.com/office/drawing/2014/main" id="{33075B3C-DA49-4F57-9409-515CA5F8C155}"/>
              </a:ext>
            </a:extLst>
          </p:cNvPr>
          <p:cNvSpPr>
            <a:spLocks noGrp="1"/>
          </p:cNvSpPr>
          <p:nvPr>
            <p:ph type="body" sz="quarter" idx="12" hasCustomPrompt="1"/>
          </p:nvPr>
        </p:nvSpPr>
        <p:spPr>
          <a:xfrm>
            <a:off x="3585683" y="941295"/>
            <a:ext cx="3213601" cy="149362"/>
          </a:xfrm>
        </p:spPr>
        <p:txBody>
          <a:bodyPr>
            <a:spAutoFit/>
          </a:bodyPr>
          <a:lstStyle>
            <a:lvl1pPr>
              <a:defRPr/>
            </a:lvl1pPr>
          </a:lstStyle>
          <a:p>
            <a:pPr lvl="0"/>
            <a:r>
              <a:rPr lang="en-GB"/>
              <a:t>Insert text here </a:t>
            </a:r>
          </a:p>
        </p:txBody>
      </p:sp>
      <p:sp>
        <p:nvSpPr>
          <p:cNvPr id="24" name="Text Placeholder 12">
            <a:extLst>
              <a:ext uri="{FF2B5EF4-FFF2-40B4-BE49-F238E27FC236}">
                <a16:creationId xmlns:a16="http://schemas.microsoft.com/office/drawing/2014/main" id="{1A63BB9A-729A-4857-BE09-F8368F34E8D6}"/>
              </a:ext>
            </a:extLst>
          </p:cNvPr>
          <p:cNvSpPr>
            <a:spLocks noGrp="1"/>
          </p:cNvSpPr>
          <p:nvPr>
            <p:ph type="body" sz="quarter" idx="13" hasCustomPrompt="1"/>
          </p:nvPr>
        </p:nvSpPr>
        <p:spPr>
          <a:xfrm>
            <a:off x="3585683" y="1815353"/>
            <a:ext cx="7963465" cy="3618687"/>
          </a:xfrm>
        </p:spPr>
        <p:txBody>
          <a:bodyPr/>
          <a:lstStyle>
            <a:lvl1pPr>
              <a:defRPr/>
            </a:lvl1pPr>
          </a:lstStyle>
          <a:p>
            <a:pPr lvl="0"/>
            <a:r>
              <a:rPr lang="en-GB"/>
              <a:t>Insert text here </a:t>
            </a:r>
          </a:p>
        </p:txBody>
      </p:sp>
      <p:sp>
        <p:nvSpPr>
          <p:cNvPr id="26" name="Report Date">
            <a:extLst>
              <a:ext uri="{FF2B5EF4-FFF2-40B4-BE49-F238E27FC236}">
                <a16:creationId xmlns:a16="http://schemas.microsoft.com/office/drawing/2014/main" id="{EE19D4BC-B65F-4593-B6DA-6CEA94B7B65E}"/>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27" name="Presentation Disclaimer">
            <a:extLst>
              <a:ext uri="{FF2B5EF4-FFF2-40B4-BE49-F238E27FC236}">
                <a16:creationId xmlns:a16="http://schemas.microsoft.com/office/drawing/2014/main" id="{DBA60797-0C6B-4279-88BD-0214B400B514}"/>
              </a:ext>
            </a:extLst>
          </p:cNvPr>
          <p:cNvSpPr txBox="1"/>
          <p:nvPr>
            <p:custDataLst>
              <p:tags r:id="rId5"/>
            </p:custDataLst>
          </p:nvPr>
        </p:nvSpPr>
        <p:spPr>
          <a:xfrm>
            <a:off x="548283" y="6317437"/>
            <a:ext cx="3037401" cy="108619"/>
          </a:xfrm>
          <a:prstGeom prst="rect">
            <a:avLst/>
          </a:prstGeom>
          <a:noFill/>
        </p:spPr>
        <p:txBody>
          <a:bodyPr wrap="square" lIns="0" tIns="0" rIns="0" bIns="0" rtlCol="0" anchor="b" anchorCtr="0">
            <a:spAutoFit/>
          </a:bodyPr>
          <a:lstStyle/>
          <a:p>
            <a:pPr algn="l"/>
            <a:r>
              <a:rPr lang="en-GB" sz="706" noProof="1">
                <a:solidFill>
                  <a:schemeClr val="bg1"/>
                </a:solidFill>
              </a:rPr>
              <a:t>Strictly private and confidential</a:t>
            </a:r>
          </a:p>
        </p:txBody>
      </p:sp>
      <p:sp>
        <p:nvSpPr>
          <p:cNvPr id="28" name="Page Number">
            <a:extLst>
              <a:ext uri="{FF2B5EF4-FFF2-40B4-BE49-F238E27FC236}">
                <a16:creationId xmlns:a16="http://schemas.microsoft.com/office/drawing/2014/main" id="{0AC58CDE-7BF7-4E9A-86DE-005A8226C2D9}"/>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Section Footer">
            <a:extLst>
              <a:ext uri="{FF2B5EF4-FFF2-40B4-BE49-F238E27FC236}">
                <a16:creationId xmlns:a16="http://schemas.microsoft.com/office/drawing/2014/main" id="{7BC2F3DA-F5E4-44B0-8190-5C4510FA91EF}"/>
              </a:ext>
            </a:extLst>
          </p:cNvPr>
          <p:cNvSpPr txBox="1"/>
          <p:nvPr>
            <p:custDataLst>
              <p:tags r:id="rId7"/>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30" name="TextBox 29">
            <a:extLst>
              <a:ext uri="{FF2B5EF4-FFF2-40B4-BE49-F238E27FC236}">
                <a16:creationId xmlns:a16="http://schemas.microsoft.com/office/drawing/2014/main" id="{6A4FBAFA-F1A1-40A6-9134-3230D2D92D31}"/>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31" name="Straight Connector 30">
            <a:extLst>
              <a:ext uri="{FF2B5EF4-FFF2-40B4-BE49-F238E27FC236}">
                <a16:creationId xmlns:a16="http://schemas.microsoft.com/office/drawing/2014/main" id="{10810281-0E5A-4B69-940A-B5D1F833254D}"/>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137609179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ver Letter US">
    <p:spTree>
      <p:nvGrpSpPr>
        <p:cNvPr id="1" name=""/>
        <p:cNvGrpSpPr/>
        <p:nvPr/>
      </p:nvGrpSpPr>
      <p:grpSpPr>
        <a:xfrm>
          <a:off x="0" y="0"/>
          <a:ext cx="0" cy="0"/>
          <a:chOff x="0" y="0"/>
          <a:chExt cx="0" cy="0"/>
        </a:xfrm>
      </p:grpSpPr>
      <p:sp>
        <p:nvSpPr>
          <p:cNvPr id="15" name="Report Date">
            <a:extLst>
              <a:ext uri="{FF2B5EF4-FFF2-40B4-BE49-F238E27FC236}">
                <a16:creationId xmlns:a16="http://schemas.microsoft.com/office/drawing/2014/main" id="{53D1EBEC-E8DA-41B3-AC08-642CC2A5848F}"/>
              </a:ext>
            </a:extLst>
          </p:cNvPr>
          <p:cNvSpPr txBox="1"/>
          <p:nvPr>
            <p:custDataLst>
              <p:tags r:id="rId1"/>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21430" y="6317429"/>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13" name="Text Placeholder 12">
            <a:extLst>
              <a:ext uri="{FF2B5EF4-FFF2-40B4-BE49-F238E27FC236}">
                <a16:creationId xmlns:a16="http://schemas.microsoft.com/office/drawing/2014/main" id="{40E7DDA1-E9E0-4BD2-9F18-4D73A5A3E34F}"/>
              </a:ext>
            </a:extLst>
          </p:cNvPr>
          <p:cNvSpPr>
            <a:spLocks noGrp="1"/>
          </p:cNvSpPr>
          <p:nvPr>
            <p:ph type="body" sz="quarter" idx="13" hasCustomPrompt="1"/>
          </p:nvPr>
        </p:nvSpPr>
        <p:spPr>
          <a:xfrm>
            <a:off x="3509305" y="1282424"/>
            <a:ext cx="3904775" cy="4611356"/>
          </a:xfrm>
        </p:spPr>
        <p:txBody>
          <a:bodyPr/>
          <a:lstStyle>
            <a:lvl1pPr>
              <a:defRPr sz="794"/>
            </a:lvl1pPr>
          </a:lstStyle>
          <a:p>
            <a:pPr lvl="0"/>
            <a:r>
              <a:rPr lang="en-GB"/>
              <a:t>Insert text here </a:t>
            </a:r>
          </a:p>
        </p:txBody>
      </p:sp>
      <p:sp>
        <p:nvSpPr>
          <p:cNvPr id="21" name="Text Placeholder 12">
            <a:extLst>
              <a:ext uri="{FF2B5EF4-FFF2-40B4-BE49-F238E27FC236}">
                <a16:creationId xmlns:a16="http://schemas.microsoft.com/office/drawing/2014/main" id="{3A63B2BC-C1AA-475D-80E8-6103AE001718}"/>
              </a:ext>
            </a:extLst>
          </p:cNvPr>
          <p:cNvSpPr>
            <a:spLocks noGrp="1"/>
          </p:cNvSpPr>
          <p:nvPr>
            <p:ph type="body" sz="quarter" idx="14" hasCustomPrompt="1"/>
          </p:nvPr>
        </p:nvSpPr>
        <p:spPr>
          <a:xfrm>
            <a:off x="7644375" y="1282424"/>
            <a:ext cx="3904775" cy="4611356"/>
          </a:xfrm>
        </p:spPr>
        <p:txBody>
          <a:bodyPr/>
          <a:lstStyle>
            <a:lvl1pPr>
              <a:defRPr sz="794"/>
            </a:lvl1pPr>
          </a:lstStyle>
          <a:p>
            <a:pPr lvl="0"/>
            <a:r>
              <a:rPr lang="en-GB"/>
              <a:t>Insert text here </a:t>
            </a:r>
          </a:p>
        </p:txBody>
      </p:sp>
      <p:sp>
        <p:nvSpPr>
          <p:cNvPr id="32" name="Rectangle 31">
            <a:extLst>
              <a:ext uri="{FF2B5EF4-FFF2-40B4-BE49-F238E27FC236}">
                <a16:creationId xmlns:a16="http://schemas.microsoft.com/office/drawing/2014/main" id="{6772873F-F098-49A1-B629-C8530BE60C1A}"/>
              </a:ext>
            </a:extLst>
          </p:cNvPr>
          <p:cNvSpPr/>
          <p:nvPr/>
        </p:nvSpPr>
        <p:spPr>
          <a:xfrm>
            <a:off x="1" y="0"/>
            <a:ext cx="3150086" cy="6858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33" name="Picture 32">
            <a:extLst>
              <a:ext uri="{FF2B5EF4-FFF2-40B4-BE49-F238E27FC236}">
                <a16:creationId xmlns:a16="http://schemas.microsoft.com/office/drawing/2014/main" id="{318A1954-C595-46AF-9BD0-C51B68380FC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34" name="Presentation Disclaimer">
            <a:extLst>
              <a:ext uri="{FF2B5EF4-FFF2-40B4-BE49-F238E27FC236}">
                <a16:creationId xmlns:a16="http://schemas.microsoft.com/office/drawing/2014/main" id="{04DDCE90-61F5-41F7-BCB5-5378C4B9A371}"/>
              </a:ext>
            </a:extLst>
          </p:cNvPr>
          <p:cNvSpPr txBox="1"/>
          <p:nvPr>
            <p:custDataLst>
              <p:tags r:id="rId3"/>
            </p:custDataLst>
          </p:nvPr>
        </p:nvSpPr>
        <p:spPr>
          <a:xfrm>
            <a:off x="548283" y="6087752"/>
            <a:ext cx="2376566" cy="108619"/>
          </a:xfrm>
          <a:prstGeom prst="rect">
            <a:avLst/>
          </a:prstGeom>
          <a:noFill/>
        </p:spPr>
        <p:txBody>
          <a:bodyPr wrap="square" lIns="0" tIns="0" rIns="0" bIns="0" rtlCol="0" anchor="b" anchorCtr="0">
            <a:spAutoFit/>
          </a:bodyPr>
          <a:lstStyle/>
          <a:p>
            <a:pPr algn="l"/>
            <a:r>
              <a:rPr lang="en-GB" sz="706" noProof="1">
                <a:solidFill>
                  <a:schemeClr val="bg2"/>
                </a:solidFill>
              </a:rPr>
              <a:t>Strictly private and confidential</a:t>
            </a:r>
          </a:p>
        </p:txBody>
      </p:sp>
      <p:sp>
        <p:nvSpPr>
          <p:cNvPr id="35" name="Text Placeholder 3">
            <a:extLst>
              <a:ext uri="{FF2B5EF4-FFF2-40B4-BE49-F238E27FC236}">
                <a16:creationId xmlns:a16="http://schemas.microsoft.com/office/drawing/2014/main" id="{011B331F-A998-4B93-9E0F-EFB8090DC593}"/>
              </a:ext>
            </a:extLst>
          </p:cNvPr>
          <p:cNvSpPr>
            <a:spLocks noGrp="1"/>
          </p:cNvSpPr>
          <p:nvPr>
            <p:ph type="body" sz="quarter" idx="10" hasCustomPrompt="1"/>
          </p:nvPr>
        </p:nvSpPr>
        <p:spPr>
          <a:xfrm>
            <a:off x="543225" y="1815353"/>
            <a:ext cx="237656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36" name="Text Placeholder 5">
            <a:extLst>
              <a:ext uri="{FF2B5EF4-FFF2-40B4-BE49-F238E27FC236}">
                <a16:creationId xmlns:a16="http://schemas.microsoft.com/office/drawing/2014/main" id="{012E331A-BF46-4F6E-9356-402F5B3A21AA}"/>
              </a:ext>
            </a:extLst>
          </p:cNvPr>
          <p:cNvSpPr>
            <a:spLocks noGrp="1"/>
          </p:cNvSpPr>
          <p:nvPr>
            <p:ph type="body" sz="quarter" idx="11" hasCustomPrompt="1"/>
          </p:nvPr>
        </p:nvSpPr>
        <p:spPr>
          <a:xfrm>
            <a:off x="543225" y="5230180"/>
            <a:ext cx="2376566" cy="149362"/>
          </a:xfrm>
        </p:spPr>
        <p:txBody>
          <a:bodyPr wrap="square" anchor="b" anchorCtr="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sp>
        <p:nvSpPr>
          <p:cNvPr id="41" name="Page Number">
            <a:extLst>
              <a:ext uri="{FF2B5EF4-FFF2-40B4-BE49-F238E27FC236}">
                <a16:creationId xmlns:a16="http://schemas.microsoft.com/office/drawing/2014/main" id="{F36165EE-352C-4AC1-98EF-60E59C280DC8}"/>
              </a:ext>
            </a:extLst>
          </p:cNvPr>
          <p:cNvSpPr txBox="1"/>
          <p:nvPr>
            <p:custDataLst>
              <p:tags r:id="rId4"/>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2" name="Section Footer">
            <a:extLst>
              <a:ext uri="{FF2B5EF4-FFF2-40B4-BE49-F238E27FC236}">
                <a16:creationId xmlns:a16="http://schemas.microsoft.com/office/drawing/2014/main" id="{DFD9E5A5-EA34-4218-A4A4-FD56114AF055}"/>
              </a:ext>
            </a:extLst>
          </p:cNvPr>
          <p:cNvSpPr txBox="1"/>
          <p:nvPr>
            <p:custDataLst>
              <p:tags r:id="rId5"/>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43" name="TextBox 42">
            <a:extLst>
              <a:ext uri="{FF2B5EF4-FFF2-40B4-BE49-F238E27FC236}">
                <a16:creationId xmlns:a16="http://schemas.microsoft.com/office/drawing/2014/main" id="{88601950-F3C4-4D1E-A940-993B2DC79208}"/>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44" name="Straight Connector 43">
            <a:extLst>
              <a:ext uri="{FF2B5EF4-FFF2-40B4-BE49-F238E27FC236}">
                <a16:creationId xmlns:a16="http://schemas.microsoft.com/office/drawing/2014/main" id="{ED043B99-C2CB-4B03-BAF5-2B73C672E9E7}"/>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Draft stamp">
            <a:extLst>
              <a:ext uri="{FF2B5EF4-FFF2-40B4-BE49-F238E27FC236}">
                <a16:creationId xmlns:a16="http://schemas.microsoft.com/office/drawing/2014/main" id="{0C7A3222-0907-4B8B-931D-CDF391F1375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7" name="HeaderTOCPlaceholder"/>
          <p:cNvSpPr txBox="1"/>
          <p:nvPr>
            <p:custDataLst>
              <p:tags r:id="rId7"/>
            </p:custDataLst>
          </p:nvPr>
        </p:nvSpPr>
        <p:spPr>
          <a:xfrm>
            <a:off x="3378647"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29408089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ER: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10906298"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6"/>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7"/>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2" name="Section Header">
            <a:extLst>
              <a:ext uri="{FF2B5EF4-FFF2-40B4-BE49-F238E27FC236}">
                <a16:creationId xmlns:a16="http://schemas.microsoft.com/office/drawing/2014/main" id="{42230C15-E0EF-475B-8C56-8180ED2FC022}"/>
              </a:ext>
            </a:extLst>
          </p:cNvPr>
          <p:cNvSpPr txBox="1"/>
          <p:nvPr>
            <p:custDataLst>
              <p:tags r:id="rId8"/>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39" name="Report Date">
            <a:extLst>
              <a:ext uri="{FF2B5EF4-FFF2-40B4-BE49-F238E27FC236}">
                <a16:creationId xmlns:a16="http://schemas.microsoft.com/office/drawing/2014/main" id="{B66C8374-F5C4-4996-A017-C80027E874A2}"/>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40" name="Page Number">
            <a:extLst>
              <a:ext uri="{FF2B5EF4-FFF2-40B4-BE49-F238E27FC236}">
                <a16:creationId xmlns:a16="http://schemas.microsoft.com/office/drawing/2014/main" id="{00FF76E0-A4C6-4C27-96DB-D6E6C03A892A}"/>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1" name="Presentation Disclaimer">
            <a:extLst>
              <a:ext uri="{FF2B5EF4-FFF2-40B4-BE49-F238E27FC236}">
                <a16:creationId xmlns:a16="http://schemas.microsoft.com/office/drawing/2014/main" id="{08D357CF-2BDC-45D2-B8A1-33CD43A8FB0F}"/>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43" name="Section Footer">
            <a:extLst>
              <a:ext uri="{FF2B5EF4-FFF2-40B4-BE49-F238E27FC236}">
                <a16:creationId xmlns:a16="http://schemas.microsoft.com/office/drawing/2014/main" id="{98D7C6BC-F4A4-4F9C-A8BF-E320D746F028}"/>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44" name="TextBox 43">
            <a:extLst>
              <a:ext uri="{FF2B5EF4-FFF2-40B4-BE49-F238E27FC236}">
                <a16:creationId xmlns:a16="http://schemas.microsoft.com/office/drawing/2014/main" id="{F93993BF-D529-458F-A6DB-FF58DC66AF25}"/>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46" name="Straight Connector 45">
            <a:extLst>
              <a:ext uri="{FF2B5EF4-FFF2-40B4-BE49-F238E27FC236}">
                <a16:creationId xmlns:a16="http://schemas.microsoft.com/office/drawing/2014/main" id="{A69A4775-51B2-49AF-BE77-A2DD117CCF43}"/>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17968DA8-EB16-47EE-839F-ED9A501B8C22}"/>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60041236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ER: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7"/>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8"/>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3" name="Section Header">
            <a:extLst>
              <a:ext uri="{FF2B5EF4-FFF2-40B4-BE49-F238E27FC236}">
                <a16:creationId xmlns:a16="http://schemas.microsoft.com/office/drawing/2014/main" id="{7F444856-1130-46B5-A045-52E1A79FBBD1}"/>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5" name="Report Date">
            <a:extLst>
              <a:ext uri="{FF2B5EF4-FFF2-40B4-BE49-F238E27FC236}">
                <a16:creationId xmlns:a16="http://schemas.microsoft.com/office/drawing/2014/main" id="{B4D96363-5048-42D4-A625-7660951202C5}"/>
              </a:ext>
            </a:extLst>
          </p:cNvPr>
          <p:cNvSpPr txBox="1"/>
          <p:nvPr>
            <p:custDataLst>
              <p:tags r:id="rId10"/>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59EA6C49-2D7E-4FCB-8DA7-C1A79DF7B9BF}"/>
              </a:ext>
            </a:extLst>
          </p:cNvPr>
          <p:cNvSpPr txBox="1"/>
          <p:nvPr>
            <p:custDataLst>
              <p:tags r:id="rId11"/>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2072BD5A-7576-4E0D-976F-209E7B832A29}"/>
              </a:ext>
            </a:extLst>
          </p:cNvPr>
          <p:cNvSpPr txBox="1"/>
          <p:nvPr>
            <p:custDataLst>
              <p:tags r:id="rId12"/>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0698F7A3-ECB8-4459-B242-13A3C3A4C412}"/>
              </a:ext>
            </a:extLst>
          </p:cNvPr>
          <p:cNvSpPr txBox="1"/>
          <p:nvPr>
            <p:custDataLst>
              <p:tags r:id="rId13"/>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A0767C8B-73EA-42B7-9AA5-AE3E0CFA7F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DE701F06-0467-480F-B3C7-DDF18CF6675F}"/>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Draft stamp">
            <a:extLst>
              <a:ext uri="{FF2B5EF4-FFF2-40B4-BE49-F238E27FC236}">
                <a16:creationId xmlns:a16="http://schemas.microsoft.com/office/drawing/2014/main" id="{76E39CD5-987F-43AE-B084-849EE59B5399}"/>
              </a:ext>
            </a:extLst>
          </p:cNvPr>
          <p:cNvSpPr txBox="1"/>
          <p:nvPr>
            <p:custDataLst>
              <p:tags r:id="rId14"/>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31085590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Header Footer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p>
        </p:txBody>
      </p:sp>
      <p:sp>
        <p:nvSpPr>
          <p:cNvPr id="6"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878B0EBC-141B-4C4F-A362-F528990FC2B7}"/>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5" name="Page Number">
            <a:extLst>
              <a:ext uri="{FF2B5EF4-FFF2-40B4-BE49-F238E27FC236}">
                <a16:creationId xmlns:a16="http://schemas.microsoft.com/office/drawing/2014/main" id="{C9163938-2785-4D1F-BF6D-38BF33DF9B97}"/>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6" name="Presentation Disclaimer">
            <a:extLst>
              <a:ext uri="{FF2B5EF4-FFF2-40B4-BE49-F238E27FC236}">
                <a16:creationId xmlns:a16="http://schemas.microsoft.com/office/drawing/2014/main" id="{C7F05687-DF8A-4343-AC91-BC2675AFB87E}"/>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3" name="Section Footer">
            <a:extLst>
              <a:ext uri="{FF2B5EF4-FFF2-40B4-BE49-F238E27FC236}">
                <a16:creationId xmlns:a16="http://schemas.microsoft.com/office/drawing/2014/main" id="{DED794C3-4383-43AC-902C-5A450186D193}"/>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4" name="TextBox 23">
            <a:extLst>
              <a:ext uri="{FF2B5EF4-FFF2-40B4-BE49-F238E27FC236}">
                <a16:creationId xmlns:a16="http://schemas.microsoft.com/office/drawing/2014/main" id="{964F52D2-7367-4B0E-9D2D-29AFCA9CD2C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5" name="Straight Connector 24">
            <a:extLst>
              <a:ext uri="{FF2B5EF4-FFF2-40B4-BE49-F238E27FC236}">
                <a16:creationId xmlns:a16="http://schemas.microsoft.com/office/drawing/2014/main" id="{9F7E5360-4F8D-4FCD-B7AC-F798EC35A7A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Draft stamp">
            <a:extLst>
              <a:ext uri="{FF2B5EF4-FFF2-40B4-BE49-F238E27FC236}">
                <a16:creationId xmlns:a16="http://schemas.microsoft.com/office/drawing/2014/main" id="{1DF6D7B6-5867-4B92-8FBA-C62AA2356B05}"/>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1749466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9" name="Report Date">
            <a:extLst>
              <a:ext uri="{FF2B5EF4-FFF2-40B4-BE49-F238E27FC236}">
                <a16:creationId xmlns:a16="http://schemas.microsoft.com/office/drawing/2014/main" id="{64581E60-A0D4-4BC1-823A-2B418E8F2128}"/>
              </a:ext>
            </a:extLst>
          </p:cNvPr>
          <p:cNvSpPr txBox="1"/>
          <p:nvPr>
            <p:custDataLst>
              <p:tags r:id="rId7"/>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30" name="Page Number">
            <a:extLst>
              <a:ext uri="{FF2B5EF4-FFF2-40B4-BE49-F238E27FC236}">
                <a16:creationId xmlns:a16="http://schemas.microsoft.com/office/drawing/2014/main" id="{41779BE8-A4CC-4DAD-B153-54092D7A99B3}"/>
              </a:ext>
            </a:extLst>
          </p:cNvPr>
          <p:cNvSpPr txBox="1"/>
          <p:nvPr>
            <p:custDataLst>
              <p:tags r:id="rId8"/>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31" name="Presentation Disclaimer">
            <a:extLst>
              <a:ext uri="{FF2B5EF4-FFF2-40B4-BE49-F238E27FC236}">
                <a16:creationId xmlns:a16="http://schemas.microsoft.com/office/drawing/2014/main" id="{3C2E928F-BA23-4F06-9CC3-E08864FB8464}"/>
              </a:ext>
            </a:extLst>
          </p:cNvPr>
          <p:cNvSpPr txBox="1"/>
          <p:nvPr>
            <p:custDataLst>
              <p:tags r:id="rId9"/>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2" name="Section Footer">
            <a:extLst>
              <a:ext uri="{FF2B5EF4-FFF2-40B4-BE49-F238E27FC236}">
                <a16:creationId xmlns:a16="http://schemas.microsoft.com/office/drawing/2014/main" id="{8D2C9B10-5BE7-4AF8-BFF8-A3046EC4F941}"/>
              </a:ext>
            </a:extLst>
          </p:cNvPr>
          <p:cNvSpPr txBox="1"/>
          <p:nvPr>
            <p:custDataLst>
              <p:tags r:id="rId10"/>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3" name="TextBox 32">
            <a:extLst>
              <a:ext uri="{FF2B5EF4-FFF2-40B4-BE49-F238E27FC236}">
                <a16:creationId xmlns:a16="http://schemas.microsoft.com/office/drawing/2014/main" id="{687D8D29-B820-4A31-8280-EFE6F9FA98F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5" name="Straight Connector 34">
            <a:extLst>
              <a:ext uri="{FF2B5EF4-FFF2-40B4-BE49-F238E27FC236}">
                <a16:creationId xmlns:a16="http://schemas.microsoft.com/office/drawing/2014/main" id="{AB44D133-2D16-42A3-A3AD-A385F9C01A0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016355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A8AA2BC8-1024-45CC-9E76-6C0E7A21F6C0}"/>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A89B890D-CBFA-4D2C-BB10-C27690A9929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7CE9966-8074-4152-9D34-F90B6B3C28D5}"/>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FC58C329-4792-4816-A60A-3D2DCE9CA036}"/>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B5AFC1A6-EFD9-4BBD-86EB-FA5F92D972EA}"/>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A55CE69C-839D-427C-8F86-57156ADECE5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384761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ontent: Large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721975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8035637" y="1815353"/>
            <a:ext cx="3506124"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176703B5-D291-496D-B26E-525DA3A36755}"/>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53D88DCA-117D-416D-82D2-2367ED968B27}"/>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D7336B48-3136-4E82-8B16-FBC22E8CAE0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90BED7C2-73F9-48D2-A750-793071C5693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951C7BF0-CFC4-4094-AA1F-87A845BB8958}"/>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72F61651-EB89-48D4-A6DE-27384110A6BB}"/>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F3DD7B9E-30C4-4159-BFEE-77F215166572}"/>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293840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Content: Two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0" y="1815353"/>
            <a:ext cx="5360787" cy="2084294"/>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42850" y="4042186"/>
            <a:ext cx="5360787"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custDataLst>
              <p:tags r:id="rId3"/>
            </p:custDataLst>
          </p:nvPr>
        </p:nvSpPr>
        <p:spPr>
          <a:xfrm>
            <a:off x="6188364"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4" name="HeaderTOCPlaceholder"/>
          <p:cNvSpPr txBox="1"/>
          <p:nvPr>
            <p:custDataLst>
              <p:tags r:id="rId4"/>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5"/>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5" name="Date/Filepath" hidden="1"/>
          <p:cNvSpPr txBox="1"/>
          <p:nvPr>
            <p:custDataLst>
              <p:tags r:id="rId6"/>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0" name="Slide Tags" hidden="1"/>
          <p:cNvSpPr txBox="1"/>
          <p:nvPr>
            <p:custDataLst>
              <p:tags r:id="rId7"/>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4" name="Draft stamp">
            <a:extLst>
              <a:ext uri="{FF2B5EF4-FFF2-40B4-BE49-F238E27FC236}">
                <a16:creationId xmlns:a16="http://schemas.microsoft.com/office/drawing/2014/main" id="{98F467DD-E508-4793-B8C1-41188C0178BC}"/>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19" name="Report Date">
            <a:extLst>
              <a:ext uri="{FF2B5EF4-FFF2-40B4-BE49-F238E27FC236}">
                <a16:creationId xmlns:a16="http://schemas.microsoft.com/office/drawing/2014/main" id="{BDC234B1-84B0-44C3-BE38-95CEC0CA133D}"/>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1" name="Page Number">
            <a:extLst>
              <a:ext uri="{FF2B5EF4-FFF2-40B4-BE49-F238E27FC236}">
                <a16:creationId xmlns:a16="http://schemas.microsoft.com/office/drawing/2014/main" id="{B4A20242-E44A-4263-95BA-D1D5664EE2C3}"/>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3" name="Presentation Disclaimer">
            <a:extLst>
              <a:ext uri="{FF2B5EF4-FFF2-40B4-BE49-F238E27FC236}">
                <a16:creationId xmlns:a16="http://schemas.microsoft.com/office/drawing/2014/main" id="{885D6D75-46D2-4F31-9186-3D5BFAC2EBA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880E68C9-26BA-4DB5-861B-DC433ABD5EC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FDB6D62A-63C1-496F-864F-F8EA90700F13}"/>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EFA8B007-F8F4-4D8B-B7BA-C35A62369B11}"/>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3753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ontent: Two top ">
    <p:spTree>
      <p:nvGrpSpPr>
        <p:cNvPr id="1" name=""/>
        <p:cNvGrpSpPr/>
        <p:nvPr/>
      </p:nvGrpSpPr>
      <p:grpSpPr>
        <a:xfrm>
          <a:off x="0" y="0"/>
          <a:ext cx="0" cy="0"/>
          <a:chOff x="0" y="0"/>
          <a:chExt cx="0" cy="0"/>
        </a:xfrm>
      </p:grpSpPr>
      <p:sp>
        <p:nvSpPr>
          <p:cNvPr id="48"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46"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31"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2"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9" name="Content Placeholder 2"/>
          <p:cNvSpPr>
            <a:spLocks noGrp="1"/>
          </p:cNvSpPr>
          <p:nvPr>
            <p:ph sz="quarter" idx="10"/>
            <p:custDataLst>
              <p:tags r:id="rId5"/>
            </p:custDataLst>
          </p:nvPr>
        </p:nvSpPr>
        <p:spPr>
          <a:xfrm>
            <a:off x="642851"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3"/>
          <p:cNvSpPr>
            <a:spLocks noGrp="1"/>
          </p:cNvSpPr>
          <p:nvPr>
            <p:ph sz="quarter" idx="11"/>
            <p:custDataLst>
              <p:tags r:id="rId6"/>
            </p:custDataLst>
          </p:nvPr>
        </p:nvSpPr>
        <p:spPr>
          <a:xfrm>
            <a:off x="6184669"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4"/>
          <p:cNvSpPr>
            <a:spLocks noGrp="1"/>
          </p:cNvSpPr>
          <p:nvPr>
            <p:ph sz="quarter" idx="12"/>
            <p:custDataLst>
              <p:tags r:id="rId7"/>
            </p:custDataLst>
          </p:nvPr>
        </p:nvSpPr>
        <p:spPr>
          <a:xfrm>
            <a:off x="642851" y="4043202"/>
            <a:ext cx="10906298"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Draft stamp">
            <a:extLst>
              <a:ext uri="{FF2B5EF4-FFF2-40B4-BE49-F238E27FC236}">
                <a16:creationId xmlns:a16="http://schemas.microsoft.com/office/drawing/2014/main" id="{E4D3AC3D-FB5C-4056-B3CE-C6F201747179}"/>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0" name="Report Date">
            <a:extLst>
              <a:ext uri="{FF2B5EF4-FFF2-40B4-BE49-F238E27FC236}">
                <a16:creationId xmlns:a16="http://schemas.microsoft.com/office/drawing/2014/main" id="{D8BE6AE2-E4FA-4A4C-9F4A-0801F27EF156}"/>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7" name="Page Number">
            <a:extLst>
              <a:ext uri="{FF2B5EF4-FFF2-40B4-BE49-F238E27FC236}">
                <a16:creationId xmlns:a16="http://schemas.microsoft.com/office/drawing/2014/main" id="{B132AC77-15B7-427D-9EDA-27E044A04CD8}"/>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Presentation Disclaimer">
            <a:extLst>
              <a:ext uri="{FF2B5EF4-FFF2-40B4-BE49-F238E27FC236}">
                <a16:creationId xmlns:a16="http://schemas.microsoft.com/office/drawing/2014/main" id="{C1ACCB47-82D5-446E-80FB-2690A95152B9}"/>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0" name="Section Footer">
            <a:extLst>
              <a:ext uri="{FF2B5EF4-FFF2-40B4-BE49-F238E27FC236}">
                <a16:creationId xmlns:a16="http://schemas.microsoft.com/office/drawing/2014/main" id="{9A254952-4576-4CFE-B61C-9E6180278110}"/>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2" name="TextBox 31">
            <a:extLst>
              <a:ext uri="{FF2B5EF4-FFF2-40B4-BE49-F238E27FC236}">
                <a16:creationId xmlns:a16="http://schemas.microsoft.com/office/drawing/2014/main" id="{2DDE2759-0B78-4BAC-9091-A3898FCC7E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3" name="Straight Connector 32">
            <a:extLst>
              <a:ext uri="{FF2B5EF4-FFF2-40B4-BE49-F238E27FC236}">
                <a16:creationId xmlns:a16="http://schemas.microsoft.com/office/drawing/2014/main" id="{9D178E40-037A-4FB9-9A78-25D7EB7BC066}"/>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983547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Report Date">
            <a:extLst>
              <a:ext uri="{FF2B5EF4-FFF2-40B4-BE49-F238E27FC236}">
                <a16:creationId xmlns:a16="http://schemas.microsoft.com/office/drawing/2014/main" id="{71242622-92E5-4577-9939-C23982B6F01C}"/>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5" name="Page Number">
            <a:extLst>
              <a:ext uri="{FF2B5EF4-FFF2-40B4-BE49-F238E27FC236}">
                <a16:creationId xmlns:a16="http://schemas.microsoft.com/office/drawing/2014/main" id="{7253FE5D-87D6-4F45-BF52-14884C4140B0}"/>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6" name="Presentation Disclaimer">
            <a:extLst>
              <a:ext uri="{FF2B5EF4-FFF2-40B4-BE49-F238E27FC236}">
                <a16:creationId xmlns:a16="http://schemas.microsoft.com/office/drawing/2014/main" id="{2DE48912-752E-4B28-992E-A8018FA045F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7" name="Section Footer">
            <a:extLst>
              <a:ext uri="{FF2B5EF4-FFF2-40B4-BE49-F238E27FC236}">
                <a16:creationId xmlns:a16="http://schemas.microsoft.com/office/drawing/2014/main" id="{24E13DC1-0CD8-4F00-BEB6-8ED480D16571}"/>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9" name="TextBox 28">
            <a:extLst>
              <a:ext uri="{FF2B5EF4-FFF2-40B4-BE49-F238E27FC236}">
                <a16:creationId xmlns:a16="http://schemas.microsoft.com/office/drawing/2014/main" id="{87E1B077-C346-4667-9422-134889A69A8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0" name="Straight Connector 29">
            <a:extLst>
              <a:ext uri="{FF2B5EF4-FFF2-40B4-BE49-F238E27FC236}">
                <a16:creationId xmlns:a16="http://schemas.microsoft.com/office/drawing/2014/main" id="{430B69CA-5FCE-4A4A-B144-701CC8BBBE64}"/>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Draft stamp">
            <a:extLst>
              <a:ext uri="{FF2B5EF4-FFF2-40B4-BE49-F238E27FC236}">
                <a16:creationId xmlns:a16="http://schemas.microsoft.com/office/drawing/2014/main" id="{8BA4733D-DD24-4E66-AB15-27D0B8AA9EB2}"/>
              </a:ext>
            </a:extLst>
          </p:cNvPr>
          <p:cNvSpPr txBox="1"/>
          <p:nvPr>
            <p:custDataLst>
              <p:tags r:id="rId1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60983398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ontent: Four">
    <p:spTree>
      <p:nvGrpSpPr>
        <p:cNvPr id="1" name=""/>
        <p:cNvGrpSpPr/>
        <p:nvPr/>
      </p:nvGrpSpPr>
      <p:grpSpPr>
        <a:xfrm>
          <a:off x="0" y="0"/>
          <a:ext cx="0" cy="0"/>
          <a:chOff x="0" y="0"/>
          <a:chExt cx="0" cy="0"/>
        </a:xfrm>
      </p:grpSpPr>
      <p:sp>
        <p:nvSpPr>
          <p:cNvPr id="53"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nvPr>
        </p:nvSpPr>
        <p:spPr>
          <a:xfrm>
            <a:off x="642851"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nvPr>
        </p:nvSpPr>
        <p:spPr>
          <a:xfrm>
            <a:off x="6184669"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nvPr>
        </p:nvSpPr>
        <p:spPr>
          <a:xfrm>
            <a:off x="642851"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0" name="Content Placeholder 5"/>
          <p:cNvSpPr>
            <a:spLocks noGrp="1"/>
          </p:cNvSpPr>
          <p:nvPr>
            <p:ph sz="quarter" idx="27"/>
          </p:nvPr>
        </p:nvSpPr>
        <p:spPr>
          <a:xfrm>
            <a:off x="6184669"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1"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6"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7"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Report Date">
            <a:extLst>
              <a:ext uri="{FF2B5EF4-FFF2-40B4-BE49-F238E27FC236}">
                <a16:creationId xmlns:a16="http://schemas.microsoft.com/office/drawing/2014/main" id="{C9AC37EA-A51B-4D19-8AFD-D5550BB1DBD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2" name="Page Number">
            <a:extLst>
              <a:ext uri="{FF2B5EF4-FFF2-40B4-BE49-F238E27FC236}">
                <a16:creationId xmlns:a16="http://schemas.microsoft.com/office/drawing/2014/main" id="{D5E4965D-0DB2-40AB-8C54-A02F73111BD4}"/>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D5F1A31-F3C3-4E8D-8EE5-5D802CF63C9C}"/>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8" name="Section Footer">
            <a:extLst>
              <a:ext uri="{FF2B5EF4-FFF2-40B4-BE49-F238E27FC236}">
                <a16:creationId xmlns:a16="http://schemas.microsoft.com/office/drawing/2014/main" id="{386FB611-2223-4501-B9AF-3FF472560856}"/>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6337E43E-8B9E-4332-A613-62823857903C}"/>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B42FC379-8CCB-4D1B-B59F-CD6E374799E5}"/>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2F22AEF7-CCE6-447D-A2ED-AE17E661B936}"/>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6069724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p:custDataLst>
              <p:tags r:id="rId1"/>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5"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379569574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Title Only ">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12"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8"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355780523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ntent: Header Footer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p>
        </p:txBody>
      </p:sp>
      <p:sp>
        <p:nvSpPr>
          <p:cNvPr id="6"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878B0EBC-141B-4C4F-A362-F528990FC2B7}"/>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5" name="Page Number">
            <a:extLst>
              <a:ext uri="{FF2B5EF4-FFF2-40B4-BE49-F238E27FC236}">
                <a16:creationId xmlns:a16="http://schemas.microsoft.com/office/drawing/2014/main" id="{C9163938-2785-4D1F-BF6D-38BF33DF9B97}"/>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6" name="Presentation Disclaimer">
            <a:extLst>
              <a:ext uri="{FF2B5EF4-FFF2-40B4-BE49-F238E27FC236}">
                <a16:creationId xmlns:a16="http://schemas.microsoft.com/office/drawing/2014/main" id="{C7F05687-DF8A-4343-AC91-BC2675AFB87E}"/>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3" name="Section Footer">
            <a:extLst>
              <a:ext uri="{FF2B5EF4-FFF2-40B4-BE49-F238E27FC236}">
                <a16:creationId xmlns:a16="http://schemas.microsoft.com/office/drawing/2014/main" id="{DED794C3-4383-43AC-902C-5A450186D193}"/>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4" name="TextBox 23">
            <a:extLst>
              <a:ext uri="{FF2B5EF4-FFF2-40B4-BE49-F238E27FC236}">
                <a16:creationId xmlns:a16="http://schemas.microsoft.com/office/drawing/2014/main" id="{964F52D2-7367-4B0E-9D2D-29AFCA9CD2C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5" name="Straight Connector 24">
            <a:extLst>
              <a:ext uri="{FF2B5EF4-FFF2-40B4-BE49-F238E27FC236}">
                <a16:creationId xmlns:a16="http://schemas.microsoft.com/office/drawing/2014/main" id="{9F7E5360-4F8D-4FCD-B7AC-F798EC35A7A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Draft stamp">
            <a:extLst>
              <a:ext uri="{FF2B5EF4-FFF2-40B4-BE49-F238E27FC236}">
                <a16:creationId xmlns:a16="http://schemas.microsoft.com/office/drawing/2014/main" id="{1DF6D7B6-5867-4B92-8FBA-C62AA2356B05}"/>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2232804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ntro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6"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EA7A290B-C63D-405E-8ACC-CE7A7042C432}"/>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8" name="Page Number">
            <a:extLst>
              <a:ext uri="{FF2B5EF4-FFF2-40B4-BE49-F238E27FC236}">
                <a16:creationId xmlns:a16="http://schemas.microsoft.com/office/drawing/2014/main" id="{A58703A6-1313-434F-9F41-5C0717B2C451}"/>
              </a:ext>
            </a:extLst>
          </p:cNvPr>
          <p:cNvSpPr txBox="1"/>
          <p:nvPr>
            <p:custDataLst>
              <p:tags r:id="rId5"/>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9" name="Presentation Disclaimer">
            <a:extLst>
              <a:ext uri="{FF2B5EF4-FFF2-40B4-BE49-F238E27FC236}">
                <a16:creationId xmlns:a16="http://schemas.microsoft.com/office/drawing/2014/main" id="{FEED1EAE-54DA-4BFE-B8AA-01FAFBE1ABE8}"/>
              </a:ext>
            </a:extLst>
          </p:cNvPr>
          <p:cNvSpPr txBox="1"/>
          <p:nvPr>
            <p:custDataLst>
              <p:tags r:id="rId6"/>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1" name="Section Footer">
            <a:extLst>
              <a:ext uri="{FF2B5EF4-FFF2-40B4-BE49-F238E27FC236}">
                <a16:creationId xmlns:a16="http://schemas.microsoft.com/office/drawing/2014/main" id="{F1847CC5-B1D1-4474-9C3E-39FBF238FC90}"/>
              </a:ext>
            </a:extLst>
          </p:cNvPr>
          <p:cNvSpPr txBox="1"/>
          <p:nvPr>
            <p:custDataLst>
              <p:tags r:id="rId7"/>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3" name="TextBox 22">
            <a:extLst>
              <a:ext uri="{FF2B5EF4-FFF2-40B4-BE49-F238E27FC236}">
                <a16:creationId xmlns:a16="http://schemas.microsoft.com/office/drawing/2014/main" id="{82891E66-7DDE-4707-BC15-833A2E60B93F}"/>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4" name="Straight Connector 23">
            <a:extLst>
              <a:ext uri="{FF2B5EF4-FFF2-40B4-BE49-F238E27FC236}">
                <a16:creationId xmlns:a16="http://schemas.microsoft.com/office/drawing/2014/main" id="{E939BE09-0D2C-4954-8138-608BE1226AD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Draft stamp">
            <a:extLst>
              <a:ext uri="{FF2B5EF4-FFF2-40B4-BE49-F238E27FC236}">
                <a16:creationId xmlns:a16="http://schemas.microsoft.com/office/drawing/2014/main" id="{6C4C93B2-A619-441E-B329-F1D1D1339EBD}"/>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3546346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Intro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6"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EA7A290B-C63D-405E-8ACC-CE7A7042C432}"/>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8" name="Page Number">
            <a:extLst>
              <a:ext uri="{FF2B5EF4-FFF2-40B4-BE49-F238E27FC236}">
                <a16:creationId xmlns:a16="http://schemas.microsoft.com/office/drawing/2014/main" id="{A58703A6-1313-434F-9F41-5C0717B2C451}"/>
              </a:ext>
            </a:extLst>
          </p:cNvPr>
          <p:cNvSpPr txBox="1"/>
          <p:nvPr>
            <p:custDataLst>
              <p:tags r:id="rId5"/>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9" name="Presentation Disclaimer">
            <a:extLst>
              <a:ext uri="{FF2B5EF4-FFF2-40B4-BE49-F238E27FC236}">
                <a16:creationId xmlns:a16="http://schemas.microsoft.com/office/drawing/2014/main" id="{FEED1EAE-54DA-4BFE-B8AA-01FAFBE1ABE8}"/>
              </a:ext>
            </a:extLst>
          </p:cNvPr>
          <p:cNvSpPr txBox="1"/>
          <p:nvPr>
            <p:custDataLst>
              <p:tags r:id="rId6"/>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1" name="Section Footer">
            <a:extLst>
              <a:ext uri="{FF2B5EF4-FFF2-40B4-BE49-F238E27FC236}">
                <a16:creationId xmlns:a16="http://schemas.microsoft.com/office/drawing/2014/main" id="{F1847CC5-B1D1-4474-9C3E-39FBF238FC90}"/>
              </a:ext>
            </a:extLst>
          </p:cNvPr>
          <p:cNvSpPr txBox="1"/>
          <p:nvPr>
            <p:custDataLst>
              <p:tags r:id="rId7"/>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3" name="TextBox 22">
            <a:extLst>
              <a:ext uri="{FF2B5EF4-FFF2-40B4-BE49-F238E27FC236}">
                <a16:creationId xmlns:a16="http://schemas.microsoft.com/office/drawing/2014/main" id="{82891E66-7DDE-4707-BC15-833A2E60B93F}"/>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4" name="Straight Connector 23">
            <a:extLst>
              <a:ext uri="{FF2B5EF4-FFF2-40B4-BE49-F238E27FC236}">
                <a16:creationId xmlns:a16="http://schemas.microsoft.com/office/drawing/2014/main" id="{E939BE09-0D2C-4954-8138-608BE1226AD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Draft stamp">
            <a:extLst>
              <a:ext uri="{FF2B5EF4-FFF2-40B4-BE49-F238E27FC236}">
                <a16:creationId xmlns:a16="http://schemas.microsoft.com/office/drawing/2014/main" id="{6C4C93B2-A619-441E-B329-F1D1D1339EBD}"/>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7259095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t a Glance ">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3513513"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At a glanc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Content Placeholder 2">
            <a:extLst>
              <a:ext uri="{FF2B5EF4-FFF2-40B4-BE49-F238E27FC236}">
                <a16:creationId xmlns:a16="http://schemas.microsoft.com/office/drawing/2014/main" id="{3EFFD349-10E5-48CF-8A59-EF1555B521B2}"/>
              </a:ext>
            </a:extLst>
          </p:cNvPr>
          <p:cNvSpPr>
            <a:spLocks noGrp="1"/>
          </p:cNvSpPr>
          <p:nvPr>
            <p:ph sz="quarter" idx="27" hasCustomPrompt="1"/>
            <p:custDataLst>
              <p:tags r:id="rId8"/>
            </p:custDataLst>
          </p:nvPr>
        </p:nvSpPr>
        <p:spPr>
          <a:xfrm>
            <a:off x="4339244" y="949817"/>
            <a:ext cx="7209905" cy="742278"/>
          </a:xfrm>
        </p:spPr>
        <p:txBody>
          <a:bodyPr tIns="0" bIns="0"/>
          <a:lstStyle>
            <a:lvl1pPr>
              <a:defRPr sz="882" b="1" i="0">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25" name="Report Date">
            <a:extLst>
              <a:ext uri="{FF2B5EF4-FFF2-40B4-BE49-F238E27FC236}">
                <a16:creationId xmlns:a16="http://schemas.microsoft.com/office/drawing/2014/main" id="{0665A064-6277-415D-A60B-2C406E27F0A5}"/>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3E3BCC40-17E6-40CE-86FB-031964A7D935}"/>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E93B3E1C-A734-4BF7-8D8A-7ABE20B0541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EAB395CC-B6E8-411B-AD9B-E9D9855FB07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34D888D0-1439-411F-967C-CAA5F572B50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8D75FF6B-0198-42AD-B231-B2AA3F0AE8FC}"/>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Draft stamp">
            <a:extLst>
              <a:ext uri="{FF2B5EF4-FFF2-40B4-BE49-F238E27FC236}">
                <a16:creationId xmlns:a16="http://schemas.microsoft.com/office/drawing/2014/main" id="{E209326F-C152-4F60-A83B-88FAC2D99544}"/>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3464889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Glossary">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Glossary</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BCDE7FFC-7693-4723-B753-B6E41BB1B5EA}"/>
              </a:ext>
            </a:extLst>
          </p:cNvPr>
          <p:cNvSpPr txBox="1"/>
          <p:nvPr>
            <p:custDataLst>
              <p:tags r:id="rId6"/>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3" name="Page Number">
            <a:extLst>
              <a:ext uri="{FF2B5EF4-FFF2-40B4-BE49-F238E27FC236}">
                <a16:creationId xmlns:a16="http://schemas.microsoft.com/office/drawing/2014/main" id="{48686681-E6DE-42F4-A1DD-218D21E6C1AC}"/>
              </a:ext>
            </a:extLst>
          </p:cNvPr>
          <p:cNvSpPr txBox="1"/>
          <p:nvPr>
            <p:custDataLst>
              <p:tags r:id="rId7"/>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4" name="Presentation Disclaimer">
            <a:extLst>
              <a:ext uri="{FF2B5EF4-FFF2-40B4-BE49-F238E27FC236}">
                <a16:creationId xmlns:a16="http://schemas.microsoft.com/office/drawing/2014/main" id="{3DD43CF5-DB97-4C55-B532-40D00A448FDC}"/>
              </a:ext>
            </a:extLst>
          </p:cNvPr>
          <p:cNvSpPr txBox="1"/>
          <p:nvPr>
            <p:custDataLst>
              <p:tags r:id="rId8"/>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5" name="Section Footer">
            <a:extLst>
              <a:ext uri="{FF2B5EF4-FFF2-40B4-BE49-F238E27FC236}">
                <a16:creationId xmlns:a16="http://schemas.microsoft.com/office/drawing/2014/main" id="{21726509-E513-4245-AE69-0956E3B47115}"/>
              </a:ext>
            </a:extLst>
          </p:cNvPr>
          <p:cNvSpPr txBox="1"/>
          <p:nvPr>
            <p:custDataLst>
              <p:tags r:id="rId9"/>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6" name="TextBox 25">
            <a:extLst>
              <a:ext uri="{FF2B5EF4-FFF2-40B4-BE49-F238E27FC236}">
                <a16:creationId xmlns:a16="http://schemas.microsoft.com/office/drawing/2014/main" id="{A174265E-D6B4-4307-BBAE-41A376249A96}"/>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7" name="Straight Connector 26">
            <a:extLst>
              <a:ext uri="{FF2B5EF4-FFF2-40B4-BE49-F238E27FC236}">
                <a16:creationId xmlns:a16="http://schemas.microsoft.com/office/drawing/2014/main" id="{62174D3C-422F-4C24-91E7-4C14614D41BB}"/>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Draft stamp">
            <a:extLst>
              <a:ext uri="{FF2B5EF4-FFF2-40B4-BE49-F238E27FC236}">
                <a16:creationId xmlns:a16="http://schemas.microsoft.com/office/drawing/2014/main" id="{B9EC7613-0765-4C3E-A317-ECEF6A7225CE}"/>
              </a:ext>
            </a:extLst>
          </p:cNvPr>
          <p:cNvSpPr txBox="1"/>
          <p:nvPr>
            <p:custDataLst>
              <p:tags r:id="rId10"/>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86125095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accent1"/>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6"/>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4FBEF6FA-A0C7-46EC-AFF5-9AFA4782851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B864BC2B-A74D-467D-99EB-1EE062BBD3CF}"/>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425377669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Divider 1">
    <p:bg>
      <p:bgPr>
        <a:solidFill>
          <a:schemeClr val="accent6"/>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1"/>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0E108681-ED46-4FCD-AF9B-B0F12DB82361}"/>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9FB0E485-E0C8-4B7D-BB20-D326D12F239D}"/>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31201875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Appendix Divider">
    <p:bg>
      <p:bgPr>
        <a:solidFill>
          <a:schemeClr val="accent1"/>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6"/>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784D724-50E8-40C9-83D5-3D08BB1550D7}"/>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DB77E1-10C5-41A7-B534-2D41309DC8D7}"/>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292755925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Appendix Divider 1">
    <p:bg>
      <p:bgPr>
        <a:solidFill>
          <a:schemeClr val="accent6"/>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4"/>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2C19DD9-BA46-4527-91D3-9377718D0CB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1998C4-AD53-42B5-93F1-BC4AA20A5246}"/>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1292392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09600" y="457200"/>
            <a:ext cx="5309062" cy="2517289"/>
          </a:xfrm>
        </p:spPr>
        <p:txBody>
          <a:bodyPr vert="horz" lIns="0" tIns="0" rIns="0" bIns="0" rtlCol="0" anchor="b" anchorCtr="0">
            <a:noAutofit/>
          </a:bodyPr>
          <a:lstStyle>
            <a:lvl1pPr algn="l" defTabSz="899010" rtl="0" eaLnBrk="1" latinLnBrk="0" hangingPunct="1">
              <a:spcBef>
                <a:spcPct val="0"/>
              </a:spcBef>
              <a:buNone/>
              <a:defRPr lang="en-GB" sz="4236"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Thank you</a:t>
            </a:r>
            <a:endParaRPr lang="en-GB"/>
          </a:p>
        </p:txBody>
      </p:sp>
      <p:sp>
        <p:nvSpPr>
          <p:cNvPr id="8" name="Slide Tags" hidden="1"/>
          <p:cNvSpPr txBox="1"/>
          <p:nvPr>
            <p:custDataLst>
              <p:tags r:id="rId1"/>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5" name="Rectangle 4">
            <a:extLst>
              <a:ext uri="{FF2B5EF4-FFF2-40B4-BE49-F238E27FC236}">
                <a16:creationId xmlns:a16="http://schemas.microsoft.com/office/drawing/2014/main" id="{AAF4687C-57A8-453A-A049-0D4DDFEA3263}"/>
              </a:ext>
            </a:extLst>
          </p:cNvPr>
          <p:cNvSpPr/>
          <p:nvPr/>
        </p:nvSpPr>
        <p:spPr bwMode="hidden">
          <a:xfrm>
            <a:off x="0" y="4940855"/>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10"/>
          </a:p>
        </p:txBody>
      </p:sp>
      <p:sp>
        <p:nvSpPr>
          <p:cNvPr id="3" name="Text Placeholder 2">
            <a:extLst>
              <a:ext uri="{FF2B5EF4-FFF2-40B4-BE49-F238E27FC236}">
                <a16:creationId xmlns:a16="http://schemas.microsoft.com/office/drawing/2014/main" id="{41C2BBAF-6A4B-47CB-BD75-5168D1A27556}"/>
              </a:ext>
            </a:extLst>
          </p:cNvPr>
          <p:cNvSpPr>
            <a:spLocks noGrp="1"/>
          </p:cNvSpPr>
          <p:nvPr>
            <p:ph type="body" sz="quarter" idx="10" hasCustomPrompt="1"/>
          </p:nvPr>
        </p:nvSpPr>
        <p:spPr>
          <a:xfrm>
            <a:off x="609600" y="5212080"/>
            <a:ext cx="10906298" cy="13716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gal]</a:t>
            </a:r>
          </a:p>
        </p:txBody>
      </p:sp>
    </p:spTree>
    <p:extLst>
      <p:ext uri="{BB962C8B-B14F-4D97-AF65-F5344CB8AC3E}">
        <p14:creationId xmlns:p14="http://schemas.microsoft.com/office/powerpoint/2010/main" val="255585708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15" name="Picture Placeholder 9">
            <a:extLst>
              <a:ext uri="{FF2B5EF4-FFF2-40B4-BE49-F238E27FC236}">
                <a16:creationId xmlns:a16="http://schemas.microsoft.com/office/drawing/2014/main" id="{88EEE73C-8877-43D1-86A9-69E953630E6B}"/>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2" name="Freeform: Shape 11">
            <a:extLst>
              <a:ext uri="{FF2B5EF4-FFF2-40B4-BE49-F238E27FC236}">
                <a16:creationId xmlns:a16="http://schemas.microsoft.com/office/drawing/2014/main" id="{12869856-6182-4B8D-938C-EBFCD02C87F2}"/>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413687912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12" name="Picture Placeholder 9">
            <a:extLst>
              <a:ext uri="{FF2B5EF4-FFF2-40B4-BE49-F238E27FC236}">
                <a16:creationId xmlns:a16="http://schemas.microsoft.com/office/drawing/2014/main" id="{627FAFAA-285F-4945-A3A2-666A8A502E15}"/>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5" name="Freeform: Shape 14">
            <a:extLst>
              <a:ext uri="{FF2B5EF4-FFF2-40B4-BE49-F238E27FC236}">
                <a16:creationId xmlns:a16="http://schemas.microsoft.com/office/drawing/2014/main" id="{575F215B-4184-4392-9C86-1A188FA31F05}"/>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4" name="Picture 13">
            <a:extLst>
              <a:ext uri="{FF2B5EF4-FFF2-40B4-BE49-F238E27FC236}">
                <a16:creationId xmlns:a16="http://schemas.microsoft.com/office/drawing/2014/main" id="{5D160942-482E-4DB8-A58E-71FBEDE7727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11" name="Report Title">
            <a:extLst>
              <a:ext uri="{FF2B5EF4-FFF2-40B4-BE49-F238E27FC236}">
                <a16:creationId xmlns:a16="http://schemas.microsoft.com/office/drawing/2014/main" id="{12C0EFB5-DB4A-44B7-BEB6-50F77D1D323D}"/>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2EEB4B15-EBE2-4CC7-87E7-CF12291C9A89}"/>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6" name="Confidentiality Stamp">
            <a:extLst>
              <a:ext uri="{FF2B5EF4-FFF2-40B4-BE49-F238E27FC236}">
                <a16:creationId xmlns:a16="http://schemas.microsoft.com/office/drawing/2014/main" id="{BB6F76BA-CA5E-46B1-A4FE-A04494BA1F41}"/>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7" name="Draft Stamp">
            <a:extLst>
              <a:ext uri="{FF2B5EF4-FFF2-40B4-BE49-F238E27FC236}">
                <a16:creationId xmlns:a16="http://schemas.microsoft.com/office/drawing/2014/main" id="{FD086E63-2C7B-45FF-B665-56AD61AC323A}"/>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18" name="Report Date">
            <a:extLst>
              <a:ext uri="{FF2B5EF4-FFF2-40B4-BE49-F238E27FC236}">
                <a16:creationId xmlns:a16="http://schemas.microsoft.com/office/drawing/2014/main" id="{2093D07F-E838-4E22-A6DD-E50DBC55755D}"/>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26232234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t a Glance ">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3513513"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At a glanc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Content Placeholder 2">
            <a:extLst>
              <a:ext uri="{FF2B5EF4-FFF2-40B4-BE49-F238E27FC236}">
                <a16:creationId xmlns:a16="http://schemas.microsoft.com/office/drawing/2014/main" id="{3EFFD349-10E5-48CF-8A59-EF1555B521B2}"/>
              </a:ext>
            </a:extLst>
          </p:cNvPr>
          <p:cNvSpPr>
            <a:spLocks noGrp="1"/>
          </p:cNvSpPr>
          <p:nvPr>
            <p:ph sz="quarter" idx="27" hasCustomPrompt="1"/>
            <p:custDataLst>
              <p:tags r:id="rId8"/>
            </p:custDataLst>
          </p:nvPr>
        </p:nvSpPr>
        <p:spPr>
          <a:xfrm>
            <a:off x="4339244" y="949817"/>
            <a:ext cx="7209905" cy="742278"/>
          </a:xfrm>
        </p:spPr>
        <p:txBody>
          <a:bodyPr tIns="0" bIns="0"/>
          <a:lstStyle>
            <a:lvl1pPr>
              <a:defRPr sz="882" b="1" i="0">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25" name="Report Date">
            <a:extLst>
              <a:ext uri="{FF2B5EF4-FFF2-40B4-BE49-F238E27FC236}">
                <a16:creationId xmlns:a16="http://schemas.microsoft.com/office/drawing/2014/main" id="{0665A064-6277-415D-A60B-2C406E27F0A5}"/>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3E3BCC40-17E6-40CE-86FB-031964A7D935}"/>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E93B3E1C-A734-4BF7-8D8A-7ABE20B0541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EAB395CC-B6E8-411B-AD9B-E9D9855FB07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34D888D0-1439-411F-967C-CAA5F572B50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8D75FF6B-0198-42AD-B231-B2AA3F0AE8FC}"/>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Draft stamp">
            <a:extLst>
              <a:ext uri="{FF2B5EF4-FFF2-40B4-BE49-F238E27FC236}">
                <a16:creationId xmlns:a16="http://schemas.microsoft.com/office/drawing/2014/main" id="{E209326F-C152-4F60-A83B-88FAC2D99544}"/>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38288720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accent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7"/>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260025323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Ttle Slide 2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a:solidFill>
            <a:schemeClr val="accent6"/>
          </a:solidFill>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a:grpFill/>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28872219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Ttle Slide 3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1436070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484C0D-6176-452F-9734-BCF5DF2748D2}"/>
              </a:ext>
            </a:extLst>
          </p:cNvPr>
          <p:cNvGraphicFramePr>
            <a:graphicFrameLocks noChangeAspect="1"/>
          </p:cNvGraphicFramePr>
          <p:nvPr userDrawn="1">
            <p:custDataLst>
              <p:tags r:id="rId1"/>
            </p:custDataLst>
            <p:extLst>
              <p:ext uri="{D42A27DB-BD31-4B8C-83A1-F6EECF244321}">
                <p14:modId xmlns:p14="http://schemas.microsoft.com/office/powerpoint/2010/main" val="402867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2" name="Object 1" hidden="1">
                        <a:extLst>
                          <a:ext uri="{FF2B5EF4-FFF2-40B4-BE49-F238E27FC236}">
                            <a16:creationId xmlns:a16="http://schemas.microsoft.com/office/drawing/2014/main" id="{23484C0D-6176-452F-9734-BCF5DF2748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Google Shape;24;p12"/>
          <p:cNvSpPr txBox="1">
            <a:spLocks noGrp="1"/>
          </p:cNvSpPr>
          <p:nvPr>
            <p:ph type="title"/>
          </p:nvPr>
        </p:nvSpPr>
        <p:spPr>
          <a:xfrm>
            <a:off x="442913" y="274544"/>
            <a:ext cx="11306175" cy="43088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dk1"/>
              </a:buClr>
              <a:buSzPts val="2400"/>
              <a:buFont typeface="Georgia"/>
              <a:buNone/>
              <a:defRPr sz="2800">
                <a:solidFill>
                  <a:schemeClr val="tx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 name="Google Shape;75;p2">
            <a:extLst>
              <a:ext uri="{FF2B5EF4-FFF2-40B4-BE49-F238E27FC236}">
                <a16:creationId xmlns:a16="http://schemas.microsoft.com/office/drawing/2014/main" id="{15733BA1-7A19-46BC-94D4-AA73D5B54FD6}"/>
              </a:ext>
            </a:extLst>
          </p:cNvPr>
          <p:cNvSpPr txBox="1">
            <a:spLocks noGrp="1"/>
          </p:cNvSpPr>
          <p:nvPr>
            <p:ph type="sldNum" idx="12"/>
          </p:nvPr>
        </p:nvSpPr>
        <p:spPr>
          <a:xfrm>
            <a:off x="9984296" y="6492240"/>
            <a:ext cx="1764792" cy="137160"/>
          </a:xfrm>
        </p:spPr>
        <p:txBody>
          <a:bodyPr/>
          <a:lstStyle/>
          <a:p>
            <a:pPr lvl="0"/>
            <a:fld id="{00000000-1234-1234-1234-123412341234}" type="slidenum">
              <a:rPr lang="en-US"/>
              <a:pPr lvl="0"/>
              <a:t>‹#›</a:t>
            </a:fld>
            <a:endParaRPr lang="en-US"/>
          </a:p>
        </p:txBody>
      </p:sp>
      <p:sp>
        <p:nvSpPr>
          <p:cNvPr id="9" name="Google Shape;76;p2">
            <a:extLst>
              <a:ext uri="{FF2B5EF4-FFF2-40B4-BE49-F238E27FC236}">
                <a16:creationId xmlns:a16="http://schemas.microsoft.com/office/drawing/2014/main" id="{F90358ED-B9E4-4B7A-98F8-7ED4D7F4D258}"/>
              </a:ext>
            </a:extLst>
          </p:cNvPr>
          <p:cNvSpPr txBox="1">
            <a:spLocks noGrp="1"/>
          </p:cNvSpPr>
          <p:nvPr>
            <p:ph type="dt" idx="10"/>
          </p:nvPr>
        </p:nvSpPr>
        <p:spPr>
          <a:xfrm>
            <a:off x="9753600" y="6492240"/>
            <a:ext cx="1764792" cy="13716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r>
              <a:rPr lang="en-US"/>
              <a:t>Sep 23</a:t>
            </a:r>
            <a:endParaRPr/>
          </a:p>
        </p:txBody>
      </p:sp>
      <p:cxnSp>
        <p:nvCxnSpPr>
          <p:cNvPr id="12" name="Straight Connector 11">
            <a:extLst>
              <a:ext uri="{FF2B5EF4-FFF2-40B4-BE49-F238E27FC236}">
                <a16:creationId xmlns:a16="http://schemas.microsoft.com/office/drawing/2014/main" id="{96FDEDB9-2304-493D-BD8E-B70153449AC3}"/>
              </a:ext>
            </a:extLst>
          </p:cNvPr>
          <p:cNvCxnSpPr>
            <a:cxnSpLocks/>
          </p:cNvCxnSpPr>
          <p:nvPr userDrawn="1"/>
        </p:nvCxnSpPr>
        <p:spPr>
          <a:xfrm>
            <a:off x="0" y="1110482"/>
            <a:ext cx="12192000" cy="0"/>
          </a:xfrm>
          <a:prstGeom prst="line">
            <a:avLst/>
          </a:prstGeom>
          <a:ln w="254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C9CF0553-8850-4340-B496-AF2A4B7C163E}"/>
              </a:ext>
            </a:extLst>
          </p:cNvPr>
          <p:cNvGrpSpPr/>
          <p:nvPr userDrawn="1"/>
        </p:nvGrpSpPr>
        <p:grpSpPr>
          <a:xfrm>
            <a:off x="11163300" y="1028412"/>
            <a:ext cx="591246" cy="164140"/>
            <a:chOff x="10705057" y="974091"/>
            <a:chExt cx="935189" cy="259624"/>
          </a:xfrm>
        </p:grpSpPr>
        <p:sp>
          <p:nvSpPr>
            <p:cNvPr id="14" name="Oval 13">
              <a:extLst>
                <a:ext uri="{FF2B5EF4-FFF2-40B4-BE49-F238E27FC236}">
                  <a16:creationId xmlns:a16="http://schemas.microsoft.com/office/drawing/2014/main" id="{53F50E06-3BA3-45B0-872E-2A68E4020100}"/>
                </a:ext>
              </a:extLst>
            </p:cNvPr>
            <p:cNvSpPr/>
            <p:nvPr userDrawn="1"/>
          </p:nvSpPr>
          <p:spPr>
            <a:xfrm>
              <a:off x="10705057" y="974091"/>
              <a:ext cx="260263" cy="2596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ABE8DA4A-B361-4FAD-A5A6-ADCCEEE72520}"/>
                </a:ext>
              </a:extLst>
            </p:cNvPr>
            <p:cNvSpPr/>
            <p:nvPr userDrawn="1"/>
          </p:nvSpPr>
          <p:spPr>
            <a:xfrm>
              <a:off x="11042520" y="974091"/>
              <a:ext cx="260263" cy="2596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7A4F0084-564A-428C-A03F-C139E2F54A41}"/>
                </a:ext>
              </a:extLst>
            </p:cNvPr>
            <p:cNvSpPr/>
            <p:nvPr userDrawn="1"/>
          </p:nvSpPr>
          <p:spPr>
            <a:xfrm>
              <a:off x="11379983" y="974091"/>
              <a:ext cx="260263" cy="2596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5144390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F55A2-2C43-4003-B7DB-BB2BA8FD1AC6}"/>
              </a:ext>
            </a:extLst>
          </p:cNvPr>
          <p:cNvGraphicFramePr>
            <a:graphicFrameLocks noChangeAspect="1"/>
          </p:cNvGraphicFramePr>
          <p:nvPr userDrawn="1">
            <p:custDataLst>
              <p:tags r:id="rId1"/>
            </p:custDataLst>
            <p:extLst>
              <p:ext uri="{D42A27DB-BD31-4B8C-83A1-F6EECF244321}">
                <p14:modId xmlns:p14="http://schemas.microsoft.com/office/powerpoint/2010/main" val="83588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E5AF55A2-2C43-4003-B7DB-BB2BA8FD1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spcAft>
                <a:spcPts val="1200"/>
              </a:spcAft>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hasCustomPrompt="1"/>
          </p:nvPr>
        </p:nvSpPr>
        <p:spPr>
          <a:xfrm>
            <a:off x="442913" y="3693523"/>
            <a:ext cx="5473700" cy="594360"/>
          </a:xfrm>
        </p:spPr>
        <p:txBody>
          <a:bodyPr anchor="ctr"/>
          <a:lstStyle>
            <a:lvl1pPr marL="0" indent="0" algn="l">
              <a:lnSpc>
                <a:spcPct val="100000"/>
              </a:lnSpc>
              <a:spcBef>
                <a:spcPts val="0"/>
              </a:spcBef>
              <a:spcAft>
                <a:spcPts val="60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16" name="Rectangle 15">
            <a:extLst>
              <a:ext uri="{FF2B5EF4-FFF2-40B4-BE49-F238E27FC236}">
                <a16:creationId xmlns:a16="http://schemas.microsoft.com/office/drawing/2014/main" id="{C9AE8A82-226D-458A-B26F-C73B563AC241}"/>
              </a:ext>
            </a:extLst>
          </p:cNvPr>
          <p:cNvSpPr/>
          <p:nvPr userDrawn="1"/>
        </p:nvSpPr>
        <p:spPr>
          <a:xfrm rot="5400000">
            <a:off x="2605770" y="3352800"/>
            <a:ext cx="6858000" cy="1524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66641388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F55A2-2C43-4003-B7DB-BB2BA8FD1AC6}"/>
              </a:ext>
            </a:extLst>
          </p:cNvPr>
          <p:cNvGraphicFramePr>
            <a:graphicFrameLocks noChangeAspect="1"/>
          </p:cNvGraphicFramePr>
          <p:nvPr userDrawn="1">
            <p:custDataLst>
              <p:tags r:id="rId1"/>
            </p:custDataLst>
            <p:extLst>
              <p:ext uri="{D42A27DB-BD31-4B8C-83A1-F6EECF244321}">
                <p14:modId xmlns:p14="http://schemas.microsoft.com/office/powerpoint/2010/main" val="83588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E5AF55A2-2C43-4003-B7DB-BB2BA8FD1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spcAft>
                <a:spcPts val="1200"/>
              </a:spcAft>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497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4978400"/>
            <a:ext cx="6096000" cy="18796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hasCustomPrompt="1"/>
          </p:nvPr>
        </p:nvSpPr>
        <p:spPr>
          <a:xfrm>
            <a:off x="442913" y="3693523"/>
            <a:ext cx="5473700" cy="594360"/>
          </a:xfrm>
        </p:spPr>
        <p:txBody>
          <a:bodyPr anchor="ctr"/>
          <a:lstStyle>
            <a:lvl1pPr marL="0" indent="0" algn="l">
              <a:lnSpc>
                <a:spcPct val="100000"/>
              </a:lnSpc>
              <a:spcBef>
                <a:spcPts val="0"/>
              </a:spcBef>
              <a:spcAft>
                <a:spcPts val="60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01106372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Quote 1 Image Orange">
    <p:bg>
      <p:bgPr>
        <a:solidFill>
          <a:schemeClr val="accent6"/>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F37D7A94-5169-4B57-B053-68AF3C9AE503}"/>
              </a:ext>
            </a:extLst>
          </p:cNvPr>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GB"/>
              <a:t>Click icon to add picture</a:t>
            </a:r>
          </a:p>
        </p:txBody>
      </p:sp>
      <p:sp>
        <p:nvSpPr>
          <p:cNvPr id="4" name="Rectangle 3">
            <a:extLst>
              <a:ext uri="{FF2B5EF4-FFF2-40B4-BE49-F238E27FC236}">
                <a16:creationId xmlns:a16="http://schemas.microsoft.com/office/drawing/2014/main" id="{3BDB9795-14DB-4611-A356-F1F92FE05ED1}"/>
              </a:ext>
            </a:extLst>
          </p:cNvPr>
          <p:cNvSpPr/>
          <p:nvPr userDrawn="1"/>
        </p:nvSpPr>
        <p:spPr>
          <a:xfrm>
            <a:off x="0" y="1111250"/>
            <a:ext cx="6095999" cy="46355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27370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GB"/>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Date Placeholder 7">
            <a:extLst>
              <a:ext uri="{FF2B5EF4-FFF2-40B4-BE49-F238E27FC236}">
                <a16:creationId xmlns:a16="http://schemas.microsoft.com/office/drawing/2014/main" id="{08C77347-C792-41EE-BAB8-07B37B9B5F0A}"/>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r>
              <a:rPr lang="en-US"/>
              <a:t>Sep 23</a:t>
            </a:r>
          </a:p>
        </p:txBody>
      </p:sp>
      <p:sp>
        <p:nvSpPr>
          <p:cNvPr id="9" name="Footer Placeholder 8">
            <a:extLst>
              <a:ext uri="{FF2B5EF4-FFF2-40B4-BE49-F238E27FC236}">
                <a16:creationId xmlns:a16="http://schemas.microsoft.com/office/drawing/2014/main" id="{1855CA0F-B925-4009-AFC7-2C64D81F36C5}"/>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r>
              <a:rPr lang="en-US"/>
              <a:t>Prefeasibility study for establishment of ICIC under STKEC</a:t>
            </a:r>
          </a:p>
        </p:txBody>
      </p:sp>
      <p:sp>
        <p:nvSpPr>
          <p:cNvPr id="10" name="Slide Number Placeholder 9">
            <a:extLst>
              <a:ext uri="{FF2B5EF4-FFF2-40B4-BE49-F238E27FC236}">
                <a16:creationId xmlns:a16="http://schemas.microsoft.com/office/drawing/2014/main" id="{5FBE9ADE-3F54-4820-9478-1C0D6A253293}"/>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1537D5A3-B672-4852-AC41-91EB6B6297EE}" type="slidenum">
              <a:rPr lang="en-US" smtClean="0"/>
              <a:pPr/>
              <a:t>‹#›</a:t>
            </a:fld>
            <a:endParaRPr lang="en-US"/>
          </a:p>
        </p:txBody>
      </p:sp>
    </p:spTree>
    <p:extLst>
      <p:ext uri="{BB962C8B-B14F-4D97-AF65-F5344CB8AC3E}">
        <p14:creationId xmlns:p14="http://schemas.microsoft.com/office/powerpoint/2010/main" val="161131736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52FF2-B0F4-45DD-A87C-48894EB8058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620C8C2-5A90-4085-B9FF-867ED538D4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3696E5-70B2-49C1-926F-8396FFF1DAAE}"/>
              </a:ext>
            </a:extLst>
          </p:cNvPr>
          <p:cNvSpPr>
            <a:spLocks noGrp="1"/>
          </p:cNvSpPr>
          <p:nvPr>
            <p:ph type="dt" sz="half" idx="10"/>
          </p:nvPr>
        </p:nvSpPr>
        <p:spPr/>
        <p:txBody>
          <a:bodyPr/>
          <a:lstStyle/>
          <a:p>
            <a:r>
              <a:rPr lang="en-US"/>
              <a:t>Sep 23</a:t>
            </a:r>
          </a:p>
        </p:txBody>
      </p:sp>
      <p:sp>
        <p:nvSpPr>
          <p:cNvPr id="5" name="Footer Placeholder 4">
            <a:extLst>
              <a:ext uri="{FF2B5EF4-FFF2-40B4-BE49-F238E27FC236}">
                <a16:creationId xmlns:a16="http://schemas.microsoft.com/office/drawing/2014/main" id="{2C010AE5-57B8-43B8-B446-15A24E164226}"/>
              </a:ext>
            </a:extLst>
          </p:cNvPr>
          <p:cNvSpPr>
            <a:spLocks noGrp="1"/>
          </p:cNvSpPr>
          <p:nvPr>
            <p:ph type="ftr" sz="quarter" idx="11"/>
          </p:nvPr>
        </p:nvSpPr>
        <p:spPr/>
        <p:txBody>
          <a:body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2523B54E-95DE-4D65-9C51-FC98EC29D721}"/>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314542851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B2CA3-3925-45BA-8680-CD11ABB87F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8843E2-1C6D-4AC5-BA66-93FE0F3C01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8D39FB-F21B-4B1E-9EC5-C09589B06001}"/>
              </a:ext>
            </a:extLst>
          </p:cNvPr>
          <p:cNvSpPr>
            <a:spLocks noGrp="1"/>
          </p:cNvSpPr>
          <p:nvPr>
            <p:ph type="dt" sz="half" idx="10"/>
          </p:nvPr>
        </p:nvSpPr>
        <p:spPr/>
        <p:txBody>
          <a:bodyPr/>
          <a:lstStyle/>
          <a:p>
            <a:r>
              <a:rPr lang="en-US"/>
              <a:t>Sep 23</a:t>
            </a:r>
          </a:p>
        </p:txBody>
      </p:sp>
      <p:sp>
        <p:nvSpPr>
          <p:cNvPr id="5" name="Footer Placeholder 4">
            <a:extLst>
              <a:ext uri="{FF2B5EF4-FFF2-40B4-BE49-F238E27FC236}">
                <a16:creationId xmlns:a16="http://schemas.microsoft.com/office/drawing/2014/main" id="{2954921A-BC88-4CA8-8AD7-77775C213882}"/>
              </a:ext>
            </a:extLst>
          </p:cNvPr>
          <p:cNvSpPr>
            <a:spLocks noGrp="1"/>
          </p:cNvSpPr>
          <p:nvPr>
            <p:ph type="ftr" sz="quarter" idx="11"/>
          </p:nvPr>
        </p:nvSpPr>
        <p:spPr/>
        <p:txBody>
          <a:body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19D58CCC-410E-4125-9D19-972F8E5D2705}"/>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3659293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lossary">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Glossary</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BCDE7FFC-7693-4723-B753-B6E41BB1B5EA}"/>
              </a:ext>
            </a:extLst>
          </p:cNvPr>
          <p:cNvSpPr txBox="1"/>
          <p:nvPr>
            <p:custDataLst>
              <p:tags r:id="rId6"/>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3" name="Page Number">
            <a:extLst>
              <a:ext uri="{FF2B5EF4-FFF2-40B4-BE49-F238E27FC236}">
                <a16:creationId xmlns:a16="http://schemas.microsoft.com/office/drawing/2014/main" id="{48686681-E6DE-42F4-A1DD-218D21E6C1AC}"/>
              </a:ext>
            </a:extLst>
          </p:cNvPr>
          <p:cNvSpPr txBox="1"/>
          <p:nvPr>
            <p:custDataLst>
              <p:tags r:id="rId7"/>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4" name="Presentation Disclaimer">
            <a:extLst>
              <a:ext uri="{FF2B5EF4-FFF2-40B4-BE49-F238E27FC236}">
                <a16:creationId xmlns:a16="http://schemas.microsoft.com/office/drawing/2014/main" id="{3DD43CF5-DB97-4C55-B532-40D00A448FDC}"/>
              </a:ext>
            </a:extLst>
          </p:cNvPr>
          <p:cNvSpPr txBox="1"/>
          <p:nvPr>
            <p:custDataLst>
              <p:tags r:id="rId8"/>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5" name="Section Footer">
            <a:extLst>
              <a:ext uri="{FF2B5EF4-FFF2-40B4-BE49-F238E27FC236}">
                <a16:creationId xmlns:a16="http://schemas.microsoft.com/office/drawing/2014/main" id="{21726509-E513-4245-AE69-0956E3B47115}"/>
              </a:ext>
            </a:extLst>
          </p:cNvPr>
          <p:cNvSpPr txBox="1"/>
          <p:nvPr>
            <p:custDataLst>
              <p:tags r:id="rId9"/>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6" name="TextBox 25">
            <a:extLst>
              <a:ext uri="{FF2B5EF4-FFF2-40B4-BE49-F238E27FC236}">
                <a16:creationId xmlns:a16="http://schemas.microsoft.com/office/drawing/2014/main" id="{A174265E-D6B4-4307-BBAE-41A376249A96}"/>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7" name="Straight Connector 26">
            <a:extLst>
              <a:ext uri="{FF2B5EF4-FFF2-40B4-BE49-F238E27FC236}">
                <a16:creationId xmlns:a16="http://schemas.microsoft.com/office/drawing/2014/main" id="{62174D3C-422F-4C24-91E7-4C14614D41BB}"/>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Draft stamp">
            <a:extLst>
              <a:ext uri="{FF2B5EF4-FFF2-40B4-BE49-F238E27FC236}">
                <a16:creationId xmlns:a16="http://schemas.microsoft.com/office/drawing/2014/main" id="{B9EC7613-0765-4C3E-A317-ECEF6A7225CE}"/>
              </a:ext>
            </a:extLst>
          </p:cNvPr>
          <p:cNvSpPr txBox="1"/>
          <p:nvPr>
            <p:custDataLst>
              <p:tags r:id="rId10"/>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40182774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66843-3F16-4DF5-B4F6-3B92A9A0DC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2E7E189-C2AA-4C9E-8D29-51416FB73D3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BB3266-CD2A-4E1A-8DCA-49A3874C074C}"/>
              </a:ext>
            </a:extLst>
          </p:cNvPr>
          <p:cNvSpPr>
            <a:spLocks noGrp="1"/>
          </p:cNvSpPr>
          <p:nvPr>
            <p:ph type="dt" sz="half" idx="10"/>
          </p:nvPr>
        </p:nvSpPr>
        <p:spPr/>
        <p:txBody>
          <a:bodyPr/>
          <a:lstStyle/>
          <a:p>
            <a:r>
              <a:rPr lang="en-US"/>
              <a:t>Sep 23</a:t>
            </a:r>
          </a:p>
        </p:txBody>
      </p:sp>
      <p:sp>
        <p:nvSpPr>
          <p:cNvPr id="5" name="Footer Placeholder 4">
            <a:extLst>
              <a:ext uri="{FF2B5EF4-FFF2-40B4-BE49-F238E27FC236}">
                <a16:creationId xmlns:a16="http://schemas.microsoft.com/office/drawing/2014/main" id="{CC28778A-C1B3-4258-B8F8-90A617608A75}"/>
              </a:ext>
            </a:extLst>
          </p:cNvPr>
          <p:cNvSpPr>
            <a:spLocks noGrp="1"/>
          </p:cNvSpPr>
          <p:nvPr>
            <p:ph type="ftr" sz="quarter" idx="11"/>
          </p:nvPr>
        </p:nvSpPr>
        <p:spPr/>
        <p:txBody>
          <a:body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1700BD33-A8F3-4887-AD4D-CD666B3104A4}"/>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75759164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7097A-1A05-41E4-A216-04FC5226E6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051351-F7B4-4316-8F8C-B7024F10F61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D73FF61-AB58-491C-AC25-288E7365FF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2D1F73A-7A39-4CDF-8025-0873B43A4BBA}"/>
              </a:ext>
            </a:extLst>
          </p:cNvPr>
          <p:cNvSpPr>
            <a:spLocks noGrp="1"/>
          </p:cNvSpPr>
          <p:nvPr>
            <p:ph type="dt" sz="half" idx="10"/>
          </p:nvPr>
        </p:nvSpPr>
        <p:spPr/>
        <p:txBody>
          <a:bodyPr/>
          <a:lstStyle/>
          <a:p>
            <a:r>
              <a:rPr lang="en-US"/>
              <a:t>Sep 23</a:t>
            </a:r>
          </a:p>
        </p:txBody>
      </p:sp>
      <p:sp>
        <p:nvSpPr>
          <p:cNvPr id="6" name="Footer Placeholder 5">
            <a:extLst>
              <a:ext uri="{FF2B5EF4-FFF2-40B4-BE49-F238E27FC236}">
                <a16:creationId xmlns:a16="http://schemas.microsoft.com/office/drawing/2014/main" id="{84381657-A237-440A-B420-BF35E0AF9E58}"/>
              </a:ext>
            </a:extLst>
          </p:cNvPr>
          <p:cNvSpPr>
            <a:spLocks noGrp="1"/>
          </p:cNvSpPr>
          <p:nvPr>
            <p:ph type="ftr" sz="quarter" idx="11"/>
          </p:nvPr>
        </p:nvSpPr>
        <p:spPr/>
        <p:txBody>
          <a:bodyPr/>
          <a:lstStyle/>
          <a:p>
            <a:r>
              <a:rPr lang="en-US"/>
              <a:t>Prefeasibility study for establishment of ICIC under STKEC</a:t>
            </a:r>
          </a:p>
        </p:txBody>
      </p:sp>
      <p:sp>
        <p:nvSpPr>
          <p:cNvPr id="7" name="Slide Number Placeholder 6">
            <a:extLst>
              <a:ext uri="{FF2B5EF4-FFF2-40B4-BE49-F238E27FC236}">
                <a16:creationId xmlns:a16="http://schemas.microsoft.com/office/drawing/2014/main" id="{B3935CAC-6C9A-4B59-84CF-129031E663D5}"/>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296724877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0A70C-9D01-4502-B009-505EB4F042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E7980E-9BF8-4B2C-8160-F6EA894389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8BE2EB6-3B54-4949-AE4C-07F0A83ADF4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69A03E2-977A-422C-BBA4-E461AFBB5B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A47F30-113E-4EC9-979D-68A5FA9539D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ACB795-79DD-4975-94A5-CFE269CA2ABC}"/>
              </a:ext>
            </a:extLst>
          </p:cNvPr>
          <p:cNvSpPr>
            <a:spLocks noGrp="1"/>
          </p:cNvSpPr>
          <p:nvPr>
            <p:ph type="dt" sz="half" idx="10"/>
          </p:nvPr>
        </p:nvSpPr>
        <p:spPr/>
        <p:txBody>
          <a:bodyPr/>
          <a:lstStyle/>
          <a:p>
            <a:r>
              <a:rPr lang="en-US"/>
              <a:t>Sep 23</a:t>
            </a:r>
          </a:p>
        </p:txBody>
      </p:sp>
      <p:sp>
        <p:nvSpPr>
          <p:cNvPr id="8" name="Footer Placeholder 7">
            <a:extLst>
              <a:ext uri="{FF2B5EF4-FFF2-40B4-BE49-F238E27FC236}">
                <a16:creationId xmlns:a16="http://schemas.microsoft.com/office/drawing/2014/main" id="{54688243-BFE1-4274-A90D-6B55B6AB0A90}"/>
              </a:ext>
            </a:extLst>
          </p:cNvPr>
          <p:cNvSpPr>
            <a:spLocks noGrp="1"/>
          </p:cNvSpPr>
          <p:nvPr>
            <p:ph type="ftr" sz="quarter" idx="11"/>
          </p:nvPr>
        </p:nvSpPr>
        <p:spPr/>
        <p:txBody>
          <a:bodyPr/>
          <a:lstStyle/>
          <a:p>
            <a:r>
              <a:rPr lang="en-US"/>
              <a:t>Prefeasibility study for establishment of ICIC under STKEC</a:t>
            </a:r>
          </a:p>
        </p:txBody>
      </p:sp>
      <p:sp>
        <p:nvSpPr>
          <p:cNvPr id="9" name="Slide Number Placeholder 8">
            <a:extLst>
              <a:ext uri="{FF2B5EF4-FFF2-40B4-BE49-F238E27FC236}">
                <a16:creationId xmlns:a16="http://schemas.microsoft.com/office/drawing/2014/main" id="{B2F9FDFE-1DB0-4B82-BD6C-EE264B7B2205}"/>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238489394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E7BB3-BA4E-422A-834D-52EEB735BCA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459292C-B14F-4591-B981-62102A3A3FC1}"/>
              </a:ext>
            </a:extLst>
          </p:cNvPr>
          <p:cNvSpPr>
            <a:spLocks noGrp="1"/>
          </p:cNvSpPr>
          <p:nvPr>
            <p:ph type="dt" sz="half" idx="10"/>
          </p:nvPr>
        </p:nvSpPr>
        <p:spPr/>
        <p:txBody>
          <a:bodyPr/>
          <a:lstStyle/>
          <a:p>
            <a:r>
              <a:rPr lang="en-US"/>
              <a:t>Sep 23</a:t>
            </a:r>
          </a:p>
        </p:txBody>
      </p:sp>
      <p:sp>
        <p:nvSpPr>
          <p:cNvPr id="4" name="Footer Placeholder 3">
            <a:extLst>
              <a:ext uri="{FF2B5EF4-FFF2-40B4-BE49-F238E27FC236}">
                <a16:creationId xmlns:a16="http://schemas.microsoft.com/office/drawing/2014/main" id="{C6B56527-88F0-4CBA-BDA6-8E4F6D2F363D}"/>
              </a:ext>
            </a:extLst>
          </p:cNvPr>
          <p:cNvSpPr>
            <a:spLocks noGrp="1"/>
          </p:cNvSpPr>
          <p:nvPr>
            <p:ph type="ftr" sz="quarter" idx="11"/>
          </p:nvPr>
        </p:nvSpPr>
        <p:spPr/>
        <p:txBody>
          <a:body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19FDB9AD-5E1C-42FF-8632-BF784803244C}"/>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19254231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AC6B3E-B0F2-4040-B2FF-6020DE3C505E}"/>
              </a:ext>
            </a:extLst>
          </p:cNvPr>
          <p:cNvSpPr>
            <a:spLocks noGrp="1"/>
          </p:cNvSpPr>
          <p:nvPr>
            <p:ph type="dt" sz="half" idx="10"/>
          </p:nvPr>
        </p:nvSpPr>
        <p:spPr/>
        <p:txBody>
          <a:bodyPr/>
          <a:lstStyle/>
          <a:p>
            <a:r>
              <a:rPr lang="en-US"/>
              <a:t>Sep 23</a:t>
            </a:r>
          </a:p>
        </p:txBody>
      </p:sp>
      <p:sp>
        <p:nvSpPr>
          <p:cNvPr id="3" name="Footer Placeholder 2">
            <a:extLst>
              <a:ext uri="{FF2B5EF4-FFF2-40B4-BE49-F238E27FC236}">
                <a16:creationId xmlns:a16="http://schemas.microsoft.com/office/drawing/2014/main" id="{388F550E-928F-4DB0-AFF5-2183ADFDAC68}"/>
              </a:ext>
            </a:extLst>
          </p:cNvPr>
          <p:cNvSpPr>
            <a:spLocks noGrp="1"/>
          </p:cNvSpPr>
          <p:nvPr>
            <p:ph type="ftr" sz="quarter" idx="11"/>
          </p:nvPr>
        </p:nvSpPr>
        <p:spPr/>
        <p:txBody>
          <a:bodyPr/>
          <a:lstStyle/>
          <a:p>
            <a:r>
              <a:rPr lang="en-US"/>
              <a:t>Prefeasibility study for establishment of ICIC under STKEC</a:t>
            </a:r>
          </a:p>
        </p:txBody>
      </p:sp>
      <p:sp>
        <p:nvSpPr>
          <p:cNvPr id="4" name="Slide Number Placeholder 3">
            <a:extLst>
              <a:ext uri="{FF2B5EF4-FFF2-40B4-BE49-F238E27FC236}">
                <a16:creationId xmlns:a16="http://schemas.microsoft.com/office/drawing/2014/main" id="{3146A2CC-CFE0-41B4-8541-CDCCA5159860}"/>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292112447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7FF2-DFBD-43E9-85DA-BA8E2C5DA6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277E14-1580-44BA-AE58-11913DD522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26438B-2453-4415-9A00-6163F12866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50DB7C-4175-46B1-99F8-48F432A0505D}"/>
              </a:ext>
            </a:extLst>
          </p:cNvPr>
          <p:cNvSpPr>
            <a:spLocks noGrp="1"/>
          </p:cNvSpPr>
          <p:nvPr>
            <p:ph type="dt" sz="half" idx="10"/>
          </p:nvPr>
        </p:nvSpPr>
        <p:spPr/>
        <p:txBody>
          <a:bodyPr/>
          <a:lstStyle/>
          <a:p>
            <a:r>
              <a:rPr lang="en-US"/>
              <a:t>Sep 23</a:t>
            </a:r>
          </a:p>
        </p:txBody>
      </p:sp>
      <p:sp>
        <p:nvSpPr>
          <p:cNvPr id="6" name="Footer Placeholder 5">
            <a:extLst>
              <a:ext uri="{FF2B5EF4-FFF2-40B4-BE49-F238E27FC236}">
                <a16:creationId xmlns:a16="http://schemas.microsoft.com/office/drawing/2014/main" id="{3697E0A6-8E5A-4AF2-AF41-C6D9793D6AA8}"/>
              </a:ext>
            </a:extLst>
          </p:cNvPr>
          <p:cNvSpPr>
            <a:spLocks noGrp="1"/>
          </p:cNvSpPr>
          <p:nvPr>
            <p:ph type="ftr" sz="quarter" idx="11"/>
          </p:nvPr>
        </p:nvSpPr>
        <p:spPr/>
        <p:txBody>
          <a:bodyPr/>
          <a:lstStyle/>
          <a:p>
            <a:r>
              <a:rPr lang="en-US"/>
              <a:t>Prefeasibility study for establishment of ICIC under STKEC</a:t>
            </a:r>
          </a:p>
        </p:txBody>
      </p:sp>
      <p:sp>
        <p:nvSpPr>
          <p:cNvPr id="7" name="Slide Number Placeholder 6">
            <a:extLst>
              <a:ext uri="{FF2B5EF4-FFF2-40B4-BE49-F238E27FC236}">
                <a16:creationId xmlns:a16="http://schemas.microsoft.com/office/drawing/2014/main" id="{B5EEB32F-4F3A-496C-BA78-C2520169C5C0}"/>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107484549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156E4-FF4E-4218-AF39-AC305BD50A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3BA82B-198E-4797-A623-5C664C4E93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41EBE15-322D-4887-AE80-511968FC0B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EBE1F7-7DBF-4662-AE0A-AD580D5A7FF0}"/>
              </a:ext>
            </a:extLst>
          </p:cNvPr>
          <p:cNvSpPr>
            <a:spLocks noGrp="1"/>
          </p:cNvSpPr>
          <p:nvPr>
            <p:ph type="dt" sz="half" idx="10"/>
          </p:nvPr>
        </p:nvSpPr>
        <p:spPr/>
        <p:txBody>
          <a:bodyPr/>
          <a:lstStyle/>
          <a:p>
            <a:r>
              <a:rPr lang="en-US"/>
              <a:t>Sep 23</a:t>
            </a:r>
          </a:p>
        </p:txBody>
      </p:sp>
      <p:sp>
        <p:nvSpPr>
          <p:cNvPr id="6" name="Footer Placeholder 5">
            <a:extLst>
              <a:ext uri="{FF2B5EF4-FFF2-40B4-BE49-F238E27FC236}">
                <a16:creationId xmlns:a16="http://schemas.microsoft.com/office/drawing/2014/main" id="{36426A5D-B034-4781-8F14-709DC6622314}"/>
              </a:ext>
            </a:extLst>
          </p:cNvPr>
          <p:cNvSpPr>
            <a:spLocks noGrp="1"/>
          </p:cNvSpPr>
          <p:nvPr>
            <p:ph type="ftr" sz="quarter" idx="11"/>
          </p:nvPr>
        </p:nvSpPr>
        <p:spPr/>
        <p:txBody>
          <a:bodyPr/>
          <a:lstStyle/>
          <a:p>
            <a:r>
              <a:rPr lang="en-US"/>
              <a:t>Prefeasibility study for establishment of ICIC under STKEC</a:t>
            </a:r>
          </a:p>
        </p:txBody>
      </p:sp>
      <p:sp>
        <p:nvSpPr>
          <p:cNvPr id="7" name="Slide Number Placeholder 6">
            <a:extLst>
              <a:ext uri="{FF2B5EF4-FFF2-40B4-BE49-F238E27FC236}">
                <a16:creationId xmlns:a16="http://schemas.microsoft.com/office/drawing/2014/main" id="{AC9068A2-388B-4D59-A776-65BA88DC809E}"/>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205968679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DF8DA-9F15-4998-87DB-62FAF221B59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9626C38-80E5-4493-AC96-86F3B45AB24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F4BBD2-16B0-46A4-9A92-24DC2B53524B}"/>
              </a:ext>
            </a:extLst>
          </p:cNvPr>
          <p:cNvSpPr>
            <a:spLocks noGrp="1"/>
          </p:cNvSpPr>
          <p:nvPr>
            <p:ph type="dt" sz="half" idx="10"/>
          </p:nvPr>
        </p:nvSpPr>
        <p:spPr/>
        <p:txBody>
          <a:bodyPr/>
          <a:lstStyle/>
          <a:p>
            <a:r>
              <a:rPr lang="en-US"/>
              <a:t>Sep 23</a:t>
            </a:r>
          </a:p>
        </p:txBody>
      </p:sp>
      <p:sp>
        <p:nvSpPr>
          <p:cNvPr id="5" name="Footer Placeholder 4">
            <a:extLst>
              <a:ext uri="{FF2B5EF4-FFF2-40B4-BE49-F238E27FC236}">
                <a16:creationId xmlns:a16="http://schemas.microsoft.com/office/drawing/2014/main" id="{542C6C4E-F156-4D6B-A792-EFBB2A2B97E0}"/>
              </a:ext>
            </a:extLst>
          </p:cNvPr>
          <p:cNvSpPr>
            <a:spLocks noGrp="1"/>
          </p:cNvSpPr>
          <p:nvPr>
            <p:ph type="ftr" sz="quarter" idx="11"/>
          </p:nvPr>
        </p:nvSpPr>
        <p:spPr/>
        <p:txBody>
          <a:body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8A719D8B-DDF8-4840-B833-5AB96DA3CE46}"/>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102647238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DB30EC2-61B8-49F7-807F-894212CD632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C4399CC-5347-4379-B102-E75C584B4E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4B34B9-8D0D-4B56-8209-9787076C2148}"/>
              </a:ext>
            </a:extLst>
          </p:cNvPr>
          <p:cNvSpPr>
            <a:spLocks noGrp="1"/>
          </p:cNvSpPr>
          <p:nvPr>
            <p:ph type="dt" sz="half" idx="10"/>
          </p:nvPr>
        </p:nvSpPr>
        <p:spPr/>
        <p:txBody>
          <a:bodyPr/>
          <a:lstStyle/>
          <a:p>
            <a:r>
              <a:rPr lang="en-US"/>
              <a:t>Sep 23</a:t>
            </a:r>
          </a:p>
        </p:txBody>
      </p:sp>
      <p:sp>
        <p:nvSpPr>
          <p:cNvPr id="5" name="Footer Placeholder 4">
            <a:extLst>
              <a:ext uri="{FF2B5EF4-FFF2-40B4-BE49-F238E27FC236}">
                <a16:creationId xmlns:a16="http://schemas.microsoft.com/office/drawing/2014/main" id="{04895AEE-DE5E-456D-AD02-4BCF899E110B}"/>
              </a:ext>
            </a:extLst>
          </p:cNvPr>
          <p:cNvSpPr>
            <a:spLocks noGrp="1"/>
          </p:cNvSpPr>
          <p:nvPr>
            <p:ph type="ftr" sz="quarter" idx="11"/>
          </p:nvPr>
        </p:nvSpPr>
        <p:spPr/>
        <p:txBody>
          <a:body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880B56D6-186A-4846-8F4C-63C7EAE077D6}"/>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173705985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1_Title and Full Content - Subtitle">
  <p:cSld name="1_Title and Full Content - Subtitle">
    <p:spTree>
      <p:nvGrpSpPr>
        <p:cNvPr id="1" name="Shape 1468"/>
        <p:cNvGrpSpPr/>
        <p:nvPr/>
      </p:nvGrpSpPr>
      <p:grpSpPr>
        <a:xfrm>
          <a:off x="0" y="0"/>
          <a:ext cx="0" cy="0"/>
          <a:chOff x="0" y="0"/>
          <a:chExt cx="0" cy="0"/>
        </a:xfrm>
      </p:grpSpPr>
      <p:sp>
        <p:nvSpPr>
          <p:cNvPr id="1469" name="Google Shape;1469;g1389d6804d3_5_5"/>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rmAutofit/>
          </a:bodyPr>
          <a:lstStyle>
            <a:lvl1pPr lvl="0" algn="l">
              <a:lnSpc>
                <a:spcPct val="85000"/>
              </a:lnSpc>
              <a:spcBef>
                <a:spcPts val="0"/>
              </a:spcBef>
              <a:spcAft>
                <a:spcPts val="0"/>
              </a:spcAft>
              <a:buClr>
                <a:schemeClr val="dk1"/>
              </a:buClr>
              <a:buSzPts val="3200"/>
              <a:buFont typeface="Georgia"/>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0" name="Google Shape;1470;g1389d6804d3_5_5"/>
          <p:cNvSpPr txBox="1">
            <a:spLocks noGrp="1"/>
          </p:cNvSpPr>
          <p:nvPr>
            <p:ph type="subTitle" idx="1"/>
          </p:nvPr>
        </p:nvSpPr>
        <p:spPr>
          <a:xfrm>
            <a:off x="442912" y="933433"/>
            <a:ext cx="11306100" cy="8859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2400"/>
              <a:buNone/>
              <a:defRPr sz="2400" b="0">
                <a:solidFill>
                  <a:schemeClr val="dk1"/>
                </a:solidFill>
              </a:defRPr>
            </a:lvl1pPr>
            <a:lvl2pPr lvl="1" algn="l">
              <a:lnSpc>
                <a:spcPct val="85000"/>
              </a:lnSpc>
              <a:spcBef>
                <a:spcPts val="0"/>
              </a:spcBef>
              <a:spcAft>
                <a:spcPts val="0"/>
              </a:spcAft>
              <a:buClr>
                <a:schemeClr val="dk1"/>
              </a:buClr>
              <a:buSzPts val="2400"/>
              <a:buNone/>
              <a:defRPr sz="2400"/>
            </a:lvl2pPr>
            <a:lvl3pPr lvl="2" algn="l">
              <a:lnSpc>
                <a:spcPct val="85000"/>
              </a:lnSpc>
              <a:spcBef>
                <a:spcPts val="0"/>
              </a:spcBef>
              <a:spcAft>
                <a:spcPts val="0"/>
              </a:spcAft>
              <a:buClr>
                <a:schemeClr val="dk1"/>
              </a:buClr>
              <a:buSzPts val="2400"/>
              <a:buNone/>
              <a:defRPr sz="2400"/>
            </a:lvl3pPr>
            <a:lvl4pPr lvl="3" algn="l">
              <a:lnSpc>
                <a:spcPct val="85000"/>
              </a:lnSpc>
              <a:spcBef>
                <a:spcPts val="0"/>
              </a:spcBef>
              <a:spcAft>
                <a:spcPts val="0"/>
              </a:spcAft>
              <a:buClr>
                <a:schemeClr val="dk1"/>
              </a:buClr>
              <a:buSzPts val="2400"/>
              <a:buNone/>
              <a:defRPr sz="2400"/>
            </a:lvl4pPr>
            <a:lvl5pPr lvl="4" algn="l">
              <a:lnSpc>
                <a:spcPct val="85000"/>
              </a:lnSpc>
              <a:spcBef>
                <a:spcPts val="0"/>
              </a:spcBef>
              <a:spcAft>
                <a:spcPts val="0"/>
              </a:spcAft>
              <a:buClr>
                <a:schemeClr val="dk1"/>
              </a:buClr>
              <a:buSzPts val="2400"/>
              <a:buNone/>
              <a:defRPr sz="2400"/>
            </a:lvl5pPr>
            <a:lvl6pPr lvl="5" algn="l">
              <a:lnSpc>
                <a:spcPct val="85000"/>
              </a:lnSpc>
              <a:spcBef>
                <a:spcPts val="0"/>
              </a:spcBef>
              <a:spcAft>
                <a:spcPts val="0"/>
              </a:spcAft>
              <a:buClr>
                <a:schemeClr val="dk1"/>
              </a:buClr>
              <a:buSzPts val="2400"/>
              <a:buNone/>
              <a:defRPr sz="2400"/>
            </a:lvl6pPr>
            <a:lvl7pPr lvl="6" algn="l">
              <a:lnSpc>
                <a:spcPct val="85000"/>
              </a:lnSpc>
              <a:spcBef>
                <a:spcPts val="0"/>
              </a:spcBef>
              <a:spcAft>
                <a:spcPts val="0"/>
              </a:spcAft>
              <a:buClr>
                <a:schemeClr val="dk1"/>
              </a:buClr>
              <a:buSzPts val="2400"/>
              <a:buNone/>
              <a:defRPr sz="2400"/>
            </a:lvl7pPr>
            <a:lvl8pPr lvl="7" algn="l">
              <a:lnSpc>
                <a:spcPct val="85000"/>
              </a:lnSpc>
              <a:spcBef>
                <a:spcPts val="0"/>
              </a:spcBef>
              <a:spcAft>
                <a:spcPts val="0"/>
              </a:spcAft>
              <a:buClr>
                <a:schemeClr val="dk1"/>
              </a:buClr>
              <a:buSzPts val="2400"/>
              <a:buNone/>
              <a:defRPr sz="2400"/>
            </a:lvl8pPr>
            <a:lvl9pPr lvl="8" algn="l">
              <a:lnSpc>
                <a:spcPct val="85000"/>
              </a:lnSpc>
              <a:spcBef>
                <a:spcPts val="0"/>
              </a:spcBef>
              <a:spcAft>
                <a:spcPts val="0"/>
              </a:spcAft>
              <a:buClr>
                <a:schemeClr val="dk1"/>
              </a:buClr>
              <a:buSzPts val="2400"/>
              <a:buNone/>
              <a:defRPr sz="2400"/>
            </a:lvl9pPr>
          </a:lstStyle>
          <a:p>
            <a:endParaRPr/>
          </a:p>
        </p:txBody>
      </p:sp>
      <p:sp>
        <p:nvSpPr>
          <p:cNvPr id="1471" name="Google Shape;1471;g1389d6804d3_5_5"/>
          <p:cNvSpPr txBox="1">
            <a:spLocks noGrp="1"/>
          </p:cNvSpPr>
          <p:nvPr>
            <p:ph type="body" idx="2"/>
          </p:nvPr>
        </p:nvSpPr>
        <p:spPr>
          <a:xfrm>
            <a:off x="442913" y="2103438"/>
            <a:ext cx="11306100" cy="40689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rgbClr val="0F4776"/>
              </a:buClr>
              <a:buSzPts val="1800"/>
              <a:buNone/>
              <a:defRPr/>
            </a:lvl1pPr>
            <a:lvl2pPr marL="914400" lvl="1" indent="-228600" algn="l">
              <a:lnSpc>
                <a:spcPct val="100000"/>
              </a:lnSpc>
              <a:spcBef>
                <a:spcPts val="1200"/>
              </a:spcBef>
              <a:spcAft>
                <a:spcPts val="0"/>
              </a:spcAft>
              <a:buClr>
                <a:schemeClr val="dk1"/>
              </a:buClr>
              <a:buSzPts val="1600"/>
              <a:buNone/>
              <a:defRPr/>
            </a:lvl2pPr>
            <a:lvl3pPr marL="1371600" lvl="2" indent="-330200" algn="l">
              <a:lnSpc>
                <a:spcPct val="100000"/>
              </a:lnSpc>
              <a:spcBef>
                <a:spcPts val="600"/>
              </a:spcBef>
              <a:spcAft>
                <a:spcPts val="0"/>
              </a:spcAft>
              <a:buClr>
                <a:schemeClr val="dk1"/>
              </a:buClr>
              <a:buSzPts val="1600"/>
              <a:buChar char="•"/>
              <a:defRPr/>
            </a:lvl3pPr>
            <a:lvl4pPr marL="1828800" lvl="3" indent="-330200" algn="l">
              <a:lnSpc>
                <a:spcPct val="100000"/>
              </a:lnSpc>
              <a:spcBef>
                <a:spcPts val="600"/>
              </a:spcBef>
              <a:spcAft>
                <a:spcPts val="0"/>
              </a:spcAft>
              <a:buClr>
                <a:schemeClr val="dk1"/>
              </a:buClr>
              <a:buSzPts val="1600"/>
              <a:buChar char="–"/>
              <a:defRPr/>
            </a:lvl4pPr>
            <a:lvl5pPr marL="2286000" lvl="4" indent="-330200" algn="l">
              <a:lnSpc>
                <a:spcPct val="100000"/>
              </a:lnSpc>
              <a:spcBef>
                <a:spcPts val="600"/>
              </a:spcBef>
              <a:spcAft>
                <a:spcPts val="0"/>
              </a:spcAft>
              <a:buClr>
                <a:schemeClr val="dk1"/>
              </a:buClr>
              <a:buSzPts val="1600"/>
              <a:buChar char="•"/>
              <a:defRPr/>
            </a:lvl5pPr>
            <a:lvl6pPr marL="2743200" lvl="5" indent="-330200" algn="l">
              <a:lnSpc>
                <a:spcPct val="100000"/>
              </a:lnSpc>
              <a:spcBef>
                <a:spcPts val="600"/>
              </a:spcBef>
              <a:spcAft>
                <a:spcPts val="0"/>
              </a:spcAft>
              <a:buClr>
                <a:schemeClr val="dk1"/>
              </a:buClr>
              <a:buSzPts val="1600"/>
              <a:buChar char="–"/>
              <a:defRPr/>
            </a:lvl6pPr>
            <a:lvl7pPr marL="3200400" lvl="6" indent="-330200" algn="l">
              <a:lnSpc>
                <a:spcPct val="100000"/>
              </a:lnSpc>
              <a:spcBef>
                <a:spcPts val="600"/>
              </a:spcBef>
              <a:spcAft>
                <a:spcPts val="0"/>
              </a:spcAft>
              <a:buClr>
                <a:schemeClr val="dk1"/>
              </a:buClr>
              <a:buSzPts val="1600"/>
              <a:buChar char="•"/>
              <a:defRPr/>
            </a:lvl7pPr>
            <a:lvl8pPr marL="3657600" lvl="7" indent="-330200" algn="l">
              <a:lnSpc>
                <a:spcPct val="100000"/>
              </a:lnSpc>
              <a:spcBef>
                <a:spcPts val="600"/>
              </a:spcBef>
              <a:spcAft>
                <a:spcPts val="0"/>
              </a:spcAft>
              <a:buClr>
                <a:schemeClr val="dk1"/>
              </a:buClr>
              <a:buSzPts val="1600"/>
              <a:buChar char="–"/>
              <a:defRPr/>
            </a:lvl8pPr>
            <a:lvl9pPr marL="4114800" lvl="8" indent="-330200" algn="l">
              <a:lnSpc>
                <a:spcPct val="100000"/>
              </a:lnSpc>
              <a:spcBef>
                <a:spcPts val="600"/>
              </a:spcBef>
              <a:spcAft>
                <a:spcPts val="600"/>
              </a:spcAft>
              <a:buClr>
                <a:schemeClr val="dk1"/>
              </a:buClr>
              <a:buSzPts val="1600"/>
              <a:buChar char="•"/>
              <a:defRPr/>
            </a:lvl9pPr>
          </a:lstStyle>
          <a:p>
            <a:endParaRPr/>
          </a:p>
        </p:txBody>
      </p:sp>
      <p:sp>
        <p:nvSpPr>
          <p:cNvPr id="1472" name="Google Shape;1472;g1389d6804d3_5_5"/>
          <p:cNvSpPr txBox="1">
            <a:spLocks noGrp="1"/>
          </p:cNvSpPr>
          <p:nvPr>
            <p:ph type="sldNum" idx="12"/>
          </p:nvPr>
        </p:nvSpPr>
        <p:spPr>
          <a:xfrm>
            <a:off x="9984296" y="6492240"/>
            <a:ext cx="1764900" cy="1371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5574012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accent1"/>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6"/>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4FBEF6FA-A0C7-46EC-AFF5-9AFA4782851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B864BC2B-A74D-467D-99EB-1EE062BBD3CF}"/>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30980036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matchingName="Title Slide - Photo Dark">
  <p:cSld name="Title Slide - Photo Dark">
    <p:bg>
      <p:bgPr>
        <a:solidFill>
          <a:srgbClr val="7D7D7D"/>
        </a:solidFill>
        <a:effectLst/>
      </p:bgPr>
    </p:bg>
    <p:spTree>
      <p:nvGrpSpPr>
        <p:cNvPr id="1" name="Shape 1186"/>
        <p:cNvGrpSpPr/>
        <p:nvPr/>
      </p:nvGrpSpPr>
      <p:grpSpPr>
        <a:xfrm>
          <a:off x="0" y="0"/>
          <a:ext cx="0" cy="0"/>
          <a:chOff x="0" y="0"/>
          <a:chExt cx="0" cy="0"/>
        </a:xfrm>
      </p:grpSpPr>
    </p:spTree>
    <p:extLst>
      <p:ext uri="{BB962C8B-B14F-4D97-AF65-F5344CB8AC3E}">
        <p14:creationId xmlns:p14="http://schemas.microsoft.com/office/powerpoint/2010/main" val="414457435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193786380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idx="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a:extLst>
              <a:ext uri="{FF2B5EF4-FFF2-40B4-BE49-F238E27FC236}">
                <a16:creationId xmlns:a16="http://schemas.microsoft.com/office/drawing/2014/main" id="{C79D4209-E45A-4260-A3B1-D7A5D7AA56D2}"/>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131FFE2C-359F-4037-A7DF-6F25B3E4999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8138E50D-2DE6-4196-87FC-191118080FD8}"/>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CA73BBCA-33E4-4AC8-9454-651E6D0A669C}" type="slidenum">
              <a:rPr lang="en-US" smtClean="0"/>
              <a:pPr/>
              <a:t>‹#›</a:t>
            </a:fld>
            <a:endParaRPr lang="en-US"/>
          </a:p>
        </p:txBody>
      </p:sp>
    </p:spTree>
    <p:extLst>
      <p:ext uri="{BB962C8B-B14F-4D97-AF65-F5344CB8AC3E}">
        <p14:creationId xmlns:p14="http://schemas.microsoft.com/office/powerpoint/2010/main" val="243671125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idx="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a:extLst>
              <a:ext uri="{FF2B5EF4-FFF2-40B4-BE49-F238E27FC236}">
                <a16:creationId xmlns:a16="http://schemas.microsoft.com/office/drawing/2014/main" id="{5B50668A-0EE7-48C1-8BF2-56AEEE17A8F0}"/>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0AE205AB-85FA-4C49-AD4A-895E6AF276E4}"/>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E3C80C30-6CBE-44A0-9AD4-88C468F7C6B2}"/>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50A7B76A-5CB9-4CC4-9F49-C7CA344FE6FA}" type="slidenum">
              <a:rPr lang="en-US" smtClean="0"/>
              <a:pPr/>
              <a:t>‹#›</a:t>
            </a:fld>
            <a:endParaRPr lang="en-US"/>
          </a:p>
        </p:txBody>
      </p:sp>
    </p:spTree>
    <p:extLst>
      <p:ext uri="{BB962C8B-B14F-4D97-AF65-F5344CB8AC3E}">
        <p14:creationId xmlns:p14="http://schemas.microsoft.com/office/powerpoint/2010/main" val="280539064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B5E15C92-9B07-42BC-A14C-43FEE0970198}"/>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80D62145-490F-4CEF-9B92-FCC07EEE5156}"/>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6015C3EF-8DA7-4E53-BF56-BFBF5953214A}"/>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US" smtClean="0"/>
            </a:lvl1pPr>
          </a:lstStyle>
          <a:p>
            <a:fld id="{B7C673D7-33B1-4FAF-A44F-2E2926513582}" type="slidenum">
              <a:rPr lang="en-US" smtClean="0"/>
              <a:pPr/>
              <a:t>‹#›</a:t>
            </a:fld>
            <a:endParaRPr lang="en-US"/>
          </a:p>
        </p:txBody>
      </p:sp>
    </p:spTree>
    <p:extLst>
      <p:ext uri="{BB962C8B-B14F-4D97-AF65-F5344CB8AC3E}">
        <p14:creationId xmlns:p14="http://schemas.microsoft.com/office/powerpoint/2010/main" val="192627207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5324B224-F362-4A7C-82CD-EC94CE6E1D94}"/>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41390E4B-B7BD-4678-B9B7-70E2DDA4AF48}"/>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46AE06D1-9EA1-4FF8-AB4D-940C0D9817E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137159D6-19FE-4564-AA39-656DD04C3A02}" type="slidenum">
              <a:rPr lang="en-US" smtClean="0"/>
              <a:pPr/>
              <a:t>‹#›</a:t>
            </a:fld>
            <a:endParaRPr lang="en-US"/>
          </a:p>
        </p:txBody>
      </p:sp>
    </p:spTree>
    <p:extLst>
      <p:ext uri="{BB962C8B-B14F-4D97-AF65-F5344CB8AC3E}">
        <p14:creationId xmlns:p14="http://schemas.microsoft.com/office/powerpoint/2010/main" val="150068993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129D71C9-19EF-4BC6-84FE-429C02CA29D5}"/>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742C2BDB-1BF6-4542-A973-06F0DE07BD69}"/>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3468ADE6-6F9B-493D-8B81-A0A8CF5F33F3}"/>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US" smtClean="0"/>
            </a:lvl1pPr>
          </a:lstStyle>
          <a:p>
            <a:fld id="{556F754C-D51E-4089-86F5-F918945F6A49}" type="slidenum">
              <a:rPr lang="en-US" smtClean="0"/>
              <a:pPr/>
              <a:t>‹#›</a:t>
            </a:fld>
            <a:endParaRPr lang="en-US"/>
          </a:p>
        </p:txBody>
      </p:sp>
    </p:spTree>
    <p:extLst>
      <p:ext uri="{BB962C8B-B14F-4D97-AF65-F5344CB8AC3E}">
        <p14:creationId xmlns:p14="http://schemas.microsoft.com/office/powerpoint/2010/main" val="73374985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3AB664D4-FDC5-4D1F-AF0F-6067AE2AA2E5}"/>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7FCC5186-35BD-44AC-8D59-ACEEEA57FDE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BCBBE6E1-63E6-4F03-A76C-46170907B704}"/>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16ED4C5F-BCA6-4339-970C-8BC35DA0456B}" type="slidenum">
              <a:rPr lang="en-US" smtClean="0"/>
              <a:pPr/>
              <a:t>‹#›</a:t>
            </a:fld>
            <a:endParaRPr lang="en-US"/>
          </a:p>
        </p:txBody>
      </p:sp>
    </p:spTree>
    <p:extLst>
      <p:ext uri="{BB962C8B-B14F-4D97-AF65-F5344CB8AC3E}">
        <p14:creationId xmlns:p14="http://schemas.microsoft.com/office/powerpoint/2010/main" val="2229912394"/>
      </p:ext>
    </p:extLst>
  </p:cSld>
  <p:clrMapOvr>
    <a:overrideClrMapping bg1="dk1" tx1="lt1" bg2="dk2" tx2="lt2" accent1="accent1" accent2="accent2" accent3="accent3" accent4="accent4" accent5="accent5" accent6="accent6" hlink="hlink" folHlink="folHlink"/>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61615B74-69BB-4FA3-B61E-132E147D80B5}"/>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F5CC0D07-4D9D-4D06-AD6B-9E3FAF6ECDEB}"/>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7" name="Slide Number Placeholder 6">
            <a:extLst>
              <a:ext uri="{FF2B5EF4-FFF2-40B4-BE49-F238E27FC236}">
                <a16:creationId xmlns:a16="http://schemas.microsoft.com/office/drawing/2014/main" id="{DAE3FA86-4FF0-4411-82AF-F1BD986C3754}"/>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857F4387-2D21-4B14-BDE4-67689A7AC761}" type="slidenum">
              <a:rPr lang="en-US" smtClean="0"/>
              <a:pPr/>
              <a:t>‹#›</a:t>
            </a:fld>
            <a:endParaRPr lang="en-US"/>
          </a:p>
        </p:txBody>
      </p:sp>
    </p:spTree>
    <p:extLst>
      <p:ext uri="{BB962C8B-B14F-4D97-AF65-F5344CB8AC3E}">
        <p14:creationId xmlns:p14="http://schemas.microsoft.com/office/powerpoint/2010/main" val="105965970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46162085-1354-48C5-9C35-E692849DBA98}"/>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52809EA6-A43E-4135-8436-2A94F0C28F71}"/>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39DB37CF-EB3E-42F3-B9B1-F85FD600F483}"/>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US" smtClean="0"/>
            </a:lvl1pPr>
          </a:lstStyle>
          <a:p>
            <a:fld id="{096A651F-1183-40A5-860E-5F0B2A15ADD4}" type="slidenum">
              <a:rPr lang="en-US" smtClean="0"/>
              <a:pPr/>
              <a:t>‹#›</a:t>
            </a:fld>
            <a:endParaRPr lang="en-US"/>
          </a:p>
        </p:txBody>
      </p:sp>
    </p:spTree>
    <p:extLst>
      <p:ext uri="{BB962C8B-B14F-4D97-AF65-F5344CB8AC3E}">
        <p14:creationId xmlns:p14="http://schemas.microsoft.com/office/powerpoint/2010/main" val="646851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Let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E44432-2DD3-429B-9192-CDE2430039EB}"/>
              </a:ext>
            </a:extLst>
          </p:cNvPr>
          <p:cNvGraphicFramePr>
            <a:graphicFrameLocks noChangeAspect="1"/>
          </p:cNvGraphicFramePr>
          <p:nvPr>
            <p:custDataLst>
              <p:tags r:id="rId1"/>
            </p:custData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10" imgW="423" imgH="424" progId="TCLayout.ActiveDocument.1">
                  <p:embed/>
                </p:oleObj>
              </mc:Choice>
              <mc:Fallback>
                <p:oleObj name="think-cell Slide" r:id="rId10" imgW="423" imgH="424" progId="TCLayout.ActiveDocument.1">
                  <p:embed/>
                  <p:pic>
                    <p:nvPicPr>
                      <p:cNvPr id="2" name="Object 1" hidden="1">
                        <a:extLst>
                          <a:ext uri="{FF2B5EF4-FFF2-40B4-BE49-F238E27FC236}">
                            <a16:creationId xmlns:a16="http://schemas.microsoft.com/office/drawing/2014/main" id="{6EE44432-2DD3-429B-9192-CDE2430039EB}"/>
                          </a:ext>
                        </a:extLst>
                      </p:cNvPr>
                      <p:cNvPicPr/>
                      <p:nvPr/>
                    </p:nvPicPr>
                    <p:blipFill>
                      <a:blip r:embed="rId11"/>
                      <a:stretch>
                        <a:fillRect/>
                      </a:stretch>
                    </p:blipFill>
                    <p:spPr>
                      <a:xfrm>
                        <a:off x="1925" y="1401"/>
                        <a:ext cx="1925" cy="1401"/>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4E73762-5B0C-4A73-AAD9-B6C6DB42A1C9}"/>
              </a:ext>
            </a:extLst>
          </p:cNvPr>
          <p:cNvSpPr/>
          <p:nvPr/>
        </p:nvSpPr>
        <p:spPr>
          <a:xfrm>
            <a:off x="0" y="0"/>
            <a:ext cx="3147753" cy="6858000"/>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13" name="Picture 12">
            <a:extLst>
              <a:ext uri="{FF2B5EF4-FFF2-40B4-BE49-F238E27FC236}">
                <a16:creationId xmlns:a16="http://schemas.microsoft.com/office/drawing/2014/main" id="{F21C81E0-A595-44BD-A048-8DF8E985F86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4" name="Text Placeholder 3">
            <a:extLst>
              <a:ext uri="{FF2B5EF4-FFF2-40B4-BE49-F238E27FC236}">
                <a16:creationId xmlns:a16="http://schemas.microsoft.com/office/drawing/2014/main" id="{A888DD68-89F1-4B99-A070-7459C90282B3}"/>
              </a:ext>
            </a:extLst>
          </p:cNvPr>
          <p:cNvSpPr>
            <a:spLocks noGrp="1"/>
          </p:cNvSpPr>
          <p:nvPr>
            <p:ph type="body" sz="quarter" idx="10" hasCustomPrompt="1"/>
          </p:nvPr>
        </p:nvSpPr>
        <p:spPr>
          <a:xfrm>
            <a:off x="543225" y="1815353"/>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21" name="Text Placeholder 5">
            <a:extLst>
              <a:ext uri="{FF2B5EF4-FFF2-40B4-BE49-F238E27FC236}">
                <a16:creationId xmlns:a16="http://schemas.microsoft.com/office/drawing/2014/main" id="{FEBB040F-A728-48CD-A5B9-F69EC5296FF1}"/>
              </a:ext>
            </a:extLst>
          </p:cNvPr>
          <p:cNvSpPr>
            <a:spLocks noGrp="1"/>
          </p:cNvSpPr>
          <p:nvPr>
            <p:ph type="body" sz="quarter" idx="11" hasCustomPrompt="1"/>
          </p:nvPr>
        </p:nvSpPr>
        <p:spPr>
          <a:xfrm>
            <a:off x="543225" y="5356604"/>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cxnSp>
        <p:nvCxnSpPr>
          <p:cNvPr id="22" name="Frame Line">
            <a:extLst>
              <a:ext uri="{FF2B5EF4-FFF2-40B4-BE49-F238E27FC236}">
                <a16:creationId xmlns:a16="http://schemas.microsoft.com/office/drawing/2014/main" id="{F7BAF0B3-E029-470C-87E4-46D3229C1448}"/>
              </a:ext>
            </a:extLst>
          </p:cNvPr>
          <p:cNvCxnSpPr>
            <a:cxnSpLocks/>
          </p:cNvCxnSpPr>
          <p:nvPr>
            <p:custDataLst>
              <p:tags r:id="rId3"/>
            </p:custDataLst>
          </p:nvPr>
        </p:nvCxnSpPr>
        <p:spPr>
          <a:xfrm>
            <a:off x="3585682" y="1748118"/>
            <a:ext cx="796913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7">
            <a:extLst>
              <a:ext uri="{FF2B5EF4-FFF2-40B4-BE49-F238E27FC236}">
                <a16:creationId xmlns:a16="http://schemas.microsoft.com/office/drawing/2014/main" id="{33075B3C-DA49-4F57-9409-515CA5F8C155}"/>
              </a:ext>
            </a:extLst>
          </p:cNvPr>
          <p:cNvSpPr>
            <a:spLocks noGrp="1"/>
          </p:cNvSpPr>
          <p:nvPr>
            <p:ph type="body" sz="quarter" idx="12" hasCustomPrompt="1"/>
          </p:nvPr>
        </p:nvSpPr>
        <p:spPr>
          <a:xfrm>
            <a:off x="3585683" y="941295"/>
            <a:ext cx="3213601" cy="149362"/>
          </a:xfrm>
        </p:spPr>
        <p:txBody>
          <a:bodyPr>
            <a:spAutoFit/>
          </a:bodyPr>
          <a:lstStyle>
            <a:lvl1pPr>
              <a:defRPr/>
            </a:lvl1pPr>
          </a:lstStyle>
          <a:p>
            <a:pPr lvl="0"/>
            <a:r>
              <a:rPr lang="en-GB"/>
              <a:t>Insert text here </a:t>
            </a:r>
          </a:p>
        </p:txBody>
      </p:sp>
      <p:sp>
        <p:nvSpPr>
          <p:cNvPr id="24" name="Text Placeholder 12">
            <a:extLst>
              <a:ext uri="{FF2B5EF4-FFF2-40B4-BE49-F238E27FC236}">
                <a16:creationId xmlns:a16="http://schemas.microsoft.com/office/drawing/2014/main" id="{1A63BB9A-729A-4857-BE09-F8368F34E8D6}"/>
              </a:ext>
            </a:extLst>
          </p:cNvPr>
          <p:cNvSpPr>
            <a:spLocks noGrp="1"/>
          </p:cNvSpPr>
          <p:nvPr>
            <p:ph type="body" sz="quarter" idx="13" hasCustomPrompt="1"/>
          </p:nvPr>
        </p:nvSpPr>
        <p:spPr>
          <a:xfrm>
            <a:off x="3585683" y="1815353"/>
            <a:ext cx="7963465" cy="3618687"/>
          </a:xfrm>
        </p:spPr>
        <p:txBody>
          <a:bodyPr/>
          <a:lstStyle>
            <a:lvl1pPr>
              <a:defRPr/>
            </a:lvl1pPr>
          </a:lstStyle>
          <a:p>
            <a:pPr lvl="0"/>
            <a:r>
              <a:rPr lang="en-GB"/>
              <a:t>Insert text here </a:t>
            </a:r>
          </a:p>
        </p:txBody>
      </p:sp>
      <p:sp>
        <p:nvSpPr>
          <p:cNvPr id="26" name="Report Date">
            <a:extLst>
              <a:ext uri="{FF2B5EF4-FFF2-40B4-BE49-F238E27FC236}">
                <a16:creationId xmlns:a16="http://schemas.microsoft.com/office/drawing/2014/main" id="{EE19D4BC-B65F-4593-B6DA-6CEA94B7B65E}"/>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27" name="Presentation Disclaimer">
            <a:extLst>
              <a:ext uri="{FF2B5EF4-FFF2-40B4-BE49-F238E27FC236}">
                <a16:creationId xmlns:a16="http://schemas.microsoft.com/office/drawing/2014/main" id="{DBA60797-0C6B-4279-88BD-0214B400B514}"/>
              </a:ext>
            </a:extLst>
          </p:cNvPr>
          <p:cNvSpPr txBox="1"/>
          <p:nvPr>
            <p:custDataLst>
              <p:tags r:id="rId5"/>
            </p:custDataLst>
          </p:nvPr>
        </p:nvSpPr>
        <p:spPr>
          <a:xfrm>
            <a:off x="548283" y="6317437"/>
            <a:ext cx="3037401" cy="108619"/>
          </a:xfrm>
          <a:prstGeom prst="rect">
            <a:avLst/>
          </a:prstGeom>
          <a:noFill/>
        </p:spPr>
        <p:txBody>
          <a:bodyPr wrap="square" lIns="0" tIns="0" rIns="0" bIns="0" rtlCol="0" anchor="b" anchorCtr="0">
            <a:spAutoFit/>
          </a:bodyPr>
          <a:lstStyle/>
          <a:p>
            <a:pPr algn="l"/>
            <a:r>
              <a:rPr lang="en-GB" sz="706" noProof="1">
                <a:solidFill>
                  <a:schemeClr val="bg1"/>
                </a:solidFill>
              </a:rPr>
              <a:t>Strictly private and confidential</a:t>
            </a:r>
          </a:p>
        </p:txBody>
      </p:sp>
      <p:sp>
        <p:nvSpPr>
          <p:cNvPr id="28" name="Page Number">
            <a:extLst>
              <a:ext uri="{FF2B5EF4-FFF2-40B4-BE49-F238E27FC236}">
                <a16:creationId xmlns:a16="http://schemas.microsoft.com/office/drawing/2014/main" id="{0AC58CDE-7BF7-4E9A-86DE-005A8226C2D9}"/>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Section Footer">
            <a:extLst>
              <a:ext uri="{FF2B5EF4-FFF2-40B4-BE49-F238E27FC236}">
                <a16:creationId xmlns:a16="http://schemas.microsoft.com/office/drawing/2014/main" id="{7BC2F3DA-F5E4-44B0-8190-5C4510FA91EF}"/>
              </a:ext>
            </a:extLst>
          </p:cNvPr>
          <p:cNvSpPr txBox="1"/>
          <p:nvPr>
            <p:custDataLst>
              <p:tags r:id="rId7"/>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30" name="TextBox 29">
            <a:extLst>
              <a:ext uri="{FF2B5EF4-FFF2-40B4-BE49-F238E27FC236}">
                <a16:creationId xmlns:a16="http://schemas.microsoft.com/office/drawing/2014/main" id="{6A4FBAFA-F1A1-40A6-9134-3230D2D92D31}"/>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31" name="Straight Connector 30">
            <a:extLst>
              <a:ext uri="{FF2B5EF4-FFF2-40B4-BE49-F238E27FC236}">
                <a16:creationId xmlns:a16="http://schemas.microsoft.com/office/drawing/2014/main" id="{10810281-0E5A-4B69-940A-B5D1F833254D}"/>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233430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Divider 1">
    <p:bg>
      <p:bgPr>
        <a:solidFill>
          <a:schemeClr val="accent6"/>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1"/>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0E108681-ED46-4FCD-AF9B-B0F12DB82361}"/>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9FB0E485-E0C8-4B7D-BB20-D326D12F239D}"/>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166353196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Picture Placeholder 2">
            <a:extLst>
              <a:ext uri="{FF2B5EF4-FFF2-40B4-BE49-F238E27FC236}">
                <a16:creationId xmlns:a16="http://schemas.microsoft.com/office/drawing/2014/main" id="{2BED7AA0-17C2-48FB-ABC4-C692036AAF8C}"/>
              </a:ext>
            </a:extLst>
          </p:cNvPr>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4" name="Date Placeholder 3">
            <a:extLst>
              <a:ext uri="{FF2B5EF4-FFF2-40B4-BE49-F238E27FC236}">
                <a16:creationId xmlns:a16="http://schemas.microsoft.com/office/drawing/2014/main" id="{2BD65541-882E-4A45-8ECE-C5A3B9B57FEF}"/>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3C9B3B5A-33B5-4BCD-9533-CB546E4D60CD}"/>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28DD0294-3637-40D7-952E-1F9B4C9E1E12}"/>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US" smtClean="0"/>
            </a:lvl1pPr>
          </a:lstStyle>
          <a:p>
            <a:fld id="{FD978A89-DB4C-4A4D-A1F6-CB9EA5E807AE}" type="slidenum">
              <a:rPr lang="en-US" smtClean="0"/>
              <a:pPr/>
              <a:t>‹#›</a:t>
            </a:fld>
            <a:endParaRPr lang="en-US"/>
          </a:p>
        </p:txBody>
      </p:sp>
    </p:spTree>
    <p:extLst>
      <p:ext uri="{BB962C8B-B14F-4D97-AF65-F5344CB8AC3E}">
        <p14:creationId xmlns:p14="http://schemas.microsoft.com/office/powerpoint/2010/main" val="386014932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Picture Placeholder 2"/>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2" name="Date Placeholder 1">
            <a:extLst>
              <a:ext uri="{FF2B5EF4-FFF2-40B4-BE49-F238E27FC236}">
                <a16:creationId xmlns:a16="http://schemas.microsoft.com/office/drawing/2014/main" id="{95443C50-6CAD-4234-A949-FA7143D924B6}"/>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63BB2B91-3926-4CB0-A68B-BE5462C5E9E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C19B8BC6-DC04-46BE-8E49-24CBB32E7F4B}"/>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US" smtClean="0"/>
            </a:lvl1pPr>
          </a:lstStyle>
          <a:p>
            <a:fld id="{4D9F5E95-DE2C-44DE-8193-4F7DBE8142EB}" type="slidenum">
              <a:rPr lang="en-US" smtClean="0"/>
              <a:pPr/>
              <a:t>‹#›</a:t>
            </a:fld>
            <a:endParaRPr lang="en-US"/>
          </a:p>
        </p:txBody>
      </p:sp>
    </p:spTree>
    <p:extLst>
      <p:ext uri="{BB962C8B-B14F-4D97-AF65-F5344CB8AC3E}">
        <p14:creationId xmlns:p14="http://schemas.microsoft.com/office/powerpoint/2010/main" val="209139144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4"/>
          <p:cNvSpPr>
            <a:spLocks noGrp="1"/>
          </p:cNvSpPr>
          <p:nvPr>
            <p:ph sz="half" idx="13"/>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2D2935A2-96F6-4BB3-89FD-FC7E0B7AAC9D}"/>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B8E08D55-BFEA-48EA-9FEE-D9963A62CD87}"/>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7" name="Slide Number Placeholder 6">
            <a:extLst>
              <a:ext uri="{FF2B5EF4-FFF2-40B4-BE49-F238E27FC236}">
                <a16:creationId xmlns:a16="http://schemas.microsoft.com/office/drawing/2014/main" id="{E294FD78-84B1-48BF-99D3-D982AC7338CA}"/>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US" smtClean="0"/>
            </a:lvl1pPr>
          </a:lstStyle>
          <a:p>
            <a:fld id="{27A9012A-2F01-4699-93A6-5D90B19ACA86}" type="slidenum">
              <a:rPr lang="en-US" smtClean="0"/>
              <a:pPr/>
              <a:t>‹#›</a:t>
            </a:fld>
            <a:endParaRPr lang="en-US"/>
          </a:p>
        </p:txBody>
      </p:sp>
    </p:spTree>
    <p:extLst>
      <p:ext uri="{BB962C8B-B14F-4D97-AF65-F5344CB8AC3E}">
        <p14:creationId xmlns:p14="http://schemas.microsoft.com/office/powerpoint/2010/main" val="58120962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4"/>
          <p:cNvSpPr>
            <a:spLocks noGrp="1"/>
          </p:cNvSpPr>
          <p:nvPr>
            <p:ph sz="half" idx="13"/>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242371D8-3798-4460-A323-117221868A3E}"/>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1ACD4006-5487-478B-8DE2-ED3306F05DC8}"/>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9FDBB61A-8E41-468F-9924-23F216700D0F}"/>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US" smtClean="0"/>
            </a:lvl1pPr>
          </a:lstStyle>
          <a:p>
            <a:fld id="{2B0BD455-5C7F-4D16-9E8E-09BE9BF110B4}" type="slidenum">
              <a:rPr lang="en-US" smtClean="0"/>
              <a:pPr/>
              <a:t>‹#›</a:t>
            </a:fld>
            <a:endParaRPr lang="en-US"/>
          </a:p>
        </p:txBody>
      </p:sp>
    </p:spTree>
    <p:extLst>
      <p:ext uri="{BB962C8B-B14F-4D97-AF65-F5344CB8AC3E}">
        <p14:creationId xmlns:p14="http://schemas.microsoft.com/office/powerpoint/2010/main" val="427445384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B7150879-93C4-4546-813B-C50CAE907181}"/>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3D70A597-FEAF-45D9-A449-76BF870A6D9E}"/>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8" name="Slide Number Placeholder 7">
            <a:extLst>
              <a:ext uri="{FF2B5EF4-FFF2-40B4-BE49-F238E27FC236}">
                <a16:creationId xmlns:a16="http://schemas.microsoft.com/office/drawing/2014/main" id="{8156D880-4E6F-4C3C-961F-E988A8E201FD}"/>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US" smtClean="0"/>
            </a:lvl1pPr>
          </a:lstStyle>
          <a:p>
            <a:fld id="{9127B887-4DDE-42A1-8163-8EAB0C79B42D}" type="slidenum">
              <a:rPr lang="en-US" smtClean="0"/>
              <a:pPr/>
              <a:t>‹#›</a:t>
            </a:fld>
            <a:endParaRPr lang="en-US"/>
          </a:p>
        </p:txBody>
      </p:sp>
    </p:spTree>
    <p:extLst>
      <p:ext uri="{BB962C8B-B14F-4D97-AF65-F5344CB8AC3E}">
        <p14:creationId xmlns:p14="http://schemas.microsoft.com/office/powerpoint/2010/main" val="320077377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082A02B5-22E8-42D0-A0A9-89BF87208DE9}"/>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7DF5AAA9-9165-49B6-93C9-7D2D3D5C6471}"/>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8" name="Slide Number Placeholder 7">
            <a:extLst>
              <a:ext uri="{FF2B5EF4-FFF2-40B4-BE49-F238E27FC236}">
                <a16:creationId xmlns:a16="http://schemas.microsoft.com/office/drawing/2014/main" id="{A2A0F376-3A29-4809-8584-4A1060D32694}"/>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US" smtClean="0"/>
            </a:lvl1pPr>
          </a:lstStyle>
          <a:p>
            <a:fld id="{31E00C8A-C5F8-4779-93F5-FFD0C57D4EB0}" type="slidenum">
              <a:rPr lang="en-US" smtClean="0"/>
              <a:pPr/>
              <a:t>‹#›</a:t>
            </a:fld>
            <a:endParaRPr lang="en-US"/>
          </a:p>
        </p:txBody>
      </p:sp>
    </p:spTree>
    <p:extLst>
      <p:ext uri="{BB962C8B-B14F-4D97-AF65-F5344CB8AC3E}">
        <p14:creationId xmlns:p14="http://schemas.microsoft.com/office/powerpoint/2010/main" val="324145287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6"/>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2520F6F5-8C97-42F9-B933-6E49A5BE15C1}"/>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54F3A662-0D30-4A74-8822-72B1EE3A89D3}"/>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8" name="Slide Number Placeholder 7">
            <a:extLst>
              <a:ext uri="{FF2B5EF4-FFF2-40B4-BE49-F238E27FC236}">
                <a16:creationId xmlns:a16="http://schemas.microsoft.com/office/drawing/2014/main" id="{E7AD15AA-4F4A-4617-BFAC-B06C910B5CC9}"/>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US" smtClean="0"/>
            </a:lvl1pPr>
          </a:lstStyle>
          <a:p>
            <a:fld id="{994F068D-C162-46C0-B2B2-FB14FE6A06C0}" type="slidenum">
              <a:rPr lang="en-US" smtClean="0"/>
              <a:pPr/>
              <a:t>‹#›</a:t>
            </a:fld>
            <a:endParaRPr lang="en-US"/>
          </a:p>
        </p:txBody>
      </p:sp>
    </p:spTree>
    <p:extLst>
      <p:ext uri="{BB962C8B-B14F-4D97-AF65-F5344CB8AC3E}">
        <p14:creationId xmlns:p14="http://schemas.microsoft.com/office/powerpoint/2010/main" val="80222222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6"/>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C7ECB759-35BD-458D-A805-BCFA4CB91437}"/>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5" name="Footer Placeholder 4">
            <a:extLst>
              <a:ext uri="{FF2B5EF4-FFF2-40B4-BE49-F238E27FC236}">
                <a16:creationId xmlns:a16="http://schemas.microsoft.com/office/drawing/2014/main" id="{56714D63-782A-4922-AD75-1B3B4A6B9C32}"/>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8" name="Slide Number Placeholder 7">
            <a:extLst>
              <a:ext uri="{FF2B5EF4-FFF2-40B4-BE49-F238E27FC236}">
                <a16:creationId xmlns:a16="http://schemas.microsoft.com/office/drawing/2014/main" id="{8EA81B39-3B94-4A19-8E46-32A7370B4236}"/>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US" smtClean="0"/>
            </a:lvl1pPr>
          </a:lstStyle>
          <a:p>
            <a:fld id="{898B0F21-B5BF-40AB-BCE2-6BDF75A3FFA3}" type="slidenum">
              <a:rPr lang="en-US" smtClean="0"/>
              <a:pPr/>
              <a:t>‹#›</a:t>
            </a:fld>
            <a:endParaRPr lang="en-US"/>
          </a:p>
        </p:txBody>
      </p:sp>
    </p:spTree>
    <p:extLst>
      <p:ext uri="{BB962C8B-B14F-4D97-AF65-F5344CB8AC3E}">
        <p14:creationId xmlns:p14="http://schemas.microsoft.com/office/powerpoint/2010/main" val="263812679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7" name="Content Placeholder 2">
            <a:extLst>
              <a:ext uri="{FF2B5EF4-FFF2-40B4-BE49-F238E27FC236}">
                <a16:creationId xmlns:a16="http://schemas.microsoft.com/office/drawing/2014/main" id="{CF36C29E-E542-4CF8-8350-7B2993AB9F11}"/>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3" name="Content Placeholder 3">
            <a:extLst>
              <a:ext uri="{FF2B5EF4-FFF2-40B4-BE49-F238E27FC236}">
                <a16:creationId xmlns:a16="http://schemas.microsoft.com/office/drawing/2014/main" id="{5E49564D-E876-4F96-AA36-94443DF6A6B4}"/>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4" name="Content Placeholder 4">
            <a:extLst>
              <a:ext uri="{FF2B5EF4-FFF2-40B4-BE49-F238E27FC236}">
                <a16:creationId xmlns:a16="http://schemas.microsoft.com/office/drawing/2014/main" id="{D1C35B22-67CB-4342-8F23-814ABE95E981}"/>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9BB577CE-C519-4C33-A0D7-96CEEB1AAA22}"/>
              </a:ext>
            </a:extLst>
          </p:cNvPr>
          <p:cNvSpPr>
            <a:spLocks noGrp="1"/>
          </p:cNvSpPr>
          <p:nvPr>
            <p:ph type="dt" sz="half" idx="23"/>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DAFD1704-EED3-408F-BF93-90FB5302EDFF}"/>
              </a:ext>
            </a:extLst>
          </p:cNvPr>
          <p:cNvSpPr>
            <a:spLocks noGrp="1"/>
          </p:cNvSpPr>
          <p:nvPr>
            <p:ph type="ftr" sz="quarter" idx="24"/>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EE4715E4-B332-47CC-B948-22BBD14E942B}"/>
              </a:ext>
            </a:extLst>
          </p:cNvPr>
          <p:cNvSpPr>
            <a:spLocks noGrp="1"/>
          </p:cNvSpPr>
          <p:nvPr>
            <p:ph type="sldNum" sz="quarter" idx="25"/>
          </p:nvPr>
        </p:nvSpPr>
        <p:spPr>
          <a:xfrm>
            <a:off x="9984296" y="6492240"/>
            <a:ext cx="1764792" cy="137160"/>
          </a:xfrm>
        </p:spPr>
        <p:txBody>
          <a:bodyPr vert="horz" lIns="0" tIns="0" rIns="0" bIns="0" rtlCol="0" anchor="b" anchorCtr="0">
            <a:noAutofit/>
          </a:bodyPr>
          <a:lstStyle>
            <a:lvl1pPr algn="r">
              <a:defRPr lang="en-US" smtClean="0"/>
            </a:lvl1pPr>
          </a:lstStyle>
          <a:p>
            <a:fld id="{63C902FF-F451-4E05-AC19-137759139AED}" type="slidenum">
              <a:rPr lang="en-US" smtClean="0"/>
              <a:pPr/>
              <a:t>‹#›</a:t>
            </a:fld>
            <a:endParaRPr lang="en-US"/>
          </a:p>
        </p:txBody>
      </p:sp>
    </p:spTree>
    <p:extLst>
      <p:ext uri="{BB962C8B-B14F-4D97-AF65-F5344CB8AC3E}">
        <p14:creationId xmlns:p14="http://schemas.microsoft.com/office/powerpoint/2010/main" val="402194052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25" name="Content Placeholder 2">
            <a:extLst>
              <a:ext uri="{FF2B5EF4-FFF2-40B4-BE49-F238E27FC236}">
                <a16:creationId xmlns:a16="http://schemas.microsoft.com/office/drawing/2014/main" id="{DF41A2FF-FB3D-4971-8B6D-3BD731DE5053}"/>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6" name="Content Placeholder 3">
            <a:extLst>
              <a:ext uri="{FF2B5EF4-FFF2-40B4-BE49-F238E27FC236}">
                <a16:creationId xmlns:a16="http://schemas.microsoft.com/office/drawing/2014/main" id="{7662A741-222C-4F6F-9366-53AED64CAC17}"/>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7" name="Content Placeholder 4">
            <a:extLst>
              <a:ext uri="{FF2B5EF4-FFF2-40B4-BE49-F238E27FC236}">
                <a16:creationId xmlns:a16="http://schemas.microsoft.com/office/drawing/2014/main" id="{2C7502DD-886C-4B7F-ACDF-7765ADE3972C}"/>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2E4C7C0-4113-4EC7-97D5-F285248B5BB4}"/>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A2468ED7-55C9-4057-8284-7E991268B49F}"/>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4" name="Slide Number Placeholder 3">
            <a:extLst>
              <a:ext uri="{FF2B5EF4-FFF2-40B4-BE49-F238E27FC236}">
                <a16:creationId xmlns:a16="http://schemas.microsoft.com/office/drawing/2014/main" id="{13522479-8B79-4696-9018-11E6138D01D3}"/>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US" smtClean="0"/>
            </a:lvl1pPr>
          </a:lstStyle>
          <a:p>
            <a:fld id="{09F80618-AE3A-4868-A8D6-92FD73B78731}" type="slidenum">
              <a:rPr lang="en-US" smtClean="0"/>
              <a:pPr/>
              <a:t>‹#›</a:t>
            </a:fld>
            <a:endParaRPr lang="en-US"/>
          </a:p>
        </p:txBody>
      </p:sp>
    </p:spTree>
    <p:extLst>
      <p:ext uri="{BB962C8B-B14F-4D97-AF65-F5344CB8AC3E}">
        <p14:creationId xmlns:p14="http://schemas.microsoft.com/office/powerpoint/2010/main" val="41084023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Appendix Divider">
    <p:bg>
      <p:bgPr>
        <a:solidFill>
          <a:schemeClr val="accent1"/>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6"/>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784D724-50E8-40C9-83D5-3D08BB1550D7}"/>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DB77E1-10C5-41A7-B534-2D41309DC8D7}"/>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315352265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20" name="Content Placeholder 2">
            <a:extLst>
              <a:ext uri="{FF2B5EF4-FFF2-40B4-BE49-F238E27FC236}">
                <a16:creationId xmlns:a16="http://schemas.microsoft.com/office/drawing/2014/main" id="{5647D158-444C-4C82-ACB0-9AB0A3521F0D}"/>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Content Placeholder 3">
            <a:extLst>
              <a:ext uri="{FF2B5EF4-FFF2-40B4-BE49-F238E27FC236}">
                <a16:creationId xmlns:a16="http://schemas.microsoft.com/office/drawing/2014/main" id="{09E9185D-B5E2-42D8-B0BB-64A240642503}"/>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Content Placeholder 4">
            <a:extLst>
              <a:ext uri="{FF2B5EF4-FFF2-40B4-BE49-F238E27FC236}">
                <a16:creationId xmlns:a16="http://schemas.microsoft.com/office/drawing/2014/main" id="{4EDDB54A-2316-4869-8165-5986C6003418}"/>
              </a:ext>
            </a:extLst>
          </p:cNvPr>
          <p:cNvSpPr>
            <a:spLocks noGrp="1"/>
          </p:cNvSpPr>
          <p:nvPr>
            <p:ph sz="quarter" idx="23"/>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3" name="Content Placeholder 5">
            <a:extLst>
              <a:ext uri="{FF2B5EF4-FFF2-40B4-BE49-F238E27FC236}">
                <a16:creationId xmlns:a16="http://schemas.microsoft.com/office/drawing/2014/main" id="{C944BFAA-989E-4744-AC4B-DF3B93FF7EF7}"/>
              </a:ext>
            </a:extLst>
          </p:cNvPr>
          <p:cNvSpPr>
            <a:spLocks noGrp="1"/>
          </p:cNvSpPr>
          <p:nvPr>
            <p:ph sz="quarter" idx="24"/>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4692C747-CADA-4C74-8175-9AA8F6ED71AC}"/>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6EFD46A1-9CEC-4453-A1F7-6AD99384BD40}"/>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5C88ADFC-32C6-45AB-8A30-FB93EDDD2BCF}"/>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US" smtClean="0"/>
            </a:lvl1pPr>
          </a:lstStyle>
          <a:p>
            <a:fld id="{A92E3E58-F806-4C3B-9C1B-36EE0C4E9444}" type="slidenum">
              <a:rPr lang="en-US" smtClean="0"/>
              <a:pPr/>
              <a:t>‹#›</a:t>
            </a:fld>
            <a:endParaRPr lang="en-US"/>
          </a:p>
        </p:txBody>
      </p:sp>
    </p:spTree>
    <p:extLst>
      <p:ext uri="{BB962C8B-B14F-4D97-AF65-F5344CB8AC3E}">
        <p14:creationId xmlns:p14="http://schemas.microsoft.com/office/powerpoint/2010/main" val="223631652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2" name="Content Placeholder 2">
            <a:extLst>
              <a:ext uri="{FF2B5EF4-FFF2-40B4-BE49-F238E27FC236}">
                <a16:creationId xmlns:a16="http://schemas.microsoft.com/office/drawing/2014/main" id="{14F44128-4414-43CF-8270-05DD5E559019}"/>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3" name="Content Placeholder 3">
            <a:extLst>
              <a:ext uri="{FF2B5EF4-FFF2-40B4-BE49-F238E27FC236}">
                <a16:creationId xmlns:a16="http://schemas.microsoft.com/office/drawing/2014/main" id="{5550B7EC-9A89-4137-AC2C-8E055967FFC7}"/>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4" name="Content Placeholder 4">
            <a:extLst>
              <a:ext uri="{FF2B5EF4-FFF2-40B4-BE49-F238E27FC236}">
                <a16:creationId xmlns:a16="http://schemas.microsoft.com/office/drawing/2014/main" id="{CAE92F97-7ADC-46A9-8EB2-EF00E7B8C3B0}"/>
              </a:ext>
            </a:extLst>
          </p:cNvPr>
          <p:cNvSpPr>
            <a:spLocks noGrp="1"/>
          </p:cNvSpPr>
          <p:nvPr>
            <p:ph sz="quarter" idx="24"/>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5" name="Content Placeholder 5">
            <a:extLst>
              <a:ext uri="{FF2B5EF4-FFF2-40B4-BE49-F238E27FC236}">
                <a16:creationId xmlns:a16="http://schemas.microsoft.com/office/drawing/2014/main" id="{F0AE013A-6661-47CF-A7AF-4541D1BE18D6}"/>
              </a:ext>
            </a:extLst>
          </p:cNvPr>
          <p:cNvSpPr>
            <a:spLocks noGrp="1"/>
          </p:cNvSpPr>
          <p:nvPr>
            <p:ph sz="quarter" idx="25"/>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FE304909-EB3E-4226-A0AD-28E9C61DDE44}"/>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B3B3A2BC-39FF-4A24-ADA2-15AA5B23AB22}"/>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4" name="Slide Number Placeholder 3">
            <a:extLst>
              <a:ext uri="{FF2B5EF4-FFF2-40B4-BE49-F238E27FC236}">
                <a16:creationId xmlns:a16="http://schemas.microsoft.com/office/drawing/2014/main" id="{780F5468-0C78-43E9-9DBF-3F5D67303BC0}"/>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US" smtClean="0"/>
            </a:lvl1pPr>
          </a:lstStyle>
          <a:p>
            <a:fld id="{820AB890-3D1B-46D5-A750-4D5810A26BCA}" type="slidenum">
              <a:rPr lang="en-US" smtClean="0"/>
              <a:pPr/>
              <a:t>‹#›</a:t>
            </a:fld>
            <a:endParaRPr lang="en-US"/>
          </a:p>
        </p:txBody>
      </p:sp>
    </p:spTree>
    <p:extLst>
      <p:ext uri="{BB962C8B-B14F-4D97-AF65-F5344CB8AC3E}">
        <p14:creationId xmlns:p14="http://schemas.microsoft.com/office/powerpoint/2010/main" val="207365833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30" name="Content Placeholder 2">
            <a:extLst>
              <a:ext uri="{FF2B5EF4-FFF2-40B4-BE49-F238E27FC236}">
                <a16:creationId xmlns:a16="http://schemas.microsoft.com/office/drawing/2014/main" id="{A7BDE18C-B6F5-4F07-92F2-88EB0F06DA80}"/>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1" name="Content Placeholder 3">
            <a:extLst>
              <a:ext uri="{FF2B5EF4-FFF2-40B4-BE49-F238E27FC236}">
                <a16:creationId xmlns:a16="http://schemas.microsoft.com/office/drawing/2014/main" id="{EAB83E31-ADC6-4472-8BCC-A5123751071B}"/>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2" name="Content Placeholder 4">
            <a:extLst>
              <a:ext uri="{FF2B5EF4-FFF2-40B4-BE49-F238E27FC236}">
                <a16:creationId xmlns:a16="http://schemas.microsoft.com/office/drawing/2014/main" id="{2C9889D5-4B26-4E63-BD3D-E58AF8BFA96E}"/>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3" name="Content Placeholder 5">
            <a:extLst>
              <a:ext uri="{FF2B5EF4-FFF2-40B4-BE49-F238E27FC236}">
                <a16:creationId xmlns:a16="http://schemas.microsoft.com/office/drawing/2014/main" id="{D4154D0B-36B2-465C-8CF8-5F641F04607D}"/>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57A1BE45-F4C1-43C8-AC2A-F2DFDAE02963}"/>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4586E302-D64B-4188-BAB9-3C3F58A4F7AB}"/>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F29FB5F9-BD76-463F-86DB-65B3B4C9D4AC}"/>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US" smtClean="0"/>
            </a:lvl1pPr>
          </a:lstStyle>
          <a:p>
            <a:fld id="{B7AD025A-3CD8-4D82-BBF5-18E858C5EBE2}" type="slidenum">
              <a:rPr lang="en-US" smtClean="0"/>
              <a:pPr/>
              <a:t>‹#›</a:t>
            </a:fld>
            <a:endParaRPr lang="en-US"/>
          </a:p>
        </p:txBody>
      </p:sp>
    </p:spTree>
    <p:extLst>
      <p:ext uri="{BB962C8B-B14F-4D97-AF65-F5344CB8AC3E}">
        <p14:creationId xmlns:p14="http://schemas.microsoft.com/office/powerpoint/2010/main" val="374879854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8" name="Picture Placeholder 2">
            <a:extLst>
              <a:ext uri="{FF2B5EF4-FFF2-40B4-BE49-F238E27FC236}">
                <a16:creationId xmlns:a16="http://schemas.microsoft.com/office/drawing/2014/main"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29" name="Picture Placeholder 3">
            <a:extLst>
              <a:ext uri="{FF2B5EF4-FFF2-40B4-BE49-F238E27FC236}">
                <a16:creationId xmlns:a16="http://schemas.microsoft.com/office/drawing/2014/main"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30" name="Picture Placeholder 4">
            <a:extLst>
              <a:ext uri="{FF2B5EF4-FFF2-40B4-BE49-F238E27FC236}">
                <a16:creationId xmlns:a16="http://schemas.microsoft.com/office/drawing/2014/main"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31" name="Picture Placeholder 5">
            <a:extLst>
              <a:ext uri="{FF2B5EF4-FFF2-40B4-BE49-F238E27FC236}">
                <a16:creationId xmlns:a16="http://schemas.microsoft.com/office/drawing/2014/main"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32" name="Content Placeholder 2">
            <a:extLst>
              <a:ext uri="{FF2B5EF4-FFF2-40B4-BE49-F238E27FC236}">
                <a16:creationId xmlns:a16="http://schemas.microsoft.com/office/drawing/2014/main" id="{F75EAC27-A3D9-42D2-B8B6-307439DE0C9C}"/>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3" name="Content Placeholder 3">
            <a:extLst>
              <a:ext uri="{FF2B5EF4-FFF2-40B4-BE49-F238E27FC236}">
                <a16:creationId xmlns:a16="http://schemas.microsoft.com/office/drawing/2014/main" id="{8B897F92-3121-4E86-B159-DB3A78790D25}"/>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4" name="Content Placeholder 4">
            <a:extLst>
              <a:ext uri="{FF2B5EF4-FFF2-40B4-BE49-F238E27FC236}">
                <a16:creationId xmlns:a16="http://schemas.microsoft.com/office/drawing/2014/main" id="{91ECA7E9-EB6F-4C5F-9E75-057DD0429E43}"/>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5" name="Content Placeholder 5">
            <a:extLst>
              <a:ext uri="{FF2B5EF4-FFF2-40B4-BE49-F238E27FC236}">
                <a16:creationId xmlns:a16="http://schemas.microsoft.com/office/drawing/2014/main" id="{364D15F8-8EEC-45CD-98E7-4DEE5949D11A}"/>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Date Placeholder 1">
            <a:extLst>
              <a:ext uri="{FF2B5EF4-FFF2-40B4-BE49-F238E27FC236}">
                <a16:creationId xmlns:a16="http://schemas.microsoft.com/office/drawing/2014/main" id="{E91C5F9B-3A40-43EB-8366-2AE6A872C541}"/>
              </a:ext>
            </a:extLst>
          </p:cNvPr>
          <p:cNvSpPr>
            <a:spLocks noGrp="1"/>
          </p:cNvSpPr>
          <p:nvPr>
            <p:ph type="dt" sz="half" idx="27"/>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98FFB2DC-B89F-4A36-87BD-1521FDDE9390}"/>
              </a:ext>
            </a:extLst>
          </p:cNvPr>
          <p:cNvSpPr>
            <a:spLocks noGrp="1"/>
          </p:cNvSpPr>
          <p:nvPr>
            <p:ph type="ftr" sz="quarter" idx="28"/>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4" name="Slide Number Placeholder 3">
            <a:extLst>
              <a:ext uri="{FF2B5EF4-FFF2-40B4-BE49-F238E27FC236}">
                <a16:creationId xmlns:a16="http://schemas.microsoft.com/office/drawing/2014/main" id="{4DB95FD3-2BCE-4A64-AE4F-47C98554F792}"/>
              </a:ext>
            </a:extLst>
          </p:cNvPr>
          <p:cNvSpPr>
            <a:spLocks noGrp="1"/>
          </p:cNvSpPr>
          <p:nvPr>
            <p:ph type="sldNum" sz="quarter" idx="29"/>
          </p:nvPr>
        </p:nvSpPr>
        <p:spPr>
          <a:xfrm>
            <a:off x="9984296" y="6492240"/>
            <a:ext cx="1764792" cy="137160"/>
          </a:xfrm>
        </p:spPr>
        <p:txBody>
          <a:bodyPr vert="horz" lIns="0" tIns="0" rIns="0" bIns="0" rtlCol="0" anchor="b" anchorCtr="0">
            <a:noAutofit/>
          </a:bodyPr>
          <a:lstStyle>
            <a:lvl1pPr algn="r">
              <a:defRPr lang="en-US" smtClean="0"/>
            </a:lvl1pPr>
          </a:lstStyle>
          <a:p>
            <a:fld id="{5125D75C-2E4E-4601-BFC1-92A9C3BC5C4F}" type="slidenum">
              <a:rPr lang="en-US" smtClean="0"/>
              <a:pPr/>
              <a:t>‹#›</a:t>
            </a:fld>
            <a:endParaRPr lang="en-US"/>
          </a:p>
        </p:txBody>
      </p:sp>
    </p:spTree>
    <p:extLst>
      <p:ext uri="{BB962C8B-B14F-4D97-AF65-F5344CB8AC3E}">
        <p14:creationId xmlns:p14="http://schemas.microsoft.com/office/powerpoint/2010/main" val="247684251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p>
        </p:txBody>
      </p:sp>
      <p:sp>
        <p:nvSpPr>
          <p:cNvPr id="2" name="Date Placeholder 1">
            <a:extLst>
              <a:ext uri="{FF2B5EF4-FFF2-40B4-BE49-F238E27FC236}">
                <a16:creationId xmlns:a16="http://schemas.microsoft.com/office/drawing/2014/main" id="{F5F99CD6-CD78-469B-A8EF-48666160A335}"/>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AD331B5D-8347-4948-8604-A8B20FCECC48}"/>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0273F3E8-84ED-49ED-B5A1-5882B72B4228}"/>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US" smtClean="0"/>
            </a:lvl1pPr>
          </a:lstStyle>
          <a:p>
            <a:fld id="{C96F2190-6338-4C9C-9079-AD57C24A7FAD}" type="slidenum">
              <a:rPr lang="en-US" smtClean="0"/>
              <a:pPr/>
              <a:t>‹#›</a:t>
            </a:fld>
            <a:endParaRPr lang="en-US"/>
          </a:p>
        </p:txBody>
      </p:sp>
    </p:spTree>
    <p:extLst>
      <p:ext uri="{BB962C8B-B14F-4D97-AF65-F5344CB8AC3E}">
        <p14:creationId xmlns:p14="http://schemas.microsoft.com/office/powerpoint/2010/main" val="211689548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p>
        </p:txBody>
      </p:sp>
      <p:sp>
        <p:nvSpPr>
          <p:cNvPr id="2" name="Date Placeholder 1">
            <a:extLst>
              <a:ext uri="{FF2B5EF4-FFF2-40B4-BE49-F238E27FC236}">
                <a16:creationId xmlns:a16="http://schemas.microsoft.com/office/drawing/2014/main" id="{DC213C14-352A-4DD3-9450-85662F7E1DB7}"/>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19369682-5DB8-48A1-865F-E65FE07241DB}"/>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86CB4B20-EBA9-487D-9B1B-EB511A71BEE4}"/>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US" smtClean="0"/>
            </a:lvl1pPr>
          </a:lstStyle>
          <a:p>
            <a:fld id="{D544564C-858B-4D40-8B9A-B8110AEC7197}" type="slidenum">
              <a:rPr lang="en-US" smtClean="0"/>
              <a:pPr/>
              <a:t>‹#›</a:t>
            </a:fld>
            <a:endParaRPr lang="en-US"/>
          </a:p>
        </p:txBody>
      </p:sp>
    </p:spTree>
    <p:extLst>
      <p:ext uri="{BB962C8B-B14F-4D97-AF65-F5344CB8AC3E}">
        <p14:creationId xmlns:p14="http://schemas.microsoft.com/office/powerpoint/2010/main" val="10321300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p>
        </p:txBody>
      </p:sp>
      <p:sp>
        <p:nvSpPr>
          <p:cNvPr id="2" name="Date Placeholder 1">
            <a:extLst>
              <a:ext uri="{FF2B5EF4-FFF2-40B4-BE49-F238E27FC236}">
                <a16:creationId xmlns:a16="http://schemas.microsoft.com/office/drawing/2014/main" id="{D4EC1A6F-FA29-4BEE-B1BE-937ACD57B033}"/>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6CAB2C04-C0ED-4D59-BFF9-B149DC079CE5}"/>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3B929040-12F6-449F-8095-63BE39D74B3D}"/>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US" smtClean="0"/>
            </a:lvl1pPr>
          </a:lstStyle>
          <a:p>
            <a:fld id="{5E61C234-BC36-461C-B084-E1891A2BDB6F}" type="slidenum">
              <a:rPr lang="en-US" smtClean="0"/>
              <a:pPr/>
              <a:t>‹#›</a:t>
            </a:fld>
            <a:endParaRPr lang="en-US"/>
          </a:p>
        </p:txBody>
      </p:sp>
    </p:spTree>
    <p:extLst>
      <p:ext uri="{BB962C8B-B14F-4D97-AF65-F5344CB8AC3E}">
        <p14:creationId xmlns:p14="http://schemas.microsoft.com/office/powerpoint/2010/main" val="2260188745"/>
      </p:ext>
    </p:extLst>
  </p:cSld>
  <p:clrMapOvr>
    <a:overrideClrMapping bg1="dk1" tx1="lt1" bg2="dk2" tx2="lt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p>
        </p:txBody>
      </p:sp>
      <p:sp>
        <p:nvSpPr>
          <p:cNvPr id="3" name="Date Placeholder 2">
            <a:extLst>
              <a:ext uri="{FF2B5EF4-FFF2-40B4-BE49-F238E27FC236}">
                <a16:creationId xmlns:a16="http://schemas.microsoft.com/office/drawing/2014/main" id="{2A512688-49BA-4481-8BE9-5985BE7AA6E3}"/>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7E26323B-46A4-4841-B08C-C749B90C0510}"/>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76CE0E31-394D-479D-9D8C-BC60CF6C298C}"/>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D3986899-1629-4147-8F81-E8B425399595}" type="slidenum">
              <a:rPr lang="en-US" smtClean="0"/>
              <a:pPr/>
              <a:t>‹#›</a:t>
            </a:fld>
            <a:endParaRPr lang="en-US"/>
          </a:p>
        </p:txBody>
      </p:sp>
    </p:spTree>
    <p:extLst>
      <p:ext uri="{BB962C8B-B14F-4D97-AF65-F5344CB8AC3E}">
        <p14:creationId xmlns:p14="http://schemas.microsoft.com/office/powerpoint/2010/main" val="324248532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8F713D-CA5A-475A-A9BA-B081A57097D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BA6DF15D-16DE-4197-867E-EBEF5EF735E3}"/>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4" name="Slide Number Placeholder 3">
            <a:extLst>
              <a:ext uri="{FF2B5EF4-FFF2-40B4-BE49-F238E27FC236}">
                <a16:creationId xmlns:a16="http://schemas.microsoft.com/office/drawing/2014/main" id="{273D9A80-6258-426A-A41D-11EF6E6C1574}"/>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4B3934A1-3231-4ADC-BC55-3632EF619B17}" type="slidenum">
              <a:rPr lang="en-US" smtClean="0"/>
              <a:pPr/>
              <a:t>‹#›</a:t>
            </a:fld>
            <a:endParaRPr lang="en-US"/>
          </a:p>
        </p:txBody>
      </p:sp>
    </p:spTree>
    <p:extLst>
      <p:ext uri="{BB962C8B-B14F-4D97-AF65-F5344CB8AC3E}">
        <p14:creationId xmlns:p14="http://schemas.microsoft.com/office/powerpoint/2010/main" val="239884955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361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ppendix Divider 1">
    <p:bg>
      <p:bgPr>
        <a:solidFill>
          <a:schemeClr val="accent6"/>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4"/>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2C19DD9-BA46-4527-91D3-9377718D0CB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1998C4-AD53-42B5-93F1-BC4AA20A5246}"/>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239229635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lvl1pPr>
          </a:lstStyle>
          <a:p>
            <a:r>
              <a:rPr lang="en-US"/>
              <a:t>[Slide title]</a:t>
            </a:r>
          </a:p>
        </p:txBody>
      </p:sp>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p>
        </p:txBody>
      </p:sp>
      <p:sp>
        <p:nvSpPr>
          <p:cNvPr id="3" name="Content Placeholder 2"/>
          <p:cNvSpPr>
            <a:spLocks noGrp="1"/>
          </p:cNvSpPr>
          <p:nvPr>
            <p:ph idx="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p>
        </p:txBody>
      </p:sp>
      <p:sp>
        <p:nvSpPr>
          <p:cNvPr id="2" name="Date Placeholder 1">
            <a:extLst>
              <a:ext uri="{FF2B5EF4-FFF2-40B4-BE49-F238E27FC236}">
                <a16:creationId xmlns:a16="http://schemas.microsoft.com/office/drawing/2014/main" id="{8ABAA829-12A1-497E-BE39-4C60212EA556}"/>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C1D20497-AF67-4A79-B56F-DEF50980B655}"/>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9BAEF756-FEEF-4CF9-81C1-2F5EF691E45B}"/>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US" smtClean="0"/>
            </a:lvl1pPr>
          </a:lstStyle>
          <a:p>
            <a:fld id="{FC370993-AF38-4D0E-A1DC-D52E338BD067}" type="slidenum">
              <a:rPr lang="en-US" smtClean="0"/>
              <a:pPr/>
              <a:t>‹#›</a:t>
            </a:fld>
            <a:endParaRPr lang="en-US"/>
          </a:p>
        </p:txBody>
      </p:sp>
    </p:spTree>
    <p:extLst>
      <p:ext uri="{BB962C8B-B14F-4D97-AF65-F5344CB8AC3E}">
        <p14:creationId xmlns:p14="http://schemas.microsoft.com/office/powerpoint/2010/main" val="172191825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a:lstStyle>
            <a:lvl1pPr>
              <a:defRPr/>
            </a:lvl1pPr>
          </a:lstStyle>
          <a:p>
            <a:r>
              <a:rPr lang="en-US"/>
              <a:t>[Slide title]</a:t>
            </a:r>
          </a:p>
        </p:txBody>
      </p:sp>
      <p:sp>
        <p:nvSpPr>
          <p:cNvPr id="10" name="Text Placeholder 2"/>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p>
        </p:txBody>
      </p:sp>
      <p:sp>
        <p:nvSpPr>
          <p:cNvPr id="13" name="Text Placeholder 3"/>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p>
        </p:txBody>
      </p:sp>
      <p:sp>
        <p:nvSpPr>
          <p:cNvPr id="14" name="Text Placeholder 4"/>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p>
        </p:txBody>
      </p:sp>
      <p:sp>
        <p:nvSpPr>
          <p:cNvPr id="3" name="Content Placeholder 2"/>
          <p:cNvSpPr>
            <a:spLocks noGrp="1"/>
          </p:cNvSpPr>
          <p:nvPr>
            <p:ph sz="half" idx="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1FC8B492-15B9-429F-A53A-D37865998C68}"/>
              </a:ext>
            </a:extLst>
          </p:cNvPr>
          <p:cNvSpPr>
            <a:spLocks noGrp="1"/>
          </p:cNvSpPr>
          <p:nvPr>
            <p:ph type="dt" sz="half" idx="21"/>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47AD1622-1ED2-4569-B657-4B5AD5A6E4EB}"/>
              </a:ext>
            </a:extLst>
          </p:cNvPr>
          <p:cNvSpPr>
            <a:spLocks noGrp="1"/>
          </p:cNvSpPr>
          <p:nvPr>
            <p:ph type="ftr" sz="quarter" idx="22"/>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2F56959E-C961-400D-BE04-01A5E771D9FB}"/>
              </a:ext>
            </a:extLst>
          </p:cNvPr>
          <p:cNvSpPr>
            <a:spLocks noGrp="1"/>
          </p:cNvSpPr>
          <p:nvPr>
            <p:ph type="sldNum" sz="quarter" idx="23"/>
          </p:nvPr>
        </p:nvSpPr>
        <p:spPr>
          <a:xfrm>
            <a:off x="9984296" y="6492240"/>
            <a:ext cx="1764792" cy="137160"/>
          </a:xfrm>
        </p:spPr>
        <p:txBody>
          <a:bodyPr vert="horz" lIns="0" tIns="0" rIns="0" bIns="0" rtlCol="0" anchor="b" anchorCtr="0">
            <a:noAutofit/>
          </a:bodyPr>
          <a:lstStyle>
            <a:lvl1pPr algn="r">
              <a:defRPr lang="en-US" smtClean="0"/>
            </a:lvl1pPr>
          </a:lstStyle>
          <a:p>
            <a:fld id="{93713BF8-417C-4AAD-8F0C-78A7245BF25C}" type="slidenum">
              <a:rPr lang="en-US" smtClean="0"/>
              <a:pPr/>
              <a:t>‹#›</a:t>
            </a:fld>
            <a:endParaRPr lang="en-US"/>
          </a:p>
        </p:txBody>
      </p:sp>
    </p:spTree>
    <p:extLst>
      <p:ext uri="{BB962C8B-B14F-4D97-AF65-F5344CB8AC3E}">
        <p14:creationId xmlns:p14="http://schemas.microsoft.com/office/powerpoint/2010/main" val="60172980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lvl1pPr>
              <a:defRPr>
                <a:solidFill>
                  <a:schemeClr val="tx1"/>
                </a:solidFill>
              </a:defRPr>
            </a:lvl1pPr>
          </a:lstStyle>
          <a:p>
            <a:r>
              <a:rPr lang="en-US"/>
              <a:t>[Slide title]</a:t>
            </a:r>
          </a:p>
        </p:txBody>
      </p:sp>
      <p:sp>
        <p:nvSpPr>
          <p:cNvPr id="8" name="Chart Placeholder 2"/>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p>
        </p:txBody>
      </p:sp>
      <p:sp>
        <p:nvSpPr>
          <p:cNvPr id="2" name="Date Placeholder 1">
            <a:extLst>
              <a:ext uri="{FF2B5EF4-FFF2-40B4-BE49-F238E27FC236}">
                <a16:creationId xmlns:a16="http://schemas.microsoft.com/office/drawing/2014/main" id="{93E62FA0-99AF-4FBF-9D14-0EFB8706E8D4}"/>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894F3CDA-9672-44DD-AB31-0D4CE6C63A96}"/>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228BBE81-84BE-4129-9F49-19FA16C8A9B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US" smtClean="0"/>
            </a:lvl1pPr>
          </a:lstStyle>
          <a:p>
            <a:fld id="{C8A7A4E4-20C8-45EF-BB70-D5CB55954453}" type="slidenum">
              <a:rPr lang="en-US" smtClean="0"/>
              <a:pPr/>
              <a:t>‹#›</a:t>
            </a:fld>
            <a:endParaRPr lang="en-US"/>
          </a:p>
        </p:txBody>
      </p:sp>
    </p:spTree>
    <p:extLst>
      <p:ext uri="{BB962C8B-B14F-4D97-AF65-F5344CB8AC3E}">
        <p14:creationId xmlns:p14="http://schemas.microsoft.com/office/powerpoint/2010/main" val="3626832374"/>
      </p:ext>
    </p:extLst>
  </p:cSld>
  <p:clrMapOvr>
    <a:overrideClrMapping bg1="dk1" tx1="lt1" bg2="dk2" tx2="lt2" accent1="accent1" accent2="accent2" accent3="accent3" accent4="accent4" accent5="accent5" accent6="accent6" hlink="hlink" folHlink="folHlink"/>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a:solidFill>
                  <a:schemeClr val="tx1"/>
                </a:solidFill>
              </a:rPr>
              <a:t>pwc.com</a:t>
            </a:r>
          </a:p>
        </p:txBody>
      </p:sp>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20971392"/>
      </p:ext>
    </p:extLst>
  </p:cSld>
  <p:clrMapOvr>
    <a:overrideClrMapping bg1="lt1" tx1="dk1" bg2="lt2" tx2="dk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1</a:t>
            </a:r>
          </a:p>
        </p:txBody>
      </p:sp>
    </p:spTree>
    <p:extLst>
      <p:ext uri="{BB962C8B-B14F-4D97-AF65-F5344CB8AC3E}">
        <p14:creationId xmlns:p14="http://schemas.microsoft.com/office/powerpoint/2010/main" val="1076714083"/>
      </p:ext>
    </p:extLst>
  </p:cSld>
  <p:clrMapOvr>
    <a:overrideClrMapping bg1="lt1" tx1="dk1" bg2="lt2" tx2="dk2" accent1="accent1" accent2="accent2" accent3="accent3" accent4="accent4" accent5="accent5" accent6="accent6" hlink="hlink" folHlink="folHlink"/>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2</a:t>
            </a:r>
          </a:p>
        </p:txBody>
      </p:sp>
    </p:spTree>
    <p:extLst>
      <p:ext uri="{BB962C8B-B14F-4D97-AF65-F5344CB8AC3E}">
        <p14:creationId xmlns:p14="http://schemas.microsoft.com/office/powerpoint/2010/main" val="229667556"/>
      </p:ext>
    </p:extLst>
  </p:cSld>
  <p:clrMapOvr>
    <a:overrideClrMapping bg1="lt1" tx1="dk1" bg2="lt2" tx2="dk2" accent1="accent1" accent2="accent2" accent3="accent3" accent4="accent4" accent5="accent5" accent6="accent6" hlink="hlink" folHlink="folHlink"/>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3</a:t>
            </a:r>
          </a:p>
        </p:txBody>
      </p:sp>
    </p:spTree>
    <p:extLst>
      <p:ext uri="{BB962C8B-B14F-4D97-AF65-F5344CB8AC3E}">
        <p14:creationId xmlns:p14="http://schemas.microsoft.com/office/powerpoint/2010/main" val="383314808"/>
      </p:ext>
    </p:extLst>
  </p:cSld>
  <p:clrMapOvr>
    <a:overrideClrMapping bg1="lt1" tx1="dk1" bg2="lt2" tx2="dk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4</a:t>
            </a:r>
          </a:p>
        </p:txBody>
      </p:sp>
    </p:spTree>
    <p:extLst>
      <p:ext uri="{BB962C8B-B14F-4D97-AF65-F5344CB8AC3E}">
        <p14:creationId xmlns:p14="http://schemas.microsoft.com/office/powerpoint/2010/main" val="1603742322"/>
      </p:ext>
    </p:extLst>
  </p:cSld>
  <p:clrMapOvr>
    <a:overrideClrMapping bg1="lt1" tx1="dk1" bg2="lt2" tx2="dk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1</a:t>
            </a:r>
          </a:p>
        </p:txBody>
      </p:sp>
    </p:spTree>
    <p:extLst>
      <p:ext uri="{BB962C8B-B14F-4D97-AF65-F5344CB8AC3E}">
        <p14:creationId xmlns:p14="http://schemas.microsoft.com/office/powerpoint/2010/main" val="2582021767"/>
      </p:ext>
    </p:extLst>
  </p:cSld>
  <p:clrMapOvr>
    <a:overrideClrMapping bg1="lt1" tx1="dk1" bg2="lt2" tx2="dk2" accent1="accent1" accent2="accent2" accent3="accent3" accent4="accent4" accent5="accent5" accent6="accent6" hlink="hlink" folHlink="folHlink"/>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2</a:t>
            </a:r>
          </a:p>
        </p:txBody>
      </p:sp>
    </p:spTree>
    <p:extLst>
      <p:ext uri="{BB962C8B-B14F-4D97-AF65-F5344CB8AC3E}">
        <p14:creationId xmlns:p14="http://schemas.microsoft.com/office/powerpoint/2010/main" val="5189152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09600" y="457200"/>
            <a:ext cx="5309062" cy="2517289"/>
          </a:xfrm>
        </p:spPr>
        <p:txBody>
          <a:bodyPr vert="horz" lIns="0" tIns="0" rIns="0" bIns="0" rtlCol="0" anchor="b" anchorCtr="0">
            <a:noAutofit/>
          </a:bodyPr>
          <a:lstStyle>
            <a:lvl1pPr algn="l" defTabSz="899010" rtl="0" eaLnBrk="1" latinLnBrk="0" hangingPunct="1">
              <a:spcBef>
                <a:spcPct val="0"/>
              </a:spcBef>
              <a:buNone/>
              <a:defRPr lang="en-GB" sz="4236"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Thank you</a:t>
            </a:r>
            <a:endParaRPr lang="en-GB"/>
          </a:p>
        </p:txBody>
      </p:sp>
      <p:sp>
        <p:nvSpPr>
          <p:cNvPr id="8" name="Slide Tags" hidden="1"/>
          <p:cNvSpPr txBox="1"/>
          <p:nvPr>
            <p:custDataLst>
              <p:tags r:id="rId1"/>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5" name="Rectangle 4">
            <a:extLst>
              <a:ext uri="{FF2B5EF4-FFF2-40B4-BE49-F238E27FC236}">
                <a16:creationId xmlns:a16="http://schemas.microsoft.com/office/drawing/2014/main" id="{AAF4687C-57A8-453A-A049-0D4DDFEA3263}"/>
              </a:ext>
            </a:extLst>
          </p:cNvPr>
          <p:cNvSpPr/>
          <p:nvPr/>
        </p:nvSpPr>
        <p:spPr bwMode="hidden">
          <a:xfrm>
            <a:off x="0" y="4940855"/>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10"/>
          </a:p>
        </p:txBody>
      </p:sp>
      <p:sp>
        <p:nvSpPr>
          <p:cNvPr id="3" name="Text Placeholder 2">
            <a:extLst>
              <a:ext uri="{FF2B5EF4-FFF2-40B4-BE49-F238E27FC236}">
                <a16:creationId xmlns:a16="http://schemas.microsoft.com/office/drawing/2014/main" id="{41C2BBAF-6A4B-47CB-BD75-5168D1A27556}"/>
              </a:ext>
            </a:extLst>
          </p:cNvPr>
          <p:cNvSpPr>
            <a:spLocks noGrp="1"/>
          </p:cNvSpPr>
          <p:nvPr>
            <p:ph type="body" sz="quarter" idx="10" hasCustomPrompt="1"/>
          </p:nvPr>
        </p:nvSpPr>
        <p:spPr>
          <a:xfrm>
            <a:off x="609600" y="5212080"/>
            <a:ext cx="10906298" cy="13716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gal]</a:t>
            </a:r>
          </a:p>
        </p:txBody>
      </p:sp>
    </p:spTree>
    <p:extLst>
      <p:ext uri="{BB962C8B-B14F-4D97-AF65-F5344CB8AC3E}">
        <p14:creationId xmlns:p14="http://schemas.microsoft.com/office/powerpoint/2010/main" val="111256772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3</a:t>
            </a:r>
          </a:p>
        </p:txBody>
      </p:sp>
    </p:spTree>
    <p:extLst>
      <p:ext uri="{BB962C8B-B14F-4D97-AF65-F5344CB8AC3E}">
        <p14:creationId xmlns:p14="http://schemas.microsoft.com/office/powerpoint/2010/main" val="320158678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4</a:t>
            </a:r>
          </a:p>
        </p:txBody>
      </p:sp>
    </p:spTree>
    <p:extLst>
      <p:ext uri="{BB962C8B-B14F-4D97-AF65-F5344CB8AC3E}">
        <p14:creationId xmlns:p14="http://schemas.microsoft.com/office/powerpoint/2010/main" val="383421268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p>
        </p:txBody>
      </p:sp>
      <p:sp>
        <p:nvSpPr>
          <p:cNvPr id="3" name="Content Placeholder 2"/>
          <p:cNvSpPr>
            <a:spLocks noGrp="1"/>
          </p:cNvSpPr>
          <p:nvPr>
            <p:ph idx="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325BC2F-9C5A-4169-97B3-577DAB746311}"/>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023B7DB6-69E5-4C56-BEDB-F0D5B568A6C1}"/>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3C035CA4-29F7-4105-8A41-FD1CEB725195}"/>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US" smtClean="0"/>
            </a:lvl1pPr>
          </a:lstStyle>
          <a:p>
            <a:fld id="{95935BED-F3D2-4F5C-B4CD-ADF8E56B6E66}" type="slidenum">
              <a:rPr lang="en-US" smtClean="0"/>
              <a:pPr/>
              <a:t>‹#›</a:t>
            </a:fld>
            <a:endParaRPr lang="en-US"/>
          </a:p>
        </p:txBody>
      </p:sp>
    </p:spTree>
    <p:extLst>
      <p:ext uri="{BB962C8B-B14F-4D97-AF65-F5344CB8AC3E}">
        <p14:creationId xmlns:p14="http://schemas.microsoft.com/office/powerpoint/2010/main" val="22645224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p>
        </p:txBody>
      </p:sp>
      <p:sp>
        <p:nvSpPr>
          <p:cNvPr id="3" name="Content Placeholder 2"/>
          <p:cNvSpPr>
            <a:spLocks noGrp="1"/>
          </p:cNvSpPr>
          <p:nvPr>
            <p:ph idx="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1D54F43-51A7-463B-BB1C-E6647B610BF0}"/>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8DC8B610-7029-4484-9DEE-78400369D74E}"/>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9E7CC37B-EB86-4462-9FF2-F66469ECFA8B}"/>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US" smtClean="0"/>
            </a:lvl1pPr>
          </a:lstStyle>
          <a:p>
            <a:fld id="{7A31CEA1-1388-4BAD-B3E7-9A2237D7DACE}" type="slidenum">
              <a:rPr lang="en-US" smtClean="0"/>
              <a:pPr/>
              <a:t>‹#›</a:t>
            </a:fld>
            <a:endParaRPr lang="en-US"/>
          </a:p>
        </p:txBody>
      </p:sp>
    </p:spTree>
    <p:extLst>
      <p:ext uri="{BB962C8B-B14F-4D97-AF65-F5344CB8AC3E}">
        <p14:creationId xmlns:p14="http://schemas.microsoft.com/office/powerpoint/2010/main" val="33397530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p>
        </p:txBody>
      </p:sp>
      <p:sp>
        <p:nvSpPr>
          <p:cNvPr id="3" name="Content Placeholder 2"/>
          <p:cNvSpPr>
            <a:spLocks noGrp="1"/>
          </p:cNvSpPr>
          <p:nvPr>
            <p:ph idx="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F279F6BE-B378-497A-9076-476B4DA59115}"/>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04118127-343B-43E6-A398-35F4A4F8845B}"/>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C9FF2CF9-F008-4DF2-A7E6-B5FA324932BA}"/>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US" smtClean="0"/>
            </a:lvl1pPr>
          </a:lstStyle>
          <a:p>
            <a:fld id="{8A3611A9-A5AE-4F19-A263-6681A05E38C4}" type="slidenum">
              <a:rPr lang="en-US" smtClean="0"/>
              <a:pPr/>
              <a:t>‹#›</a:t>
            </a:fld>
            <a:endParaRPr lang="en-US"/>
          </a:p>
        </p:txBody>
      </p:sp>
    </p:spTree>
    <p:extLst>
      <p:ext uri="{BB962C8B-B14F-4D97-AF65-F5344CB8AC3E}">
        <p14:creationId xmlns:p14="http://schemas.microsoft.com/office/powerpoint/2010/main" val="573744307"/>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F2CC1606-B076-4754-B898-38B3BAFBC5E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8384CAED-CB5D-4174-A937-DB9177BF7907}"/>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1A5DDEF3-9A70-4CB1-9A2F-54BAD6142C7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954091AD-F76E-4C1C-BFD9-4C38CD64D6DE}" type="slidenum">
              <a:rPr lang="en-US" smtClean="0"/>
              <a:pPr/>
              <a:t>‹#›</a:t>
            </a:fld>
            <a:endParaRPr lang="en-US"/>
          </a:p>
        </p:txBody>
      </p:sp>
    </p:spTree>
    <p:extLst>
      <p:ext uri="{BB962C8B-B14F-4D97-AF65-F5344CB8AC3E}">
        <p14:creationId xmlns:p14="http://schemas.microsoft.com/office/powerpoint/2010/main" val="297139618"/>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0AAD3EB-971E-4F9D-B21F-41024D393A8D}"/>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1AAA4D86-576B-494A-85A0-B32483228DCC}"/>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99A6B2AF-CCF1-4884-94A1-55A1D1CA4392}"/>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6891D5AC-CE9F-450B-BEF1-BFF17CC61A45}" type="slidenum">
              <a:rPr lang="en-US" smtClean="0"/>
              <a:pPr/>
              <a:t>‹#›</a:t>
            </a:fld>
            <a:endParaRPr lang="en-US"/>
          </a:p>
        </p:txBody>
      </p:sp>
    </p:spTree>
    <p:extLst>
      <p:ext uri="{BB962C8B-B14F-4D97-AF65-F5344CB8AC3E}">
        <p14:creationId xmlns:p14="http://schemas.microsoft.com/office/powerpoint/2010/main" val="3453220843"/>
      </p:ext>
    </p:extLst>
  </p:cSld>
  <p:clrMapOvr>
    <a:overrideClrMapping bg1="dk1" tx1="lt1" bg2="dk2" tx2="lt2" accent1="accent1" accent2="accent2" accent3="accent3" accent4="accent4" accent5="accent5" accent6="accent6" hlink="hlink" folHlink="folHlink"/>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B3E39FFE-A897-4EB8-9097-E4A3515498FA}"/>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A107DB0F-8692-4CA8-B21C-9667355957F5}"/>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557A5571-E07E-47C0-A876-EC2AB9C9DC6F}"/>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709542FD-82AC-406B-BE17-800099A3E71A}" type="slidenum">
              <a:rPr lang="en-US" smtClean="0"/>
              <a:pPr/>
              <a:t>‹#›</a:t>
            </a:fld>
            <a:endParaRPr lang="en-US"/>
          </a:p>
        </p:txBody>
      </p:sp>
    </p:spTree>
    <p:extLst>
      <p:ext uri="{BB962C8B-B14F-4D97-AF65-F5344CB8AC3E}">
        <p14:creationId xmlns:p14="http://schemas.microsoft.com/office/powerpoint/2010/main" val="2987996158"/>
      </p:ext>
    </p:extLst>
  </p:cSld>
  <p:clrMapOvr>
    <a:overrideClrMapping bg1="dk1" tx1="lt1" bg2="dk2" tx2="lt2" accent1="accent1" accent2="accent2" accent3="accent3" accent4="accent4" accent5="accent5" accent6="accent6" hlink="hlink" folHlink="folHlink"/>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D733384D-E80B-4F2F-BC6E-66027D0A4442}"/>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2072778F-2FE0-4CCE-BF05-8E85C8F5C1C0}"/>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A9185D73-6A61-41EC-8B7D-8BED28EFB55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504711E1-3BEB-44DF-9B32-F3531A974144}" type="slidenum">
              <a:rPr lang="en-US" smtClean="0"/>
              <a:pPr/>
              <a:t>‹#›</a:t>
            </a:fld>
            <a:endParaRPr lang="en-US"/>
          </a:p>
        </p:txBody>
      </p:sp>
    </p:spTree>
    <p:extLst>
      <p:ext uri="{BB962C8B-B14F-4D97-AF65-F5344CB8AC3E}">
        <p14:creationId xmlns:p14="http://schemas.microsoft.com/office/powerpoint/2010/main" val="2917042026"/>
      </p:ext>
    </p:extLst>
  </p:cSld>
  <p:clrMapOvr>
    <a:overrideClrMapping bg1="dk1" tx1="lt1" bg2="dk2" tx2="lt2" accent1="accent1" accent2="accent2" accent3="accent3" accent4="accent4" accent5="accent5" accent6="accent6" hlink="hlink" folHlink="folHlink"/>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542BA78E-3EF6-46B5-95F3-FC1FE7CFC961}"/>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4" name="Footer Placeholder 3">
            <a:extLst>
              <a:ext uri="{FF2B5EF4-FFF2-40B4-BE49-F238E27FC236}">
                <a16:creationId xmlns:a16="http://schemas.microsoft.com/office/drawing/2014/main" id="{10148D39-CFAF-4148-8E5F-F6888CDBFFB7}"/>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5" name="Slide Number Placeholder 4">
            <a:extLst>
              <a:ext uri="{FF2B5EF4-FFF2-40B4-BE49-F238E27FC236}">
                <a16:creationId xmlns:a16="http://schemas.microsoft.com/office/drawing/2014/main" id="{F0B9654D-76E9-4367-B712-7BDD592785F6}"/>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A2C06DC7-5E5C-4ECA-8A06-0DF68A7A77F1}" type="slidenum">
              <a:rPr lang="en-US" smtClean="0"/>
              <a:pPr/>
              <a:t>‹#›</a:t>
            </a:fld>
            <a:endParaRPr lang="en-US"/>
          </a:p>
        </p:txBody>
      </p:sp>
    </p:spTree>
    <p:extLst>
      <p:ext uri="{BB962C8B-B14F-4D97-AF65-F5344CB8AC3E}">
        <p14:creationId xmlns:p14="http://schemas.microsoft.com/office/powerpoint/2010/main" val="2188892647"/>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15" name="Picture Placeholder 9">
            <a:extLst>
              <a:ext uri="{FF2B5EF4-FFF2-40B4-BE49-F238E27FC236}">
                <a16:creationId xmlns:a16="http://schemas.microsoft.com/office/drawing/2014/main" id="{88EEE73C-8877-43D1-86A9-69E953630E6B}"/>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2" name="Freeform: Shape 11">
            <a:extLst>
              <a:ext uri="{FF2B5EF4-FFF2-40B4-BE49-F238E27FC236}">
                <a16:creationId xmlns:a16="http://schemas.microsoft.com/office/drawing/2014/main" id="{12869856-6182-4B8D-938C-EBFCD02C87F2}"/>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153584533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Blank" type="obj">
  <p:cSld name="Blank">
    <p:spTree>
      <p:nvGrpSpPr>
        <p:cNvPr id="1" name="Shape 11"/>
        <p:cNvGrpSpPr/>
        <p:nvPr/>
      </p:nvGrpSpPr>
      <p:grpSpPr>
        <a:xfrm>
          <a:off x="0" y="0"/>
          <a:ext cx="0" cy="0"/>
          <a:chOff x="0" y="0"/>
          <a:chExt cx="0" cy="0"/>
        </a:xfrm>
      </p:grpSpPr>
      <p:sp>
        <p:nvSpPr>
          <p:cNvPr id="2" name="Date Placeholder 1">
            <a:extLst>
              <a:ext uri="{FF2B5EF4-FFF2-40B4-BE49-F238E27FC236}">
                <a16:creationId xmlns:a16="http://schemas.microsoft.com/office/drawing/2014/main" id="{163CFC11-A17C-4B81-BFF7-63C89415332F}"/>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1B90421B-6F40-4AA3-9855-BC1B78E1CEC4}"/>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4" name="Slide Number Placeholder 3">
            <a:extLst>
              <a:ext uri="{FF2B5EF4-FFF2-40B4-BE49-F238E27FC236}">
                <a16:creationId xmlns:a16="http://schemas.microsoft.com/office/drawing/2014/main" id="{0B702A02-1C99-4CB5-B7DE-D7BDC3481202}"/>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5423115C-8B1C-4897-85B4-7DEB303E6344}" type="slidenum">
              <a:rPr lang="en-US" smtClean="0"/>
              <a:pPr/>
              <a:t>‹#›</a:t>
            </a:fld>
            <a:endParaRPr lang="en-US"/>
          </a:p>
        </p:txBody>
      </p:sp>
    </p:spTree>
    <p:extLst>
      <p:ext uri="{BB962C8B-B14F-4D97-AF65-F5344CB8AC3E}">
        <p14:creationId xmlns:p14="http://schemas.microsoft.com/office/powerpoint/2010/main" val="334362522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3429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609600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55496"/>
          </a:xfrm>
        </p:spPr>
        <p:txBody>
          <a:bodyPr anchor="b" anchorCtr="0">
            <a:normAutofit/>
          </a:bodyPr>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6" name="Picture 5">
            <a:extLst>
              <a:ext uri="{FF2B5EF4-FFF2-40B4-BE49-F238E27FC236}">
                <a16:creationId xmlns:a16="http://schemas.microsoft.com/office/drawing/2014/main" id="{6500E57C-CC48-F54D-B3F3-3A114B2488C5}"/>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93041624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70299649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Title Slide 1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571B43E-7EFD-FC49-8203-0C37C621BF50}"/>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08207946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itle Slide 1 Dark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accent6"/>
              </a:solidFill>
            </a:endParaRPr>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C2DF81D-CFC9-CA4F-9296-0DF32281B17C}"/>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196088099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5" name="Picture 4">
            <a:extLst>
              <a:ext uri="{FF2B5EF4-FFF2-40B4-BE49-F238E27FC236}">
                <a16:creationId xmlns:a16="http://schemas.microsoft.com/office/drawing/2014/main" id="{B067EFBB-B928-AC40-8026-93C731DCE1E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spTree>
    <p:extLst>
      <p:ext uri="{BB962C8B-B14F-4D97-AF65-F5344CB8AC3E}">
        <p14:creationId xmlns:p14="http://schemas.microsoft.com/office/powerpoint/2010/main" val="2672513069"/>
      </p:ext>
    </p:extLst>
  </p:cSld>
  <p:clrMapOvr>
    <a:overrideClrMapping bg1="lt1" tx1="dk1" bg2="lt2" tx2="dk2" accent1="accent1" accent2="accent2" accent3="accent3" accent4="accent4" accent5="accent5" accent6="accent6" hlink="hlink" folHlink="folHlink"/>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Picture 4">
            <a:extLst>
              <a:ext uri="{FF2B5EF4-FFF2-40B4-BE49-F238E27FC236}">
                <a16:creationId xmlns:a16="http://schemas.microsoft.com/office/drawing/2014/main" id="{A9644956-77CE-C94F-9DC1-ACB7D92E8927}"/>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1283003504"/>
      </p:ext>
    </p:extLst>
  </p:cSld>
  <p:clrMapOvr>
    <a:overrideClrMapping bg1="lt1" tx1="dk1" bg2="lt2" tx2="dk2" accent1="accent1" accent2="accent2" accent3="accent3" accent4="accent4" accent5="accent5" accent6="accent6" hlink="hlink" folHlink="folHlink"/>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6096000" y="0"/>
            <a:ext cx="6096000" cy="4575812"/>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4575812"/>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4575812"/>
            <a:ext cx="6096000" cy="2282188"/>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6692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5101594"/>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009BFEA4-1A04-C344-804A-E610366F9988}"/>
              </a:ext>
            </a:extLst>
          </p:cNvPr>
          <p:cNvPicPr>
            <a:picLocks noChangeAspect="1"/>
          </p:cNvPicPr>
          <p:nvPr userDrawn="1"/>
        </p:nvPicPr>
        <p:blipFill>
          <a:blip r:embed="rId2"/>
          <a:stretch>
            <a:fillRect/>
          </a:stretch>
        </p:blipFill>
        <p:spPr bwMode="gray">
          <a:xfrm>
            <a:off x="10337737" y="5330952"/>
            <a:ext cx="1636776" cy="1351185"/>
          </a:xfrm>
          <a:prstGeom prst="rect">
            <a:avLst/>
          </a:prstGeom>
        </p:spPr>
      </p:pic>
    </p:spTree>
    <p:extLst>
      <p:ext uri="{BB962C8B-B14F-4D97-AF65-F5344CB8AC3E}">
        <p14:creationId xmlns:p14="http://schemas.microsoft.com/office/powerpoint/2010/main" val="32789860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Title Slide Lines">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9" name="Group 8">
            <a:extLst>
              <a:ext uri="{FF2B5EF4-FFF2-40B4-BE49-F238E27FC236}">
                <a16:creationId xmlns:a16="http://schemas.microsoft.com/office/drawing/2014/main" id="{E91E7E14-05A1-3C44-AC4F-3B254DA49C58}"/>
              </a:ext>
            </a:extLst>
          </p:cNvPr>
          <p:cNvGrpSpPr/>
          <p:nvPr userDrawn="1"/>
        </p:nvGrpSpPr>
        <p:grpSpPr>
          <a:xfrm>
            <a:off x="0" y="0"/>
            <a:ext cx="12192000" cy="6858000"/>
            <a:chOff x="0" y="0"/>
            <a:chExt cx="12192000" cy="6858000"/>
          </a:xfrm>
        </p:grpSpPr>
        <p:grpSp>
          <p:nvGrpSpPr>
            <p:cNvPr id="5" name="Group 4">
              <a:extLst>
                <a:ext uri="{FF2B5EF4-FFF2-40B4-BE49-F238E27FC236}">
                  <a16:creationId xmlns:a16="http://schemas.microsoft.com/office/drawing/2014/main" id="{30AF71D2-4341-774D-95E6-2A6EC9FAB977}"/>
                </a:ext>
              </a:extLst>
            </p:cNvPr>
            <p:cNvGrpSpPr>
              <a:grpSpLocks noChangeAspect="1"/>
            </p:cNvGrpSpPr>
            <p:nvPr userDrawn="1"/>
          </p:nvGrpSpPr>
          <p:grpSpPr>
            <a:xfrm>
              <a:off x="0" y="0"/>
              <a:ext cx="12192000" cy="6858000"/>
              <a:chOff x="152400" y="152400"/>
              <a:chExt cx="12196763" cy="6862763"/>
            </a:xfrm>
          </p:grpSpPr>
          <p:sp>
            <p:nvSpPr>
              <p:cNvPr id="6" name="Freeform 5">
                <a:extLst>
                  <a:ext uri="{FF2B5EF4-FFF2-40B4-BE49-F238E27FC236}">
                    <a16:creationId xmlns:a16="http://schemas.microsoft.com/office/drawing/2014/main" id="{EB6FF182-420C-CE44-A08A-9911616955D9}"/>
                  </a:ext>
                </a:extLst>
              </p:cNvPr>
              <p:cNvSpPr>
                <a:spLocks noChangeAspect="1"/>
              </p:cNvSpPr>
              <p:nvPr/>
            </p:nvSpPr>
            <p:spPr bwMode="hidden">
              <a:xfrm>
                <a:off x="152400" y="3775075"/>
                <a:ext cx="9142413" cy="777875"/>
              </a:xfrm>
              <a:custGeom>
                <a:avLst/>
                <a:gdLst>
                  <a:gd name="T0" fmla="*/ 0 w 7908"/>
                  <a:gd name="T1" fmla="*/ 0 h 1632"/>
                  <a:gd name="T2" fmla="*/ 0 w 7908"/>
                  <a:gd name="T3" fmla="*/ 0 h 1632"/>
                  <a:gd name="T4" fmla="*/ 7908 w 7908"/>
                  <a:gd name="T5" fmla="*/ 0 h 1632"/>
                  <a:gd name="T6" fmla="*/ 7908 w 7908"/>
                  <a:gd name="T7" fmla="*/ 1632 h 1632"/>
                  <a:gd name="T8" fmla="*/ 0 w 7908"/>
                  <a:gd name="T9" fmla="*/ 1632 h 1632"/>
                  <a:gd name="T10" fmla="*/ 0 w 7908"/>
                  <a:gd name="T11" fmla="*/ 0 h 1632"/>
                </a:gdLst>
                <a:ahLst/>
                <a:cxnLst>
                  <a:cxn ang="0">
                    <a:pos x="T0" y="T1"/>
                  </a:cxn>
                  <a:cxn ang="0">
                    <a:pos x="T2" y="T3"/>
                  </a:cxn>
                  <a:cxn ang="0">
                    <a:pos x="T4" y="T5"/>
                  </a:cxn>
                  <a:cxn ang="0">
                    <a:pos x="T6" y="T7"/>
                  </a:cxn>
                  <a:cxn ang="0">
                    <a:pos x="T8" y="T9"/>
                  </a:cxn>
                  <a:cxn ang="0">
                    <a:pos x="T10" y="T11"/>
                  </a:cxn>
                </a:cxnLst>
                <a:rect l="0" t="0" r="r" b="b"/>
                <a:pathLst>
                  <a:path w="7908" h="1632">
                    <a:moveTo>
                      <a:pt x="0" y="0"/>
                    </a:moveTo>
                    <a:lnTo>
                      <a:pt x="0" y="0"/>
                    </a:lnTo>
                    <a:lnTo>
                      <a:pt x="7908" y="0"/>
                    </a:lnTo>
                    <a:lnTo>
                      <a:pt x="7908" y="1632"/>
                    </a:lnTo>
                    <a:lnTo>
                      <a:pt x="0" y="1632"/>
                    </a:lnTo>
                    <a:lnTo>
                      <a:pt x="0" y="0"/>
                    </a:lnTo>
                    <a:close/>
                  </a:path>
                </a:pathLst>
              </a:custGeom>
              <a:solidFill>
                <a:srgbClr val="D04A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3BE432B1-2C50-3E4E-AD63-D3F80C22CFAE}"/>
                  </a:ext>
                </a:extLst>
              </p:cNvPr>
              <p:cNvSpPr>
                <a:spLocks noChangeAspect="1"/>
              </p:cNvSpPr>
              <p:nvPr/>
            </p:nvSpPr>
            <p:spPr bwMode="white">
              <a:xfrm>
                <a:off x="152400" y="152400"/>
                <a:ext cx="12196763" cy="6862763"/>
              </a:xfrm>
              <a:custGeom>
                <a:avLst/>
                <a:gdLst>
                  <a:gd name="T0" fmla="*/ 19187 w 25599"/>
                  <a:gd name="T1" fmla="*/ 0 h 14399"/>
                  <a:gd name="T2" fmla="*/ 19187 w 25599"/>
                  <a:gd name="T3" fmla="*/ 0 h 14399"/>
                  <a:gd name="T4" fmla="*/ 19187 w 25599"/>
                  <a:gd name="T5" fmla="*/ 6949 h 14399"/>
                  <a:gd name="T6" fmla="*/ 0 w 25599"/>
                  <a:gd name="T7" fmla="*/ 6949 h 14399"/>
                  <a:gd name="T8" fmla="*/ 0 w 25599"/>
                  <a:gd name="T9" fmla="*/ 7602 h 14399"/>
                  <a:gd name="T10" fmla="*/ 19187 w 25599"/>
                  <a:gd name="T11" fmla="*/ 7602 h 14399"/>
                  <a:gd name="T12" fmla="*/ 19187 w 25599"/>
                  <a:gd name="T13" fmla="*/ 9234 h 14399"/>
                  <a:gd name="T14" fmla="*/ 0 w 25599"/>
                  <a:gd name="T15" fmla="*/ 9234 h 14399"/>
                  <a:gd name="T16" fmla="*/ 0 w 25599"/>
                  <a:gd name="T17" fmla="*/ 9887 h 14399"/>
                  <a:gd name="T18" fmla="*/ 19187 w 25599"/>
                  <a:gd name="T19" fmla="*/ 9887 h 14399"/>
                  <a:gd name="T20" fmla="*/ 19187 w 25599"/>
                  <a:gd name="T21" fmla="*/ 14399 h 14399"/>
                  <a:gd name="T22" fmla="*/ 19839 w 25599"/>
                  <a:gd name="T23" fmla="*/ 14399 h 14399"/>
                  <a:gd name="T24" fmla="*/ 19839 w 25599"/>
                  <a:gd name="T25" fmla="*/ 9887 h 14399"/>
                  <a:gd name="T26" fmla="*/ 25599 w 25599"/>
                  <a:gd name="T27" fmla="*/ 9887 h 14399"/>
                  <a:gd name="T28" fmla="*/ 25599 w 25599"/>
                  <a:gd name="T29" fmla="*/ 9234 h 14399"/>
                  <a:gd name="T30" fmla="*/ 19839 w 25599"/>
                  <a:gd name="T31" fmla="*/ 9234 h 14399"/>
                  <a:gd name="T32" fmla="*/ 19839 w 25599"/>
                  <a:gd name="T33" fmla="*/ 7602 h 14399"/>
                  <a:gd name="T34" fmla="*/ 25599 w 25599"/>
                  <a:gd name="T35" fmla="*/ 7602 h 14399"/>
                  <a:gd name="T36" fmla="*/ 25599 w 25599"/>
                  <a:gd name="T37" fmla="*/ 6949 h 14399"/>
                  <a:gd name="T38" fmla="*/ 19839 w 25599"/>
                  <a:gd name="T39" fmla="*/ 6949 h 14399"/>
                  <a:gd name="T40" fmla="*/ 19839 w 25599"/>
                  <a:gd name="T41" fmla="*/ 0 h 14399"/>
                  <a:gd name="T42" fmla="*/ 19187 w 25599"/>
                  <a:gd name="T43" fmla="*/ 0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99" h="14399">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642E31FB-8697-8E4D-9430-7773E9181739}"/>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3" name="Subtitle 2"/>
          <p:cNvSpPr>
            <a:spLocks noGrp="1"/>
          </p:cNvSpPr>
          <p:nvPr userDrawn="1">
            <p:ph type="subTitle" idx="1" hasCustomPrompt="1"/>
          </p:nvPr>
        </p:nvSpPr>
        <p:spPr>
          <a:xfrm>
            <a:off x="442914" y="3713607"/>
            <a:ext cx="5473699" cy="592074"/>
          </a:xfrm>
          <a:noFill/>
        </p:spPr>
        <p:txBody>
          <a:bodyPr lIns="0" tIns="0" rIns="0" bIns="0" anchor="ctr" anchorCtr="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2" name="Title 1"/>
          <p:cNvSpPr>
            <a:spLocks noGrp="1"/>
          </p:cNvSpPr>
          <p:nvPr userDrawn="1">
            <p:ph type="ctrTitle" hasCustomPrompt="1"/>
          </p:nvPr>
        </p:nvSpPr>
        <p:spPr>
          <a:xfrm>
            <a:off x="442914" y="428624"/>
            <a:ext cx="7418386" cy="1884391"/>
          </a:xfrm>
        </p:spPr>
        <p:txBody>
          <a:bodyPr anchor="b" anchorCtr="0"/>
          <a:lstStyle>
            <a:lvl1pPr algn="l">
              <a:lnSpc>
                <a:spcPct val="85000"/>
              </a:lnSpc>
              <a:defRPr sz="4500">
                <a:solidFill>
                  <a:schemeClr val="bg1"/>
                </a:solidFill>
              </a:defRPr>
            </a:lvl1pPr>
          </a:lstStyle>
          <a:p>
            <a:r>
              <a:rPr lang="en-US"/>
              <a:t>[Presentation title]</a:t>
            </a:r>
            <a:endParaRPr lang="en-GB"/>
          </a:p>
        </p:txBody>
      </p:sp>
    </p:spTree>
    <p:extLst>
      <p:ext uri="{BB962C8B-B14F-4D97-AF65-F5344CB8AC3E}">
        <p14:creationId xmlns:p14="http://schemas.microsoft.com/office/powerpoint/2010/main" val="121443970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a:t>[Presentation title]</a:t>
            </a:r>
            <a:endParaRPr lang="en-GB"/>
          </a:p>
        </p:txBody>
      </p:sp>
    </p:spTree>
    <p:extLst>
      <p:ext uri="{BB962C8B-B14F-4D97-AF65-F5344CB8AC3E}">
        <p14:creationId xmlns:p14="http://schemas.microsoft.com/office/powerpoint/2010/main" val="40221073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12" name="Picture Placeholder 9">
            <a:extLst>
              <a:ext uri="{FF2B5EF4-FFF2-40B4-BE49-F238E27FC236}">
                <a16:creationId xmlns:a16="http://schemas.microsoft.com/office/drawing/2014/main" id="{627FAFAA-285F-4945-A3A2-666A8A502E15}"/>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5" name="Freeform: Shape 14">
            <a:extLst>
              <a:ext uri="{FF2B5EF4-FFF2-40B4-BE49-F238E27FC236}">
                <a16:creationId xmlns:a16="http://schemas.microsoft.com/office/drawing/2014/main" id="{575F215B-4184-4392-9C86-1A188FA31F05}"/>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4" name="Picture 13">
            <a:extLst>
              <a:ext uri="{FF2B5EF4-FFF2-40B4-BE49-F238E27FC236}">
                <a16:creationId xmlns:a16="http://schemas.microsoft.com/office/drawing/2014/main" id="{5D160942-482E-4DB8-A58E-71FBEDE7727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11" name="Report Title">
            <a:extLst>
              <a:ext uri="{FF2B5EF4-FFF2-40B4-BE49-F238E27FC236}">
                <a16:creationId xmlns:a16="http://schemas.microsoft.com/office/drawing/2014/main" id="{12C0EFB5-DB4A-44B7-BEB6-50F77D1D323D}"/>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2EEB4B15-EBE2-4CC7-87E7-CF12291C9A89}"/>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6" name="Confidentiality Stamp">
            <a:extLst>
              <a:ext uri="{FF2B5EF4-FFF2-40B4-BE49-F238E27FC236}">
                <a16:creationId xmlns:a16="http://schemas.microsoft.com/office/drawing/2014/main" id="{BB6F76BA-CA5E-46B1-A4FE-A04494BA1F41}"/>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7" name="Draft Stamp">
            <a:extLst>
              <a:ext uri="{FF2B5EF4-FFF2-40B4-BE49-F238E27FC236}">
                <a16:creationId xmlns:a16="http://schemas.microsoft.com/office/drawing/2014/main" id="{FD086E63-2C7B-45FF-B665-56AD61AC323A}"/>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18" name="Report Date">
            <a:extLst>
              <a:ext uri="{FF2B5EF4-FFF2-40B4-BE49-F238E27FC236}">
                <a16:creationId xmlns:a16="http://schemas.microsoft.com/office/drawing/2014/main" id="{2093D07F-E838-4E22-A6DD-E50DBC55755D}"/>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338343123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Title Slide Lines 3">
    <p:bg>
      <p:bgPr>
        <a:solidFill>
          <a:srgbClr val="D04A02"/>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1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01F27-1E18-0046-A577-0550B326C420}"/>
              </a:ext>
            </a:extLst>
          </p:cNvPr>
          <p:cNvGrpSpPr/>
          <p:nvPr userDrawn="1"/>
        </p:nvGrpSpPr>
        <p:grpSpPr>
          <a:xfrm>
            <a:off x="0" y="0"/>
            <a:ext cx="12192000" cy="6858000"/>
            <a:chOff x="0" y="0"/>
            <a:chExt cx="12192000" cy="6858000"/>
          </a:xfrm>
        </p:grpSpPr>
        <p:sp>
          <p:nvSpPr>
            <p:cNvPr id="6" name="Freeform: Shape 8">
              <a:extLst>
                <a:ext uri="{FF2B5EF4-FFF2-40B4-BE49-F238E27FC236}">
                  <a16:creationId xmlns:a16="http://schemas.microsoft.com/office/drawing/2014/main" id="{2B6306E4-EA3A-6A40-90F3-BFF139CD1856}"/>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1" name="Picture 10">
              <a:extLst>
                <a:ext uri="{FF2B5EF4-FFF2-40B4-BE49-F238E27FC236}">
                  <a16:creationId xmlns:a16="http://schemas.microsoft.com/office/drawing/2014/main" id="{D67CBCF8-572D-4D45-93D3-B122FE4A2D6B}"/>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6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20504155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89710265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Oran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5103159" y="-1"/>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D5065365-ACD4-4445-B744-F720FB8FF28C}"/>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89B02B9A-C678-D74D-B142-58CA492CDC0C}"/>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63724111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ed">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9130D55-E01B-814B-B368-1A5B9D922495}"/>
              </a:ext>
            </a:extLst>
          </p:cNvPr>
          <p:cNvSpPr>
            <a:spLocks noGrp="1"/>
          </p:cNvSpPr>
          <p:nvPr>
            <p:ph type="pic" sz="quarter" idx="10"/>
          </p:nvPr>
        </p:nvSpPr>
        <p:spPr bwMode="hidden">
          <a:xfrm>
            <a:off x="5103158" y="0"/>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27BE733A-F034-2C46-AB70-A0813595ECD7}"/>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D80AA576-2E0A-D146-9C52-8C67B6E45DE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81579572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os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504B055-84E9-A34C-9FA5-3A4898E3B2D5}"/>
              </a:ext>
            </a:extLst>
          </p:cNvPr>
          <p:cNvSpPr>
            <a:spLocks noGrp="1"/>
          </p:cNvSpPr>
          <p:nvPr>
            <p:ph type="pic" sz="quarter" idx="10"/>
          </p:nvPr>
        </p:nvSpPr>
        <p:spPr bwMode="hidden">
          <a:xfrm>
            <a:off x="5103158"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41675EB2-67BA-8341-AFDE-B097C16A2531}"/>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B53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420A64D3-5A58-A74D-827A-3B01DDFF5E00}"/>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7940666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Grey">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B147A814-53FE-0143-93DA-63021064389A}"/>
              </a:ext>
            </a:extLst>
          </p:cNvPr>
          <p:cNvSpPr>
            <a:spLocks noGrp="1"/>
          </p:cNvSpPr>
          <p:nvPr>
            <p:ph type="pic" sz="quarter" idx="10"/>
          </p:nvPr>
        </p:nvSpPr>
        <p:spPr bwMode="hidden">
          <a:xfrm>
            <a:off x="5103159"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19670607-F478-BE4E-8608-89949C7D5279}"/>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3C790A76-DC9A-CA48-8F96-B38E81026F9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83963462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Title Slide Split">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bwMode="hidden">
          <a:xfrm>
            <a:off x="5334000" y="0"/>
            <a:ext cx="6858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Title 1"/>
          <p:cNvSpPr>
            <a:spLocks noGrp="1"/>
          </p:cNvSpPr>
          <p:nvPr>
            <p:ph type="ctrTitle" hasCustomPrompt="1"/>
          </p:nvPr>
        </p:nvSpPr>
        <p:spPr>
          <a:xfrm>
            <a:off x="442914" y="750888"/>
            <a:ext cx="4675186" cy="2678112"/>
          </a:xfrm>
        </p:spPr>
        <p:txBody>
          <a:bodyPr anchor="b" anchorCtr="0"/>
          <a:lstStyle>
            <a:lvl1pPr algn="l">
              <a:lnSpc>
                <a:spcPct val="85000"/>
              </a:lnSpc>
              <a:defRPr sz="44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956185"/>
            <a:ext cx="4675187"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 name="Picture 7">
            <a:extLst>
              <a:ext uri="{FF2B5EF4-FFF2-40B4-BE49-F238E27FC236}">
                <a16:creationId xmlns:a16="http://schemas.microsoft.com/office/drawing/2014/main" id="{7722A556-B0A2-E74A-B3E1-08C0F432C2DF}"/>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38576242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Sep 23</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401369106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Sep 23</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92970488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Sep 23</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21384725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accent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7"/>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421881158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Sep 23</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425435265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r>
              <a:rPr lang="en-US"/>
              <a:t>Sep 23</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66620287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p:txBody>
          <a:bodyPr/>
          <a:lstStyle>
            <a:lvl1pPr>
              <a:defRPr>
                <a:solidFill>
                  <a:schemeClr val="bg1"/>
                </a:solidFill>
              </a:defRPr>
            </a:lvl1pPr>
          </a:lstStyle>
          <a:p>
            <a:r>
              <a:rPr lang="en-US"/>
              <a:t>Sep 23</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268296098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p:txBody>
          <a:bodyPr/>
          <a:lstStyle/>
          <a:p>
            <a:r>
              <a:rPr lang="en-US"/>
              <a:t>Sep 23</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411971624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p:txBody>
          <a:bodyPr/>
          <a:lstStyle/>
          <a:p>
            <a:r>
              <a:rPr lang="en-US"/>
              <a:t>Sep 23</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280570141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p:txBody>
          <a:bodyPr/>
          <a:lstStyle/>
          <a:p>
            <a:r>
              <a:rPr lang="en-US"/>
              <a:t>Sep 23</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78440596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p:txBody>
          <a:bodyPr/>
          <a:lstStyle/>
          <a:p>
            <a:r>
              <a:rPr lang="en-US"/>
              <a:t>Sep 23</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24047880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a:lstStyle/>
          <a:p>
            <a:r>
              <a:rPr lang="en-US"/>
              <a:t>Sep 23</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207281821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p:txBody>
          <a:bodyPr/>
          <a:lstStyle/>
          <a:p>
            <a:r>
              <a:rPr lang="en-US"/>
              <a:t>Sep 23</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363962475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p:txBody>
          <a:bodyPr/>
          <a:lstStyle/>
          <a:p>
            <a:r>
              <a:rPr lang="en-US"/>
              <a:t>Sep 23</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23434439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tle Slide 2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a:solidFill>
            <a:schemeClr val="accent6"/>
          </a:solidFill>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a:grpFill/>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134098651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p:txBody>
          <a:bodyPr/>
          <a:lstStyle/>
          <a:p>
            <a:r>
              <a:rPr lang="en-US"/>
              <a:t>Sep 23</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303805936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p:txBody>
          <a:bodyPr/>
          <a:lstStyle/>
          <a:p>
            <a:r>
              <a:rPr lang="en-US"/>
              <a:t>Sep 23</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20460635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p:txBody>
          <a:bodyPr/>
          <a:lstStyle/>
          <a:p>
            <a:r>
              <a:rPr lang="en-US"/>
              <a:t>Sep 23</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1509529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p:txBody>
          <a:bodyPr/>
          <a:lstStyle/>
          <a:p>
            <a:r>
              <a:rPr lang="en-US"/>
              <a:t>Sep 23</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85330048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p:txBody>
          <a:bodyPr/>
          <a:lstStyle>
            <a:lvl1pPr>
              <a:defRPr>
                <a:solidFill>
                  <a:schemeClr val="bg1"/>
                </a:solidFill>
              </a:defRPr>
            </a:lvl1pPr>
          </a:lstStyle>
          <a:p>
            <a:r>
              <a:rPr lang="en-US"/>
              <a:t>Sep 23</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31774995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p:txBody>
          <a:bodyPr/>
          <a:lstStyle/>
          <a:p>
            <a:r>
              <a:rPr lang="en-US"/>
              <a:t>Sep 23</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220875623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p:txBody>
          <a:bodyPr/>
          <a:lstStyle/>
          <a:p>
            <a:r>
              <a:rPr lang="en-US"/>
              <a:t>Sep 23</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28309419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p:txBody>
          <a:bodyPr/>
          <a:lstStyle/>
          <a:p>
            <a:r>
              <a:rPr lang="en-US"/>
              <a:t>Sep 23</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17976742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p:txBody>
          <a:bodyPr/>
          <a:lstStyle/>
          <a:p>
            <a:r>
              <a:rPr lang="en-US"/>
              <a:t>Sep 23</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30182107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p:txBody>
          <a:bodyPr/>
          <a:lstStyle/>
          <a:p>
            <a:r>
              <a:rPr lang="en-US"/>
              <a:t>Sep 23</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39870273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tle Slide 3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332435015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p:txBody>
          <a:bodyPr/>
          <a:lstStyle/>
          <a:p>
            <a:r>
              <a:rPr lang="en-US"/>
              <a:t>Sep 23</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94057265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p:txBody>
          <a:bodyPr/>
          <a:lstStyle/>
          <a:p>
            <a:r>
              <a:rPr lang="en-US"/>
              <a:t>Sep 23</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04793537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endParaRPr lang="en-GB"/>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p:txBody>
          <a:bodyPr/>
          <a:lstStyle/>
          <a:p>
            <a:r>
              <a:rPr lang="en-US"/>
              <a:t>Sep 23</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310282861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endParaRPr lang="en-GB"/>
          </a:p>
        </p:txBody>
      </p:sp>
      <p:sp>
        <p:nvSpPr>
          <p:cNvPr id="6" name="Title 5"/>
          <p:cNvSpPr>
            <a:spLocks noGrp="1"/>
          </p:cNvSpPr>
          <p:nvPr>
            <p:ph type="title" hasCustomPrompt="1"/>
          </p:nvPr>
        </p:nvSpPr>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p:txBody>
          <a:bodyPr/>
          <a:lstStyle/>
          <a:p>
            <a:r>
              <a:rPr lang="en-US"/>
              <a:t>Sep 23</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64128077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p:txBody>
          <a:bodyPr/>
          <a:lstStyle/>
          <a:p>
            <a:r>
              <a:rPr lang="en-US"/>
              <a:t>Sep 23</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p:txBody>
          <a:bodyPr/>
          <a:lstStyle/>
          <a:p>
            <a:pPr algn="l"/>
            <a:r>
              <a:rPr lang="en-US"/>
              <a:t>Prefeasibility study for establishment of ICIC under STKEC</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054993012"/>
      </p:ext>
    </p:extLst>
  </p:cSld>
  <p:clrMapOvr>
    <a:overrideClrMapping bg1="dk1" tx1="lt1" bg2="dk2" tx2="lt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p:txBody>
          <a:bodyPr/>
          <a:lstStyle/>
          <a:p>
            <a:r>
              <a:rPr lang="en-US"/>
              <a:t>Sep 23</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p:txBody>
          <a:bodyPr/>
          <a:lstStyle/>
          <a:p>
            <a:pPr algn="l"/>
            <a:r>
              <a:rPr lang="en-US"/>
              <a:t>Prefeasibility study for establishment of ICIC under STKEC</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285391506"/>
      </p:ext>
    </p:extLst>
  </p:cSld>
  <p:clrMapOvr>
    <a:overrideClrMapping bg1="dk1" tx1="lt1" bg2="dk2" tx2="lt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a:p>
        </p:txBody>
      </p:sp>
      <p:sp>
        <p:nvSpPr>
          <p:cNvPr id="4" name="Title 3"/>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p:txBody>
          <a:bodyPr/>
          <a:lstStyle/>
          <a:p>
            <a:r>
              <a:rPr lang="en-US"/>
              <a:t>Sep 23</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p:txBody>
          <a:bodyPr/>
          <a:lstStyle/>
          <a:p>
            <a:pPr algn="l"/>
            <a:r>
              <a:rPr lang="en-US"/>
              <a:t>Prefeasibility study for establishment of ICIC under STKEC</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923600941"/>
      </p:ext>
    </p:extLst>
  </p:cSld>
  <p:clrMapOvr>
    <a:overrideClrMapping bg1="dk1" tx1="lt1" bg2="dk2" tx2="lt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p:txBody>
          <a:bodyPr/>
          <a:lstStyle/>
          <a:p>
            <a:r>
              <a:rPr lang="en-US"/>
              <a:t>Sep 23</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p:txBody>
          <a:bodyPr/>
          <a:lstStyle/>
          <a:p>
            <a:pPr algn="l"/>
            <a:r>
              <a:rPr lang="en-US"/>
              <a:t>Prefeasibility study for establishment of ICIC under STKEC</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6192268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p:txBody>
          <a:bodyPr/>
          <a:lstStyle/>
          <a:p>
            <a:r>
              <a:rPr lang="en-US"/>
              <a:t>Sep 23</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p:txBody>
          <a:bodyPr/>
          <a:lstStyle/>
          <a:p>
            <a:pPr algn="l"/>
            <a:r>
              <a:rPr lang="en-US"/>
              <a:t>Prefeasibility study for establishment of ICIC under STKEC</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6667919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p:txBody>
          <a:bodyPr/>
          <a:lstStyle>
            <a:lvl1pPr>
              <a:defRPr>
                <a:solidFill>
                  <a:schemeClr val="bg1"/>
                </a:solidFill>
              </a:defRPr>
            </a:lvl1pPr>
          </a:lstStyle>
          <a:p>
            <a:r>
              <a:rPr lang="en-US"/>
              <a:t>Sep 23</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1155757921"/>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GB"/>
              <a:t>Click icon to add picture</a:t>
            </a:r>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a:t>[Presentation title]</a:t>
            </a:r>
            <a:endParaRPr lang="en-GB"/>
          </a:p>
        </p:txBody>
      </p:sp>
    </p:spTree>
    <p:extLst>
      <p:ext uri="{BB962C8B-B14F-4D97-AF65-F5344CB8AC3E}">
        <p14:creationId xmlns:p14="http://schemas.microsoft.com/office/powerpoint/2010/main" val="238740861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a:lstStyle/>
          <a:p>
            <a:r>
              <a:rPr lang="en-US"/>
              <a:t>Sep 23</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p:txBody>
          <a:bodyPr/>
          <a:lstStyle/>
          <a:p>
            <a:pPr algn="l"/>
            <a:r>
              <a:rPr lang="en-US"/>
              <a:t>Prefeasibility study for establishment of ICIC under STKEC</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213157150"/>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p:txBody>
          <a:bodyPr/>
          <a:lstStyle/>
          <a:p>
            <a:r>
              <a:rPr lang="en-US"/>
              <a:t>Sep 23</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p:txBody>
          <a:bodyPr/>
          <a:lstStyle/>
          <a:p>
            <a:pPr algn="l"/>
            <a:r>
              <a:rPr lang="en-US"/>
              <a:t>Prefeasibility study for establishment of ICIC under STKEC</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867802397"/>
      </p:ext>
    </p:extLst>
  </p:cSld>
  <p:clrMapOvr>
    <a:overrideClrMapping bg1="dk1" tx1="lt1" bg2="dk2" tx2="lt2" accent1="accent1" accent2="accent2" accent3="accent3" accent4="accent4" accent5="accent5" accent6="accent6" hlink="hlink" folHlink="folHlink"/>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p:txBody>
          <a:bodyPr/>
          <a:lstStyle/>
          <a:p>
            <a:r>
              <a:rPr lang="en-US"/>
              <a:t>Sep 23</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p:txBody>
          <a:bodyPr/>
          <a:lstStyle/>
          <a:p>
            <a:pPr algn="l"/>
            <a:r>
              <a:rPr lang="en-US"/>
              <a:t>Prefeasibility study for establishment of ICIC under STKEC</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663951578"/>
      </p:ext>
    </p:extLst>
  </p:cSld>
  <p:clrMapOvr>
    <a:overrideClrMapping bg1="dk1" tx1="lt1" bg2="dk2" tx2="lt2" accent1="accent1" accent2="accent2" accent3="accent3" accent4="accent4" accent5="accent5" accent6="accent6" hlink="hlink" folHlink="folHlink"/>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p:txBody>
          <a:bodyPr/>
          <a:lstStyle/>
          <a:p>
            <a:r>
              <a:rPr lang="en-US"/>
              <a:t>Sep 23</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p:txBody>
          <a:bodyPr/>
          <a:lstStyle/>
          <a:p>
            <a:pPr algn="l"/>
            <a:r>
              <a:rPr lang="en-US"/>
              <a:t>Prefeasibility study for establishment of ICIC under STKEC</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472055253"/>
      </p:ext>
    </p:extLst>
  </p:cSld>
  <p:clrMapOvr>
    <a:overrideClrMapping bg1="dk1" tx1="lt1" bg2="dk2" tx2="lt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p:txBody>
          <a:bodyPr/>
          <a:lstStyle/>
          <a:p>
            <a:r>
              <a:rPr lang="en-US"/>
              <a:t>Sep 23</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p:txBody>
          <a:bodyPr/>
          <a:lstStyle/>
          <a:p>
            <a:pPr algn="l"/>
            <a:r>
              <a:rPr lang="en-US"/>
              <a:t>Prefeasibility study for establishment of ICIC under STKEC</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33654740"/>
      </p:ext>
    </p:extLst>
  </p:cSld>
  <p:clrMapOvr>
    <a:overrideClrMapping bg1="dk1" tx1="lt1" bg2="dk2" tx2="lt2" accent1="accent1" accent2="accent2" accent3="accent3" accent4="accent4" accent5="accent5" accent6="accent6" hlink="hlink" folHlink="folHlink"/>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1119638474"/>
      </p:ext>
    </p:extLst>
  </p:cSld>
  <p:clrMapOvr>
    <a:overrideClrMapping bg1="lt1" tx1="dk1" bg2="lt2" tx2="dk2" accent1="accent1" accent2="accent2" accent3="accent3" accent4="accent4" accent5="accent5" accent6="accent6" hlink="hlink" folHlink="folHlink"/>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414719682"/>
      </p:ext>
    </p:extLst>
  </p:cSld>
  <p:clrMapOvr>
    <a:overrideClrMapping bg1="lt1" tx1="dk1" bg2="lt2" tx2="dk2" accent1="accent1" accent2="accent2" accent3="accent3" accent4="accent4" accent5="accent5" accent6="accent6" hlink="hlink" folHlink="folHlink"/>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39615553"/>
      </p:ext>
    </p:extLst>
  </p:cSld>
  <p:clrMapOvr>
    <a:overrideClrMapping bg1="lt1" tx1="dk1" bg2="lt2" tx2="dk2" accent1="accent1" accent2="accent2" accent3="accent3" accent4="accent4" accent5="accent5" accent6="accent6" hlink="hlink" folHlink="folHlink"/>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711248331"/>
      </p:ext>
    </p:extLst>
  </p:cSld>
  <p:clrMapOvr>
    <a:overrideClrMapping bg1="lt1" tx1="dk1" bg2="lt2" tx2="dk2" accent1="accent1" accent2="accent2" accent3="accent3" accent4="accent4" accent5="accent5" accent6="accent6" hlink="hlink" folHlink="folHlink"/>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3613074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Letter US">
    <p:spTree>
      <p:nvGrpSpPr>
        <p:cNvPr id="1" name=""/>
        <p:cNvGrpSpPr/>
        <p:nvPr/>
      </p:nvGrpSpPr>
      <p:grpSpPr>
        <a:xfrm>
          <a:off x="0" y="0"/>
          <a:ext cx="0" cy="0"/>
          <a:chOff x="0" y="0"/>
          <a:chExt cx="0" cy="0"/>
        </a:xfrm>
      </p:grpSpPr>
      <p:sp>
        <p:nvSpPr>
          <p:cNvPr id="15" name="Report Date">
            <a:extLst>
              <a:ext uri="{FF2B5EF4-FFF2-40B4-BE49-F238E27FC236}">
                <a16:creationId xmlns:a16="http://schemas.microsoft.com/office/drawing/2014/main" id="{53D1EBEC-E8DA-41B3-AC08-642CC2A5848F}"/>
              </a:ext>
            </a:extLst>
          </p:cNvPr>
          <p:cNvSpPr txBox="1"/>
          <p:nvPr>
            <p:custDataLst>
              <p:tags r:id="rId1"/>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21430" y="6317429"/>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13" name="Text Placeholder 12">
            <a:extLst>
              <a:ext uri="{FF2B5EF4-FFF2-40B4-BE49-F238E27FC236}">
                <a16:creationId xmlns:a16="http://schemas.microsoft.com/office/drawing/2014/main" id="{40E7DDA1-E9E0-4BD2-9F18-4D73A5A3E34F}"/>
              </a:ext>
            </a:extLst>
          </p:cNvPr>
          <p:cNvSpPr>
            <a:spLocks noGrp="1"/>
          </p:cNvSpPr>
          <p:nvPr>
            <p:ph type="body" sz="quarter" idx="13" hasCustomPrompt="1"/>
          </p:nvPr>
        </p:nvSpPr>
        <p:spPr>
          <a:xfrm>
            <a:off x="3509305" y="1282424"/>
            <a:ext cx="3904775" cy="4611356"/>
          </a:xfrm>
        </p:spPr>
        <p:txBody>
          <a:bodyPr/>
          <a:lstStyle>
            <a:lvl1pPr>
              <a:defRPr sz="794"/>
            </a:lvl1pPr>
          </a:lstStyle>
          <a:p>
            <a:pPr lvl="0"/>
            <a:r>
              <a:rPr lang="en-GB"/>
              <a:t>Insert text here </a:t>
            </a:r>
          </a:p>
        </p:txBody>
      </p:sp>
      <p:sp>
        <p:nvSpPr>
          <p:cNvPr id="21" name="Text Placeholder 12">
            <a:extLst>
              <a:ext uri="{FF2B5EF4-FFF2-40B4-BE49-F238E27FC236}">
                <a16:creationId xmlns:a16="http://schemas.microsoft.com/office/drawing/2014/main" id="{3A63B2BC-C1AA-475D-80E8-6103AE001718}"/>
              </a:ext>
            </a:extLst>
          </p:cNvPr>
          <p:cNvSpPr>
            <a:spLocks noGrp="1"/>
          </p:cNvSpPr>
          <p:nvPr>
            <p:ph type="body" sz="quarter" idx="14" hasCustomPrompt="1"/>
          </p:nvPr>
        </p:nvSpPr>
        <p:spPr>
          <a:xfrm>
            <a:off x="7644375" y="1282424"/>
            <a:ext cx="3904775" cy="4611356"/>
          </a:xfrm>
        </p:spPr>
        <p:txBody>
          <a:bodyPr/>
          <a:lstStyle>
            <a:lvl1pPr>
              <a:defRPr sz="794"/>
            </a:lvl1pPr>
          </a:lstStyle>
          <a:p>
            <a:pPr lvl="0"/>
            <a:r>
              <a:rPr lang="en-GB"/>
              <a:t>Insert text here </a:t>
            </a:r>
          </a:p>
        </p:txBody>
      </p:sp>
      <p:sp>
        <p:nvSpPr>
          <p:cNvPr id="32" name="Rectangle 31">
            <a:extLst>
              <a:ext uri="{FF2B5EF4-FFF2-40B4-BE49-F238E27FC236}">
                <a16:creationId xmlns:a16="http://schemas.microsoft.com/office/drawing/2014/main" id="{6772873F-F098-49A1-B629-C8530BE60C1A}"/>
              </a:ext>
            </a:extLst>
          </p:cNvPr>
          <p:cNvSpPr/>
          <p:nvPr/>
        </p:nvSpPr>
        <p:spPr>
          <a:xfrm>
            <a:off x="1" y="0"/>
            <a:ext cx="3150086" cy="6858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33" name="Picture 32">
            <a:extLst>
              <a:ext uri="{FF2B5EF4-FFF2-40B4-BE49-F238E27FC236}">
                <a16:creationId xmlns:a16="http://schemas.microsoft.com/office/drawing/2014/main" id="{318A1954-C595-46AF-9BD0-C51B68380FC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34" name="Presentation Disclaimer">
            <a:extLst>
              <a:ext uri="{FF2B5EF4-FFF2-40B4-BE49-F238E27FC236}">
                <a16:creationId xmlns:a16="http://schemas.microsoft.com/office/drawing/2014/main" id="{04DDCE90-61F5-41F7-BCB5-5378C4B9A371}"/>
              </a:ext>
            </a:extLst>
          </p:cNvPr>
          <p:cNvSpPr txBox="1"/>
          <p:nvPr>
            <p:custDataLst>
              <p:tags r:id="rId3"/>
            </p:custDataLst>
          </p:nvPr>
        </p:nvSpPr>
        <p:spPr>
          <a:xfrm>
            <a:off x="548283" y="6087752"/>
            <a:ext cx="2376566" cy="108619"/>
          </a:xfrm>
          <a:prstGeom prst="rect">
            <a:avLst/>
          </a:prstGeom>
          <a:noFill/>
        </p:spPr>
        <p:txBody>
          <a:bodyPr wrap="square" lIns="0" tIns="0" rIns="0" bIns="0" rtlCol="0" anchor="b" anchorCtr="0">
            <a:spAutoFit/>
          </a:bodyPr>
          <a:lstStyle/>
          <a:p>
            <a:pPr algn="l"/>
            <a:r>
              <a:rPr lang="en-GB" sz="706" noProof="1">
                <a:solidFill>
                  <a:schemeClr val="bg2"/>
                </a:solidFill>
              </a:rPr>
              <a:t>Strictly private and confidential</a:t>
            </a:r>
          </a:p>
        </p:txBody>
      </p:sp>
      <p:sp>
        <p:nvSpPr>
          <p:cNvPr id="35" name="Text Placeholder 3">
            <a:extLst>
              <a:ext uri="{FF2B5EF4-FFF2-40B4-BE49-F238E27FC236}">
                <a16:creationId xmlns:a16="http://schemas.microsoft.com/office/drawing/2014/main" id="{011B331F-A998-4B93-9E0F-EFB8090DC593}"/>
              </a:ext>
            </a:extLst>
          </p:cNvPr>
          <p:cNvSpPr>
            <a:spLocks noGrp="1"/>
          </p:cNvSpPr>
          <p:nvPr>
            <p:ph type="body" sz="quarter" idx="10" hasCustomPrompt="1"/>
          </p:nvPr>
        </p:nvSpPr>
        <p:spPr>
          <a:xfrm>
            <a:off x="543225" y="1815353"/>
            <a:ext cx="237656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36" name="Text Placeholder 5">
            <a:extLst>
              <a:ext uri="{FF2B5EF4-FFF2-40B4-BE49-F238E27FC236}">
                <a16:creationId xmlns:a16="http://schemas.microsoft.com/office/drawing/2014/main" id="{012E331A-BF46-4F6E-9356-402F5B3A21AA}"/>
              </a:ext>
            </a:extLst>
          </p:cNvPr>
          <p:cNvSpPr>
            <a:spLocks noGrp="1"/>
          </p:cNvSpPr>
          <p:nvPr>
            <p:ph type="body" sz="quarter" idx="11" hasCustomPrompt="1"/>
          </p:nvPr>
        </p:nvSpPr>
        <p:spPr>
          <a:xfrm>
            <a:off x="543225" y="5230180"/>
            <a:ext cx="2376566" cy="149362"/>
          </a:xfrm>
        </p:spPr>
        <p:txBody>
          <a:bodyPr wrap="square" anchor="b" anchorCtr="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sp>
        <p:nvSpPr>
          <p:cNvPr id="41" name="Page Number">
            <a:extLst>
              <a:ext uri="{FF2B5EF4-FFF2-40B4-BE49-F238E27FC236}">
                <a16:creationId xmlns:a16="http://schemas.microsoft.com/office/drawing/2014/main" id="{F36165EE-352C-4AC1-98EF-60E59C280DC8}"/>
              </a:ext>
            </a:extLst>
          </p:cNvPr>
          <p:cNvSpPr txBox="1"/>
          <p:nvPr>
            <p:custDataLst>
              <p:tags r:id="rId4"/>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2" name="Section Footer">
            <a:extLst>
              <a:ext uri="{FF2B5EF4-FFF2-40B4-BE49-F238E27FC236}">
                <a16:creationId xmlns:a16="http://schemas.microsoft.com/office/drawing/2014/main" id="{DFD9E5A5-EA34-4218-A4A4-FD56114AF055}"/>
              </a:ext>
            </a:extLst>
          </p:cNvPr>
          <p:cNvSpPr txBox="1"/>
          <p:nvPr>
            <p:custDataLst>
              <p:tags r:id="rId5"/>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43" name="TextBox 42">
            <a:extLst>
              <a:ext uri="{FF2B5EF4-FFF2-40B4-BE49-F238E27FC236}">
                <a16:creationId xmlns:a16="http://schemas.microsoft.com/office/drawing/2014/main" id="{88601950-F3C4-4D1E-A940-993B2DC79208}"/>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44" name="Straight Connector 43">
            <a:extLst>
              <a:ext uri="{FF2B5EF4-FFF2-40B4-BE49-F238E27FC236}">
                <a16:creationId xmlns:a16="http://schemas.microsoft.com/office/drawing/2014/main" id="{ED043B99-C2CB-4B03-BAF5-2B73C672E9E7}"/>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Draft stamp">
            <a:extLst>
              <a:ext uri="{FF2B5EF4-FFF2-40B4-BE49-F238E27FC236}">
                <a16:creationId xmlns:a16="http://schemas.microsoft.com/office/drawing/2014/main" id="{0C7A3222-0907-4B8B-931D-CDF391F1375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7" name="HeaderTOCPlaceholder"/>
          <p:cNvSpPr txBox="1"/>
          <p:nvPr>
            <p:custDataLst>
              <p:tags r:id="rId7"/>
            </p:custDataLst>
          </p:nvPr>
        </p:nvSpPr>
        <p:spPr>
          <a:xfrm>
            <a:off x="3378647"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35762082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88362"/>
            <a:ext cx="11306175" cy="1132358"/>
          </a:xfrm>
        </p:spPr>
        <p:txBody>
          <a:bodyPr/>
          <a:lstStyle>
            <a:lvl1pPr>
              <a:defRPr/>
            </a:lvl1pPr>
          </a:lstStyle>
          <a:p>
            <a:r>
              <a:rPr lang="en-US"/>
              <a:t>[Slide title]</a:t>
            </a:r>
          </a:p>
        </p:txBody>
      </p:sp>
      <p:sp>
        <p:nvSpPr>
          <p:cNvPr id="10" name="Presentation Footer">
            <a:extLst>
              <a:ext uri="{FF2B5EF4-FFF2-40B4-BE49-F238E27FC236}">
                <a16:creationId xmlns:a16="http://schemas.microsoft.com/office/drawing/2014/main" id="{9853FC5B-A1A5-4F7F-A104-DF817D185242}"/>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11" name="Date">
            <a:extLst>
              <a:ext uri="{FF2B5EF4-FFF2-40B4-BE49-F238E27FC236}">
                <a16:creationId xmlns:a16="http://schemas.microsoft.com/office/drawing/2014/main" id="{83AEF06C-AE3F-4BB4-AD32-87AFCA4C3422}"/>
              </a:ext>
            </a:extLst>
          </p:cNvPr>
          <p:cNvSpPr>
            <a:spLocks noGrp="1"/>
          </p:cNvSpPr>
          <p:nvPr>
            <p:ph type="dt" sz="half" idx="12"/>
          </p:nvPr>
        </p:nvSpPr>
        <p:spPr>
          <a:xfrm>
            <a:off x="9984296" y="6355080"/>
            <a:ext cx="1764792" cy="137160"/>
          </a:xfrm>
        </p:spPr>
        <p:txBody>
          <a:bodyPr/>
          <a:lstStyle/>
          <a:p>
            <a:r>
              <a:rPr lang="en-US"/>
              <a:t>Sep 23</a:t>
            </a:r>
          </a:p>
        </p:txBody>
      </p:sp>
      <p:sp>
        <p:nvSpPr>
          <p:cNvPr id="12" name="Slide Number">
            <a:extLst>
              <a:ext uri="{FF2B5EF4-FFF2-40B4-BE49-F238E27FC236}">
                <a16:creationId xmlns:a16="http://schemas.microsoft.com/office/drawing/2014/main" id="{424280CD-7F82-4378-B4EB-A953855D63E1}"/>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
        <p:nvSpPr>
          <p:cNvPr id="7" name="object 4">
            <a:extLst>
              <a:ext uri="{FF2B5EF4-FFF2-40B4-BE49-F238E27FC236}">
                <a16:creationId xmlns:a16="http://schemas.microsoft.com/office/drawing/2014/main" id="{52B9439B-9CC6-46B2-8873-574555C017AE}"/>
              </a:ext>
            </a:extLst>
          </p:cNvPr>
          <p:cNvSpPr/>
          <p:nvPr userDrawn="1"/>
        </p:nvSpPr>
        <p:spPr>
          <a:xfrm>
            <a:off x="271182" y="1455934"/>
            <a:ext cx="11658600" cy="45720"/>
          </a:xfrm>
          <a:custGeom>
            <a:avLst/>
            <a:gdLst/>
            <a:ahLst/>
            <a:cxnLst/>
            <a:rect l="l" t="t" r="r" b="b"/>
            <a:pathLst>
              <a:path w="4889500" h="127000">
                <a:moveTo>
                  <a:pt x="0" y="127000"/>
                </a:moveTo>
                <a:lnTo>
                  <a:pt x="4889500" y="127000"/>
                </a:lnTo>
                <a:lnTo>
                  <a:pt x="4889500" y="0"/>
                </a:lnTo>
                <a:lnTo>
                  <a:pt x="0" y="0"/>
                </a:lnTo>
                <a:lnTo>
                  <a:pt x="0" y="127000"/>
                </a:lnTo>
                <a:close/>
              </a:path>
            </a:pathLst>
          </a:custGeom>
          <a:solidFill>
            <a:schemeClr val="accent1"/>
          </a:solidFill>
        </p:spPr>
        <p:txBody>
          <a:bodyPr wrap="square" lIns="0" tIns="0" rIns="0" bIns="0" rtlCol="0">
            <a:noAutofit/>
          </a:bodyPr>
          <a:lstStyle/>
          <a:p>
            <a:endParaRPr sz="2052"/>
          </a:p>
        </p:txBody>
      </p:sp>
      <p:sp>
        <p:nvSpPr>
          <p:cNvPr id="8" name="object 5">
            <a:extLst>
              <a:ext uri="{FF2B5EF4-FFF2-40B4-BE49-F238E27FC236}">
                <a16:creationId xmlns:a16="http://schemas.microsoft.com/office/drawing/2014/main" id="{680CC5B8-E865-44C5-BBFA-0120CE7CD46C}"/>
              </a:ext>
            </a:extLst>
          </p:cNvPr>
          <p:cNvSpPr/>
          <p:nvPr userDrawn="1"/>
        </p:nvSpPr>
        <p:spPr>
          <a:xfrm>
            <a:off x="266978" y="-56087"/>
            <a:ext cx="45720" cy="1554480"/>
          </a:xfrm>
          <a:custGeom>
            <a:avLst/>
            <a:gdLst/>
            <a:ahLst/>
            <a:cxnLst/>
            <a:rect l="l" t="t" r="r" b="b"/>
            <a:pathLst>
              <a:path w="127000" h="6341109">
                <a:moveTo>
                  <a:pt x="127000" y="6340800"/>
                </a:moveTo>
                <a:lnTo>
                  <a:pt x="127000" y="0"/>
                </a:lnTo>
                <a:lnTo>
                  <a:pt x="0" y="0"/>
                </a:lnTo>
                <a:lnTo>
                  <a:pt x="0" y="6340800"/>
                </a:lnTo>
                <a:lnTo>
                  <a:pt x="127000" y="6340800"/>
                </a:lnTo>
                <a:close/>
              </a:path>
            </a:pathLst>
          </a:custGeom>
          <a:solidFill>
            <a:schemeClr val="accent1"/>
          </a:solidFill>
        </p:spPr>
        <p:txBody>
          <a:bodyPr wrap="square" lIns="0" tIns="0" rIns="0" bIns="0" rtlCol="0">
            <a:noAutofit/>
          </a:bodyPr>
          <a:lstStyle/>
          <a:p>
            <a:endParaRPr sz="2052"/>
          </a:p>
        </p:txBody>
      </p:sp>
      <p:sp>
        <p:nvSpPr>
          <p:cNvPr id="9" name="object 4">
            <a:extLst>
              <a:ext uri="{FF2B5EF4-FFF2-40B4-BE49-F238E27FC236}">
                <a16:creationId xmlns:a16="http://schemas.microsoft.com/office/drawing/2014/main" id="{AB4DA012-88D4-432C-A287-0FCCC669D5D9}"/>
              </a:ext>
            </a:extLst>
          </p:cNvPr>
          <p:cNvSpPr/>
          <p:nvPr userDrawn="1"/>
        </p:nvSpPr>
        <p:spPr>
          <a:xfrm>
            <a:off x="2407" y="305482"/>
            <a:ext cx="11932920" cy="45720"/>
          </a:xfrm>
          <a:custGeom>
            <a:avLst/>
            <a:gdLst/>
            <a:ahLst/>
            <a:cxnLst/>
            <a:rect l="l" t="t" r="r" b="b"/>
            <a:pathLst>
              <a:path w="4889500" h="127000">
                <a:moveTo>
                  <a:pt x="0" y="127000"/>
                </a:moveTo>
                <a:lnTo>
                  <a:pt x="4889500" y="127000"/>
                </a:lnTo>
                <a:lnTo>
                  <a:pt x="4889500" y="0"/>
                </a:lnTo>
                <a:lnTo>
                  <a:pt x="0" y="0"/>
                </a:lnTo>
                <a:lnTo>
                  <a:pt x="0" y="127000"/>
                </a:lnTo>
                <a:close/>
              </a:path>
            </a:pathLst>
          </a:custGeom>
          <a:solidFill>
            <a:schemeClr val="accent1"/>
          </a:solidFill>
        </p:spPr>
        <p:txBody>
          <a:bodyPr wrap="square" lIns="0" tIns="0" rIns="0" bIns="0" rtlCol="0">
            <a:noAutofit/>
          </a:bodyPr>
          <a:lstStyle/>
          <a:p>
            <a:endParaRPr sz="2052"/>
          </a:p>
        </p:txBody>
      </p:sp>
      <p:sp>
        <p:nvSpPr>
          <p:cNvPr id="13" name="object 5">
            <a:extLst>
              <a:ext uri="{FF2B5EF4-FFF2-40B4-BE49-F238E27FC236}">
                <a16:creationId xmlns:a16="http://schemas.microsoft.com/office/drawing/2014/main" id="{42612913-42F5-4FA8-BCC1-E78D5568E363}"/>
              </a:ext>
            </a:extLst>
          </p:cNvPr>
          <p:cNvSpPr/>
          <p:nvPr userDrawn="1"/>
        </p:nvSpPr>
        <p:spPr>
          <a:xfrm>
            <a:off x="11890326" y="305571"/>
            <a:ext cx="45720" cy="1188720"/>
          </a:xfrm>
          <a:custGeom>
            <a:avLst/>
            <a:gdLst/>
            <a:ahLst/>
            <a:cxnLst/>
            <a:rect l="l" t="t" r="r" b="b"/>
            <a:pathLst>
              <a:path w="127000" h="6341109">
                <a:moveTo>
                  <a:pt x="127000" y="6340800"/>
                </a:moveTo>
                <a:lnTo>
                  <a:pt x="127000" y="0"/>
                </a:lnTo>
                <a:lnTo>
                  <a:pt x="0" y="0"/>
                </a:lnTo>
                <a:lnTo>
                  <a:pt x="0" y="6340800"/>
                </a:lnTo>
                <a:lnTo>
                  <a:pt x="127000" y="6340800"/>
                </a:lnTo>
                <a:close/>
              </a:path>
            </a:pathLst>
          </a:custGeom>
          <a:solidFill>
            <a:schemeClr val="accent1"/>
          </a:solidFill>
        </p:spPr>
        <p:txBody>
          <a:bodyPr wrap="square" lIns="0" tIns="0" rIns="0" bIns="0" rtlCol="0">
            <a:noAutofit/>
          </a:bodyPr>
          <a:lstStyle/>
          <a:p>
            <a:endParaRPr sz="2052"/>
          </a:p>
        </p:txBody>
      </p:sp>
    </p:spTree>
    <p:extLst>
      <p:ext uri="{BB962C8B-B14F-4D97-AF65-F5344CB8AC3E}">
        <p14:creationId xmlns:p14="http://schemas.microsoft.com/office/powerpoint/2010/main" val="1412469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ppt_x"/>
                                          </p:val>
                                        </p:tav>
                                        <p:tav tm="100000">
                                          <p:val>
                                            <p:strVal val="#ppt_x"/>
                                          </p:val>
                                        </p:tav>
                                      </p:tavLst>
                                    </p:anim>
                                    <p:anim calcmode="lin" valueType="num">
                                      <p:cBhvr additive="base">
                                        <p:cTn id="8" dur="10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ppt_x"/>
                                          </p:val>
                                        </p:tav>
                                        <p:tav tm="100000">
                                          <p:val>
                                            <p:strVal val="#ppt_x"/>
                                          </p:val>
                                        </p:tav>
                                      </p:tavLst>
                                    </p:anim>
                                    <p:anim calcmode="lin" valueType="num">
                                      <p:cBhvr additive="base">
                                        <p:cTn id="12" dur="1000" fill="hold"/>
                                        <p:tgtEl>
                                          <p:spTgt spid="7"/>
                                        </p:tgtEl>
                                        <p:attrNameLst>
                                          <p:attrName>ppt_y</p:attrName>
                                        </p:attrNameLst>
                                      </p:cBhvr>
                                      <p:tavLst>
                                        <p:tav tm="0">
                                          <p:val>
                                            <p:strVal val="0-#ppt_h/2"/>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1+#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1000" fill="hold"/>
                                        <p:tgtEl>
                                          <p:spTgt spid="13"/>
                                        </p:tgtEl>
                                        <p:attrNameLst>
                                          <p:attrName>ppt_x</p:attrName>
                                        </p:attrNameLst>
                                      </p:cBhvr>
                                      <p:tavLst>
                                        <p:tav tm="0">
                                          <p:val>
                                            <p:strVal val="1+#ppt_w/2"/>
                                          </p:val>
                                        </p:tav>
                                        <p:tav tm="100000">
                                          <p:val>
                                            <p:strVal val="#ppt_x"/>
                                          </p:val>
                                        </p:tav>
                                      </p:tavLst>
                                    </p:anim>
                                    <p:anim calcmode="lin" valueType="num">
                                      <p:cBhvr additive="base">
                                        <p:cTn id="20" dur="1000" fill="hold"/>
                                        <p:tgtEl>
                                          <p:spTgt spid="13"/>
                                        </p:tgtEl>
                                        <p:attrNameLst>
                                          <p:attrName>ppt_y</p:attrName>
                                        </p:attrNameLst>
                                      </p:cBhvr>
                                      <p:tavLst>
                                        <p:tav tm="0">
                                          <p:val>
                                            <p:strVal val="#ppt_y"/>
                                          </p:val>
                                        </p:tav>
                                        <p:tav tm="100000">
                                          <p:val>
                                            <p:strVal val="#ppt_y"/>
                                          </p:val>
                                        </p:tav>
                                      </p:tavLst>
                                    </p:anim>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animBg="1"/>
      <p:bldP spid="8" grpId="0" animBg="1"/>
      <p:bldP spid="9" grpId="0" animBg="1"/>
      <p:bldP spid="13" grpId="0" animBg="1"/>
    </p:bld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81927704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411161056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194068722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US"/>
              <a:t>Sep 23</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47426110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r>
              <a:rPr lang="en-US"/>
              <a:t>Sep 23</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216589918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3415060832"/>
      </p:ext>
    </p:extLst>
  </p:cSld>
  <p:clrMapOvr>
    <a:overrideClrMapping bg1="lt1" tx1="dk1" bg2="lt2" tx2="dk2" accent1="accent1" accent2="accent2" accent3="accent3" accent4="accent4" accent5="accent5" accent6="accent6" hlink="hlink" folHlink="folHlink"/>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1986731363"/>
      </p:ext>
    </p:extLst>
  </p:cSld>
  <p:clrMapOvr>
    <a:overrideClrMapping bg1="lt1" tx1="dk1" bg2="lt2" tx2="dk2" accent1="accent1" accent2="accent2" accent3="accent3" accent4="accent4" accent5="accent5" accent6="accent6" hlink="hlink" folHlink="folHlink"/>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Blank" type="obj">
  <p:cSld name="1_Blank">
    <p:spTree>
      <p:nvGrpSpPr>
        <p:cNvPr id="1" name="Shape 11"/>
        <p:cNvGrpSpPr/>
        <p:nvPr/>
      </p:nvGrpSpPr>
      <p:grpSpPr>
        <a:xfrm>
          <a:off x="0" y="0"/>
          <a:ext cx="0" cy="0"/>
          <a:chOff x="0" y="0"/>
          <a:chExt cx="0" cy="0"/>
        </a:xfrm>
      </p:grpSpPr>
      <p:sp>
        <p:nvSpPr>
          <p:cNvPr id="2" name="Date Placeholder 1">
            <a:extLst>
              <a:ext uri="{FF2B5EF4-FFF2-40B4-BE49-F238E27FC236}">
                <a16:creationId xmlns:a16="http://schemas.microsoft.com/office/drawing/2014/main" id="{163CFC11-A17C-4B81-BFF7-63C89415332F}"/>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r>
              <a:rPr lang="en-US"/>
              <a:t>Sep 23</a:t>
            </a:r>
          </a:p>
        </p:txBody>
      </p:sp>
      <p:sp>
        <p:nvSpPr>
          <p:cNvPr id="3" name="Footer Placeholder 2">
            <a:extLst>
              <a:ext uri="{FF2B5EF4-FFF2-40B4-BE49-F238E27FC236}">
                <a16:creationId xmlns:a16="http://schemas.microsoft.com/office/drawing/2014/main" id="{1B90421B-6F40-4AA3-9855-BC1B78E1CEC4}"/>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ICIC under STKEC</a:t>
            </a:r>
          </a:p>
        </p:txBody>
      </p:sp>
      <p:sp>
        <p:nvSpPr>
          <p:cNvPr id="4" name="Slide Number Placeholder 3">
            <a:extLst>
              <a:ext uri="{FF2B5EF4-FFF2-40B4-BE49-F238E27FC236}">
                <a16:creationId xmlns:a16="http://schemas.microsoft.com/office/drawing/2014/main" id="{0B702A02-1C99-4CB5-B7DE-D7BDC3481202}"/>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5423115C-8B1C-4897-85B4-7DEB303E6344}" type="slidenum">
              <a:rPr lang="en-US" smtClean="0"/>
              <a:pPr/>
              <a:t>‹#›</a:t>
            </a:fld>
            <a:endParaRPr lang="en-US"/>
          </a:p>
        </p:txBody>
      </p:sp>
    </p:spTree>
    <p:extLst>
      <p:ext uri="{BB962C8B-B14F-4D97-AF65-F5344CB8AC3E}">
        <p14:creationId xmlns:p14="http://schemas.microsoft.com/office/powerpoint/2010/main" val="37542544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Presentation Footer">
            <a:extLst>
              <a:ext uri="{FF2B5EF4-FFF2-40B4-BE49-F238E27FC236}">
                <a16:creationId xmlns:a16="http://schemas.microsoft.com/office/drawing/2014/main" id="{C0A96048-10F2-4224-818D-5BECEE168473}"/>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13" name="Date">
            <a:extLst>
              <a:ext uri="{FF2B5EF4-FFF2-40B4-BE49-F238E27FC236}">
                <a16:creationId xmlns:a16="http://schemas.microsoft.com/office/drawing/2014/main" id="{C1F41BA3-BD4F-444B-8A48-A3CC74630D92}"/>
              </a:ext>
            </a:extLst>
          </p:cNvPr>
          <p:cNvSpPr>
            <a:spLocks noGrp="1"/>
          </p:cNvSpPr>
          <p:nvPr>
            <p:ph type="dt" sz="half" idx="12"/>
          </p:nvPr>
        </p:nvSpPr>
        <p:spPr>
          <a:xfrm>
            <a:off x="9984296" y="6355080"/>
            <a:ext cx="1764792" cy="137160"/>
          </a:xfrm>
        </p:spPr>
        <p:txBody>
          <a:bodyPr/>
          <a:lstStyle/>
          <a:p>
            <a:r>
              <a:rPr lang="en-US"/>
              <a:t>Sep 23</a:t>
            </a:r>
          </a:p>
        </p:txBody>
      </p:sp>
      <p:sp>
        <p:nvSpPr>
          <p:cNvPr id="14" name="Slide Number">
            <a:extLst>
              <a:ext uri="{FF2B5EF4-FFF2-40B4-BE49-F238E27FC236}">
                <a16:creationId xmlns:a16="http://schemas.microsoft.com/office/drawing/2014/main" id="{E362C54E-6F95-4E35-B11E-0FA6890BB97B}"/>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8667924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Presentation Footer">
            <a:extLst>
              <a:ext uri="{FF2B5EF4-FFF2-40B4-BE49-F238E27FC236}">
                <a16:creationId xmlns:a16="http://schemas.microsoft.com/office/drawing/2014/main" id="{7B52BB9D-0714-41EB-A065-3C9301AC9AF2}"/>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11" name="Date">
            <a:extLst>
              <a:ext uri="{FF2B5EF4-FFF2-40B4-BE49-F238E27FC236}">
                <a16:creationId xmlns:a16="http://schemas.microsoft.com/office/drawing/2014/main" id="{4CDD38BF-B105-49DA-8707-FF2BB7A24DF7}"/>
              </a:ext>
            </a:extLst>
          </p:cNvPr>
          <p:cNvSpPr>
            <a:spLocks noGrp="1"/>
          </p:cNvSpPr>
          <p:nvPr>
            <p:ph type="dt" sz="half" idx="12"/>
          </p:nvPr>
        </p:nvSpPr>
        <p:spPr>
          <a:xfrm>
            <a:off x="9984296" y="6355080"/>
            <a:ext cx="1764792" cy="137160"/>
          </a:xfrm>
        </p:spPr>
        <p:txBody>
          <a:bodyPr/>
          <a:lstStyle/>
          <a:p>
            <a:r>
              <a:rPr lang="en-US"/>
              <a:t>Sep 23</a:t>
            </a:r>
          </a:p>
        </p:txBody>
      </p:sp>
      <p:sp>
        <p:nvSpPr>
          <p:cNvPr id="12" name="Slide Number">
            <a:extLst>
              <a:ext uri="{FF2B5EF4-FFF2-40B4-BE49-F238E27FC236}">
                <a16:creationId xmlns:a16="http://schemas.microsoft.com/office/drawing/2014/main" id="{D6F070B6-A4B1-450C-9787-CEE408FDB21E}"/>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1346141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Presentation Footer">
            <a:extLst>
              <a:ext uri="{FF2B5EF4-FFF2-40B4-BE49-F238E27FC236}">
                <a16:creationId xmlns:a16="http://schemas.microsoft.com/office/drawing/2014/main" id="{AD04E10A-3CEF-447C-885A-911D22505435}"/>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13" name="Date">
            <a:extLst>
              <a:ext uri="{FF2B5EF4-FFF2-40B4-BE49-F238E27FC236}">
                <a16:creationId xmlns:a16="http://schemas.microsoft.com/office/drawing/2014/main" id="{26D0D962-572E-435C-BDA7-54D718BEA5C1}"/>
              </a:ext>
            </a:extLst>
          </p:cNvPr>
          <p:cNvSpPr>
            <a:spLocks noGrp="1"/>
          </p:cNvSpPr>
          <p:nvPr>
            <p:ph type="dt" sz="half" idx="12"/>
          </p:nvPr>
        </p:nvSpPr>
        <p:spPr>
          <a:xfrm>
            <a:off x="9984296" y="6355080"/>
            <a:ext cx="1764792" cy="137160"/>
          </a:xfrm>
        </p:spPr>
        <p:txBody>
          <a:bodyPr/>
          <a:lstStyle/>
          <a:p>
            <a:r>
              <a:rPr lang="en-US"/>
              <a:t>Sep 23</a:t>
            </a:r>
          </a:p>
        </p:txBody>
      </p:sp>
      <p:sp>
        <p:nvSpPr>
          <p:cNvPr id="14" name="Slide Number">
            <a:extLst>
              <a:ext uri="{FF2B5EF4-FFF2-40B4-BE49-F238E27FC236}">
                <a16:creationId xmlns:a16="http://schemas.microsoft.com/office/drawing/2014/main" id="{6DA80911-AAEC-40A3-90D1-AF7AD8369F64}"/>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4044607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Presentation Footer">
            <a:extLst>
              <a:ext uri="{FF2B5EF4-FFF2-40B4-BE49-F238E27FC236}">
                <a16:creationId xmlns:a16="http://schemas.microsoft.com/office/drawing/2014/main" id="{E542CCAF-6994-4C2E-A29F-F9E9E6F7953E}"/>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14" name="Date">
            <a:extLst>
              <a:ext uri="{FF2B5EF4-FFF2-40B4-BE49-F238E27FC236}">
                <a16:creationId xmlns:a16="http://schemas.microsoft.com/office/drawing/2014/main" id="{8B579EE4-B6F2-46DD-AB07-6E80B1CEEAEB}"/>
              </a:ext>
            </a:extLst>
          </p:cNvPr>
          <p:cNvSpPr>
            <a:spLocks noGrp="1"/>
          </p:cNvSpPr>
          <p:nvPr>
            <p:ph type="dt" sz="half" idx="12"/>
          </p:nvPr>
        </p:nvSpPr>
        <p:spPr>
          <a:xfrm>
            <a:off x="9984296" y="6355080"/>
            <a:ext cx="1764792" cy="137160"/>
          </a:xfrm>
        </p:spPr>
        <p:txBody>
          <a:bodyPr/>
          <a:lstStyle/>
          <a:p>
            <a:r>
              <a:rPr lang="en-US"/>
              <a:t>Sep 23</a:t>
            </a:r>
          </a:p>
        </p:txBody>
      </p:sp>
      <p:sp>
        <p:nvSpPr>
          <p:cNvPr id="15" name="Slide Number">
            <a:extLst>
              <a:ext uri="{FF2B5EF4-FFF2-40B4-BE49-F238E27FC236}">
                <a16:creationId xmlns:a16="http://schemas.microsoft.com/office/drawing/2014/main" id="{9C500E16-A5D2-464A-BABA-F48C4283BAB0}"/>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077054978"/>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resentation Footer">
            <a:extLst>
              <a:ext uri="{FF2B5EF4-FFF2-40B4-BE49-F238E27FC236}">
                <a16:creationId xmlns:a16="http://schemas.microsoft.com/office/drawing/2014/main" id="{E7ED5D26-0F4E-4435-AE02-4BF450400824}"/>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12" name="Date">
            <a:extLst>
              <a:ext uri="{FF2B5EF4-FFF2-40B4-BE49-F238E27FC236}">
                <a16:creationId xmlns:a16="http://schemas.microsoft.com/office/drawing/2014/main" id="{25C81924-25E8-4886-B2A4-3E64CBC6F558}"/>
              </a:ext>
            </a:extLst>
          </p:cNvPr>
          <p:cNvSpPr>
            <a:spLocks noGrp="1"/>
          </p:cNvSpPr>
          <p:nvPr>
            <p:ph type="dt" sz="half" idx="12"/>
          </p:nvPr>
        </p:nvSpPr>
        <p:spPr>
          <a:xfrm>
            <a:off x="9984296" y="6355080"/>
            <a:ext cx="1764792" cy="137160"/>
          </a:xfrm>
        </p:spPr>
        <p:txBody>
          <a:bodyPr/>
          <a:lstStyle/>
          <a:p>
            <a:r>
              <a:rPr lang="en-US"/>
              <a:t>Sep 23</a:t>
            </a:r>
          </a:p>
        </p:txBody>
      </p:sp>
      <p:sp>
        <p:nvSpPr>
          <p:cNvPr id="13" name="Slide Number">
            <a:extLst>
              <a:ext uri="{FF2B5EF4-FFF2-40B4-BE49-F238E27FC236}">
                <a16:creationId xmlns:a16="http://schemas.microsoft.com/office/drawing/2014/main" id="{71D092D2-EB9A-42A2-9448-EC3149819AD4}"/>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1825024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Presentation Footer">
            <a:extLst>
              <a:ext uri="{FF2B5EF4-FFF2-40B4-BE49-F238E27FC236}">
                <a16:creationId xmlns:a16="http://schemas.microsoft.com/office/drawing/2014/main" id="{067D2AEA-341E-4BEC-9DE2-87F1D311F51B}"/>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14" name="Date">
            <a:extLst>
              <a:ext uri="{FF2B5EF4-FFF2-40B4-BE49-F238E27FC236}">
                <a16:creationId xmlns:a16="http://schemas.microsoft.com/office/drawing/2014/main" id="{FFDA629C-04CF-4329-A513-8273BEBC5E42}"/>
              </a:ext>
            </a:extLst>
          </p:cNvPr>
          <p:cNvSpPr>
            <a:spLocks noGrp="1"/>
          </p:cNvSpPr>
          <p:nvPr>
            <p:ph type="dt" sz="half" idx="12"/>
          </p:nvPr>
        </p:nvSpPr>
        <p:spPr>
          <a:xfrm>
            <a:off x="9984296" y="6355080"/>
            <a:ext cx="1764792" cy="137160"/>
          </a:xfrm>
        </p:spPr>
        <p:txBody>
          <a:bodyPr/>
          <a:lstStyle/>
          <a:p>
            <a:r>
              <a:rPr lang="en-US"/>
              <a:t>Sep 23</a:t>
            </a:r>
          </a:p>
        </p:txBody>
      </p:sp>
      <p:sp>
        <p:nvSpPr>
          <p:cNvPr id="15" name="Slide Number">
            <a:extLst>
              <a:ext uri="{FF2B5EF4-FFF2-40B4-BE49-F238E27FC236}">
                <a16:creationId xmlns:a16="http://schemas.microsoft.com/office/drawing/2014/main" id="{C3EEAEFD-4D96-414E-BFBD-533058064162}"/>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24285840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Picture Placeholder 2">
            <a:extLst>
              <a:ext uri="{FF2B5EF4-FFF2-40B4-BE49-F238E27FC236}">
                <a16:creationId xmlns:a16="http://schemas.microsoft.com/office/drawing/2014/main" id="{2BED7AA0-17C2-48FB-ABC4-C692036AAF8C}"/>
              </a:ext>
            </a:extLst>
          </p:cNvPr>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0" name="Presentation Footer">
            <a:extLst>
              <a:ext uri="{FF2B5EF4-FFF2-40B4-BE49-F238E27FC236}">
                <a16:creationId xmlns:a16="http://schemas.microsoft.com/office/drawing/2014/main" id="{13CA01EC-74E7-46D6-B9C3-3BF3818DA279}"/>
              </a:ext>
            </a:extLst>
          </p:cNvPr>
          <p:cNvSpPr>
            <a:spLocks noGrp="1"/>
          </p:cNvSpPr>
          <p:nvPr>
            <p:ph type="ftr" sz="quarter" idx="14"/>
          </p:nvPr>
        </p:nvSpPr>
        <p:spPr>
          <a:xfrm>
            <a:off x="442912" y="6355080"/>
            <a:ext cx="5473701" cy="137160"/>
          </a:xfrm>
        </p:spPr>
        <p:txBody>
          <a:bodyPr/>
          <a:lstStyle/>
          <a:p>
            <a:pPr algn="l"/>
            <a:r>
              <a:rPr lang="en-US"/>
              <a:t>Prefeasibility study for establishment of ICIC under STKEC</a:t>
            </a:r>
          </a:p>
        </p:txBody>
      </p:sp>
      <p:sp>
        <p:nvSpPr>
          <p:cNvPr id="11" name="Date">
            <a:extLst>
              <a:ext uri="{FF2B5EF4-FFF2-40B4-BE49-F238E27FC236}">
                <a16:creationId xmlns:a16="http://schemas.microsoft.com/office/drawing/2014/main" id="{1E65F41B-A18F-4D3E-915F-1F3293174063}"/>
              </a:ext>
            </a:extLst>
          </p:cNvPr>
          <p:cNvSpPr>
            <a:spLocks noGrp="1"/>
          </p:cNvSpPr>
          <p:nvPr>
            <p:ph type="dt" sz="half" idx="12"/>
          </p:nvPr>
        </p:nvSpPr>
        <p:spPr>
          <a:xfrm>
            <a:off x="9984296" y="6355080"/>
            <a:ext cx="1764792" cy="137160"/>
          </a:xfrm>
        </p:spPr>
        <p:txBody>
          <a:bodyPr/>
          <a:lstStyle>
            <a:lvl1pPr>
              <a:defRPr>
                <a:solidFill>
                  <a:schemeClr val="bg1"/>
                </a:solidFill>
              </a:defRPr>
            </a:lvl1pPr>
          </a:lstStyle>
          <a:p>
            <a:r>
              <a:rPr lang="en-US"/>
              <a:t>Sep 23</a:t>
            </a:r>
          </a:p>
        </p:txBody>
      </p:sp>
      <p:sp>
        <p:nvSpPr>
          <p:cNvPr id="12" name="Slide Number">
            <a:extLst>
              <a:ext uri="{FF2B5EF4-FFF2-40B4-BE49-F238E27FC236}">
                <a16:creationId xmlns:a16="http://schemas.microsoft.com/office/drawing/2014/main" id="{D73C98D8-5B98-41C4-AEFF-4A77CD067698}"/>
              </a:ext>
            </a:extLst>
          </p:cNvPr>
          <p:cNvSpPr>
            <a:spLocks noGrp="1"/>
          </p:cNvSpPr>
          <p:nvPr>
            <p:ph type="sldNum" sz="quarter" idx="11"/>
          </p:nvPr>
        </p:nvSpPr>
        <p:spPr>
          <a:xfrm>
            <a:off x="9984296" y="6492240"/>
            <a:ext cx="1764792" cy="137160"/>
          </a:xfrm>
        </p:spPr>
        <p:txBody>
          <a:bodyPr/>
          <a:lstStyle>
            <a:lvl1pPr>
              <a:defRPr>
                <a:solidFill>
                  <a:schemeClr val="bg1"/>
                </a:solidFill>
              </a:defRPr>
            </a:lvl1pPr>
          </a:lstStyle>
          <a:p>
            <a:fld id="{7870704B-CE94-48CC-AF30-84932A1262A7}" type="slidenum">
              <a:rPr lang="en-US" smtClean="0"/>
              <a:pPr/>
              <a:t>‹#›</a:t>
            </a:fld>
            <a:endParaRPr lang="en-US"/>
          </a:p>
        </p:txBody>
      </p:sp>
    </p:spTree>
    <p:extLst>
      <p:ext uri="{BB962C8B-B14F-4D97-AF65-F5344CB8AC3E}">
        <p14:creationId xmlns:p14="http://schemas.microsoft.com/office/powerpoint/2010/main" val="12545759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Picture Placeholder 2"/>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4" name="Presentation Footer">
            <a:extLst>
              <a:ext uri="{FF2B5EF4-FFF2-40B4-BE49-F238E27FC236}">
                <a16:creationId xmlns:a16="http://schemas.microsoft.com/office/drawing/2014/main" id="{D7C5ACFB-61B7-4A08-AE8A-3A80BEC2E22A}"/>
              </a:ext>
            </a:extLst>
          </p:cNvPr>
          <p:cNvSpPr>
            <a:spLocks noGrp="1"/>
          </p:cNvSpPr>
          <p:nvPr>
            <p:ph type="ftr" sz="quarter" idx="14"/>
          </p:nvPr>
        </p:nvSpPr>
        <p:spPr>
          <a:xfrm>
            <a:off x="442912" y="6355080"/>
            <a:ext cx="5473701" cy="137160"/>
          </a:xfrm>
        </p:spPr>
        <p:txBody>
          <a:bodyPr/>
          <a:lstStyle/>
          <a:p>
            <a:pPr algn="l"/>
            <a:r>
              <a:rPr lang="en-US"/>
              <a:t>Prefeasibility study for establishment of ICIC under STKEC</a:t>
            </a:r>
          </a:p>
        </p:txBody>
      </p:sp>
      <p:sp>
        <p:nvSpPr>
          <p:cNvPr id="15" name="Date">
            <a:extLst>
              <a:ext uri="{FF2B5EF4-FFF2-40B4-BE49-F238E27FC236}">
                <a16:creationId xmlns:a16="http://schemas.microsoft.com/office/drawing/2014/main" id="{02BAA9CC-763F-4505-97C9-24D4ABD8DD6F}"/>
              </a:ext>
            </a:extLst>
          </p:cNvPr>
          <p:cNvSpPr>
            <a:spLocks noGrp="1"/>
          </p:cNvSpPr>
          <p:nvPr>
            <p:ph type="dt" sz="half" idx="12"/>
          </p:nvPr>
        </p:nvSpPr>
        <p:spPr>
          <a:xfrm>
            <a:off x="9984296" y="6355080"/>
            <a:ext cx="1764792" cy="137160"/>
          </a:xfrm>
        </p:spPr>
        <p:txBody>
          <a:bodyPr/>
          <a:lstStyle>
            <a:lvl1pPr>
              <a:defRPr>
                <a:solidFill>
                  <a:schemeClr val="bg1"/>
                </a:solidFill>
              </a:defRPr>
            </a:lvl1pPr>
          </a:lstStyle>
          <a:p>
            <a:r>
              <a:rPr lang="en-US"/>
              <a:t>Sep 23</a:t>
            </a:r>
          </a:p>
        </p:txBody>
      </p:sp>
      <p:sp>
        <p:nvSpPr>
          <p:cNvPr id="16" name="Slide Number">
            <a:extLst>
              <a:ext uri="{FF2B5EF4-FFF2-40B4-BE49-F238E27FC236}">
                <a16:creationId xmlns:a16="http://schemas.microsoft.com/office/drawing/2014/main" id="{10E761E0-3587-4A31-997F-CE8E3A358C6C}"/>
              </a:ext>
            </a:extLst>
          </p:cNvPr>
          <p:cNvSpPr>
            <a:spLocks noGrp="1"/>
          </p:cNvSpPr>
          <p:nvPr>
            <p:ph type="sldNum" sz="quarter" idx="11"/>
          </p:nvPr>
        </p:nvSpPr>
        <p:spPr>
          <a:xfrm>
            <a:off x="9984296" y="6492240"/>
            <a:ext cx="1764792" cy="137160"/>
          </a:xfrm>
        </p:spPr>
        <p:txBody>
          <a:bodyPr/>
          <a:lstStyle>
            <a:lvl1pPr>
              <a:defRPr>
                <a:solidFill>
                  <a:schemeClr val="bg1"/>
                </a:solidFill>
              </a:defRPr>
            </a:lvl1pPr>
          </a:lstStyle>
          <a:p>
            <a:fld id="{7870704B-CE94-48CC-AF30-84932A1262A7}" type="slidenum">
              <a:rPr lang="en-US" smtClean="0"/>
              <a:pPr/>
              <a:t>‹#›</a:t>
            </a:fld>
            <a:endParaRPr lang="en-US"/>
          </a:p>
        </p:txBody>
      </p:sp>
    </p:spTree>
    <p:extLst>
      <p:ext uri="{BB962C8B-B14F-4D97-AF65-F5344CB8AC3E}">
        <p14:creationId xmlns:p14="http://schemas.microsoft.com/office/powerpoint/2010/main" val="2233387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4"/>
          <p:cNvSpPr>
            <a:spLocks noGrp="1"/>
          </p:cNvSpPr>
          <p:nvPr>
            <p:ph sz="half" idx="13"/>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Presentation Footer">
            <a:extLst>
              <a:ext uri="{FF2B5EF4-FFF2-40B4-BE49-F238E27FC236}">
                <a16:creationId xmlns:a16="http://schemas.microsoft.com/office/drawing/2014/main" id="{6C53AB53-6653-42B1-B9D6-EB2EFF4B49D5}"/>
              </a:ext>
            </a:extLst>
          </p:cNvPr>
          <p:cNvSpPr>
            <a:spLocks noGrp="1"/>
          </p:cNvSpPr>
          <p:nvPr>
            <p:ph type="ftr" sz="quarter" idx="14"/>
          </p:nvPr>
        </p:nvSpPr>
        <p:spPr>
          <a:xfrm>
            <a:off x="442912" y="6355080"/>
            <a:ext cx="5473701" cy="137160"/>
          </a:xfrm>
        </p:spPr>
        <p:txBody>
          <a:bodyPr/>
          <a:lstStyle/>
          <a:p>
            <a:pPr algn="l"/>
            <a:r>
              <a:rPr lang="en-US"/>
              <a:t>Prefeasibility study for establishment of ICIC under STKEC</a:t>
            </a:r>
          </a:p>
        </p:txBody>
      </p:sp>
      <p:sp>
        <p:nvSpPr>
          <p:cNvPr id="14" name="Date">
            <a:extLst>
              <a:ext uri="{FF2B5EF4-FFF2-40B4-BE49-F238E27FC236}">
                <a16:creationId xmlns:a16="http://schemas.microsoft.com/office/drawing/2014/main" id="{76E638A8-EB6B-4563-B520-8A8A6A3E6642}"/>
              </a:ext>
            </a:extLst>
          </p:cNvPr>
          <p:cNvSpPr>
            <a:spLocks noGrp="1"/>
          </p:cNvSpPr>
          <p:nvPr>
            <p:ph type="dt" sz="half" idx="12"/>
          </p:nvPr>
        </p:nvSpPr>
        <p:spPr>
          <a:xfrm>
            <a:off x="9984296" y="6355080"/>
            <a:ext cx="1764792" cy="137160"/>
          </a:xfrm>
        </p:spPr>
        <p:txBody>
          <a:bodyPr/>
          <a:lstStyle/>
          <a:p>
            <a:r>
              <a:rPr lang="en-US"/>
              <a:t>Sep 23</a:t>
            </a:r>
          </a:p>
        </p:txBody>
      </p:sp>
      <p:sp>
        <p:nvSpPr>
          <p:cNvPr id="15" name="Slide Number">
            <a:extLst>
              <a:ext uri="{FF2B5EF4-FFF2-40B4-BE49-F238E27FC236}">
                <a16:creationId xmlns:a16="http://schemas.microsoft.com/office/drawing/2014/main" id="{6013A4E0-8BC8-43BD-AE29-7D448DF33DB5}"/>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41235184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R: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10906298"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6"/>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7"/>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2" name="Section Header">
            <a:extLst>
              <a:ext uri="{FF2B5EF4-FFF2-40B4-BE49-F238E27FC236}">
                <a16:creationId xmlns:a16="http://schemas.microsoft.com/office/drawing/2014/main" id="{42230C15-E0EF-475B-8C56-8180ED2FC022}"/>
              </a:ext>
            </a:extLst>
          </p:cNvPr>
          <p:cNvSpPr txBox="1"/>
          <p:nvPr>
            <p:custDataLst>
              <p:tags r:id="rId8"/>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39" name="Report Date">
            <a:extLst>
              <a:ext uri="{FF2B5EF4-FFF2-40B4-BE49-F238E27FC236}">
                <a16:creationId xmlns:a16="http://schemas.microsoft.com/office/drawing/2014/main" id="{B66C8374-F5C4-4996-A017-C80027E874A2}"/>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40" name="Page Number">
            <a:extLst>
              <a:ext uri="{FF2B5EF4-FFF2-40B4-BE49-F238E27FC236}">
                <a16:creationId xmlns:a16="http://schemas.microsoft.com/office/drawing/2014/main" id="{00FF76E0-A4C6-4C27-96DB-D6E6C03A892A}"/>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1" name="Presentation Disclaimer">
            <a:extLst>
              <a:ext uri="{FF2B5EF4-FFF2-40B4-BE49-F238E27FC236}">
                <a16:creationId xmlns:a16="http://schemas.microsoft.com/office/drawing/2014/main" id="{08D357CF-2BDC-45D2-B8A1-33CD43A8FB0F}"/>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43" name="Section Footer">
            <a:extLst>
              <a:ext uri="{FF2B5EF4-FFF2-40B4-BE49-F238E27FC236}">
                <a16:creationId xmlns:a16="http://schemas.microsoft.com/office/drawing/2014/main" id="{98D7C6BC-F4A4-4F9C-A8BF-E320D746F028}"/>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44" name="TextBox 43">
            <a:extLst>
              <a:ext uri="{FF2B5EF4-FFF2-40B4-BE49-F238E27FC236}">
                <a16:creationId xmlns:a16="http://schemas.microsoft.com/office/drawing/2014/main" id="{F93993BF-D529-458F-A6DB-FF58DC66AF25}"/>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46" name="Straight Connector 45">
            <a:extLst>
              <a:ext uri="{FF2B5EF4-FFF2-40B4-BE49-F238E27FC236}">
                <a16:creationId xmlns:a16="http://schemas.microsoft.com/office/drawing/2014/main" id="{A69A4775-51B2-49AF-BE77-A2DD117CCF43}"/>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17968DA8-EB16-47EE-839F-ED9A501B8C22}"/>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42162306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4"/>
          <p:cNvSpPr>
            <a:spLocks noGrp="1"/>
          </p:cNvSpPr>
          <p:nvPr>
            <p:ph sz="half" idx="13"/>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resentation Footer">
            <a:extLst>
              <a:ext uri="{FF2B5EF4-FFF2-40B4-BE49-F238E27FC236}">
                <a16:creationId xmlns:a16="http://schemas.microsoft.com/office/drawing/2014/main" id="{255A06FB-EE8B-4642-9C1A-40B8F0083D8E}"/>
              </a:ext>
            </a:extLst>
          </p:cNvPr>
          <p:cNvSpPr>
            <a:spLocks noGrp="1"/>
          </p:cNvSpPr>
          <p:nvPr>
            <p:ph type="ftr" sz="quarter" idx="17"/>
          </p:nvPr>
        </p:nvSpPr>
        <p:spPr>
          <a:xfrm>
            <a:off x="442912" y="6355080"/>
            <a:ext cx="5473701" cy="137160"/>
          </a:xfrm>
        </p:spPr>
        <p:txBody>
          <a:bodyPr/>
          <a:lstStyle/>
          <a:p>
            <a:pPr algn="l"/>
            <a:r>
              <a:rPr lang="en-US"/>
              <a:t>Prefeasibility study for establishment of ICIC under STKEC</a:t>
            </a:r>
          </a:p>
        </p:txBody>
      </p:sp>
      <p:sp>
        <p:nvSpPr>
          <p:cNvPr id="16" name="Date">
            <a:extLst>
              <a:ext uri="{FF2B5EF4-FFF2-40B4-BE49-F238E27FC236}">
                <a16:creationId xmlns:a16="http://schemas.microsoft.com/office/drawing/2014/main" id="{CB39C188-B397-483D-80EC-B5D9D1384E65}"/>
              </a:ext>
            </a:extLst>
          </p:cNvPr>
          <p:cNvSpPr>
            <a:spLocks noGrp="1"/>
          </p:cNvSpPr>
          <p:nvPr>
            <p:ph type="dt" sz="half" idx="12"/>
          </p:nvPr>
        </p:nvSpPr>
        <p:spPr>
          <a:xfrm>
            <a:off x="9984296" y="6355080"/>
            <a:ext cx="1764792" cy="137160"/>
          </a:xfrm>
        </p:spPr>
        <p:txBody>
          <a:bodyPr/>
          <a:lstStyle/>
          <a:p>
            <a:r>
              <a:rPr lang="en-US"/>
              <a:t>Sep 23</a:t>
            </a:r>
          </a:p>
        </p:txBody>
      </p:sp>
      <p:sp>
        <p:nvSpPr>
          <p:cNvPr id="17" name="Slide Number">
            <a:extLst>
              <a:ext uri="{FF2B5EF4-FFF2-40B4-BE49-F238E27FC236}">
                <a16:creationId xmlns:a16="http://schemas.microsoft.com/office/drawing/2014/main" id="{5CA8159A-8660-4BB5-BFF5-FCB30C41DAD6}"/>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41806910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resentation Footer">
            <a:extLst>
              <a:ext uri="{FF2B5EF4-FFF2-40B4-BE49-F238E27FC236}">
                <a16:creationId xmlns:a16="http://schemas.microsoft.com/office/drawing/2014/main" id="{EC1E7080-72F9-4244-AFA9-CEE3373F1B7F}"/>
              </a:ext>
            </a:extLst>
          </p:cNvPr>
          <p:cNvSpPr>
            <a:spLocks noGrp="1"/>
          </p:cNvSpPr>
          <p:nvPr>
            <p:ph type="ftr" sz="quarter" idx="15"/>
          </p:nvPr>
        </p:nvSpPr>
        <p:spPr>
          <a:xfrm>
            <a:off x="442912" y="6355080"/>
            <a:ext cx="5473701" cy="137160"/>
          </a:xfrm>
        </p:spPr>
        <p:txBody>
          <a:bodyPr/>
          <a:lstStyle/>
          <a:p>
            <a:pPr algn="l"/>
            <a:r>
              <a:rPr lang="en-US"/>
              <a:t>Prefeasibility study for establishment of ICIC under STKEC</a:t>
            </a:r>
          </a:p>
        </p:txBody>
      </p:sp>
      <p:sp>
        <p:nvSpPr>
          <p:cNvPr id="15" name="Date">
            <a:extLst>
              <a:ext uri="{FF2B5EF4-FFF2-40B4-BE49-F238E27FC236}">
                <a16:creationId xmlns:a16="http://schemas.microsoft.com/office/drawing/2014/main" id="{9C15D536-803A-4FDA-96C2-0DD6A243A97F}"/>
              </a:ext>
            </a:extLst>
          </p:cNvPr>
          <p:cNvSpPr>
            <a:spLocks noGrp="1"/>
          </p:cNvSpPr>
          <p:nvPr>
            <p:ph type="dt" sz="half" idx="12"/>
          </p:nvPr>
        </p:nvSpPr>
        <p:spPr>
          <a:xfrm>
            <a:off x="9984296" y="6355080"/>
            <a:ext cx="1764792" cy="137160"/>
          </a:xfrm>
        </p:spPr>
        <p:txBody>
          <a:bodyPr/>
          <a:lstStyle/>
          <a:p>
            <a:r>
              <a:rPr lang="en-US"/>
              <a:t>Sep 23</a:t>
            </a:r>
          </a:p>
        </p:txBody>
      </p:sp>
      <p:sp>
        <p:nvSpPr>
          <p:cNvPr id="16" name="Slide Number">
            <a:extLst>
              <a:ext uri="{FF2B5EF4-FFF2-40B4-BE49-F238E27FC236}">
                <a16:creationId xmlns:a16="http://schemas.microsoft.com/office/drawing/2014/main" id="{766AC7EC-26A9-4359-B160-8DCDEB14FC5C}"/>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40098953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p:cNvSpPr>
            <a:spLocks noGrp="1"/>
          </p:cNvSpPr>
          <p:nvPr>
            <p:ph sz="half" idx="2"/>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Content Placeholder 4"/>
          <p:cNvSpPr>
            <a:spLocks noGrp="1"/>
          </p:cNvSpPr>
          <p:nvPr>
            <p:ph sz="half" idx="13"/>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5"/>
          <p:cNvSpPr>
            <a:spLocks noGrp="1"/>
          </p:cNvSpPr>
          <p:nvPr>
            <p:ph sz="half" idx="14"/>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Presentation Footer">
            <a:extLst>
              <a:ext uri="{FF2B5EF4-FFF2-40B4-BE49-F238E27FC236}">
                <a16:creationId xmlns:a16="http://schemas.microsoft.com/office/drawing/2014/main" id="{7A38251C-F0F6-4C4E-90EA-046EBE3900D2}"/>
              </a:ext>
            </a:extLst>
          </p:cNvPr>
          <p:cNvSpPr>
            <a:spLocks noGrp="1"/>
          </p:cNvSpPr>
          <p:nvPr>
            <p:ph type="ftr" sz="quarter" idx="17"/>
          </p:nvPr>
        </p:nvSpPr>
        <p:spPr>
          <a:xfrm>
            <a:off x="442912" y="6355080"/>
            <a:ext cx="5473701" cy="137160"/>
          </a:xfrm>
        </p:spPr>
        <p:txBody>
          <a:bodyPr/>
          <a:lstStyle/>
          <a:p>
            <a:pPr algn="l"/>
            <a:r>
              <a:rPr lang="en-US"/>
              <a:t>Prefeasibility study for establishment of ICIC under STKEC</a:t>
            </a:r>
          </a:p>
        </p:txBody>
      </p:sp>
      <p:sp>
        <p:nvSpPr>
          <p:cNvPr id="16" name="Date">
            <a:extLst>
              <a:ext uri="{FF2B5EF4-FFF2-40B4-BE49-F238E27FC236}">
                <a16:creationId xmlns:a16="http://schemas.microsoft.com/office/drawing/2014/main" id="{D1CEFF90-96A0-43B5-A905-C1B1E995A889}"/>
              </a:ext>
            </a:extLst>
          </p:cNvPr>
          <p:cNvSpPr>
            <a:spLocks noGrp="1"/>
          </p:cNvSpPr>
          <p:nvPr>
            <p:ph type="dt" sz="half" idx="12"/>
          </p:nvPr>
        </p:nvSpPr>
        <p:spPr>
          <a:xfrm>
            <a:off x="9984296" y="6355080"/>
            <a:ext cx="1764792" cy="137160"/>
          </a:xfrm>
        </p:spPr>
        <p:txBody>
          <a:bodyPr/>
          <a:lstStyle/>
          <a:p>
            <a:r>
              <a:rPr lang="en-US"/>
              <a:t>Sep 23</a:t>
            </a:r>
          </a:p>
        </p:txBody>
      </p:sp>
      <p:sp>
        <p:nvSpPr>
          <p:cNvPr id="17" name="Slide Number">
            <a:extLst>
              <a:ext uri="{FF2B5EF4-FFF2-40B4-BE49-F238E27FC236}">
                <a16:creationId xmlns:a16="http://schemas.microsoft.com/office/drawing/2014/main" id="{9026E04C-2403-4D04-9506-C1AEDD8BEC5B}"/>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4682086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6"/>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resentation Footer">
            <a:extLst>
              <a:ext uri="{FF2B5EF4-FFF2-40B4-BE49-F238E27FC236}">
                <a16:creationId xmlns:a16="http://schemas.microsoft.com/office/drawing/2014/main" id="{2361EBB0-BC2B-4110-AFF0-9612E9BCBE69}"/>
              </a:ext>
            </a:extLst>
          </p:cNvPr>
          <p:cNvSpPr>
            <a:spLocks noGrp="1"/>
          </p:cNvSpPr>
          <p:nvPr>
            <p:ph type="ftr" sz="quarter" idx="16"/>
          </p:nvPr>
        </p:nvSpPr>
        <p:spPr>
          <a:xfrm>
            <a:off x="442912" y="6355080"/>
            <a:ext cx="5473701" cy="137160"/>
          </a:xfrm>
        </p:spPr>
        <p:txBody>
          <a:bodyPr/>
          <a:lstStyle/>
          <a:p>
            <a:pPr algn="l"/>
            <a:r>
              <a:rPr lang="en-US"/>
              <a:t>Prefeasibility study for establishment of ICIC under STKEC</a:t>
            </a:r>
          </a:p>
        </p:txBody>
      </p:sp>
      <p:sp>
        <p:nvSpPr>
          <p:cNvPr id="16" name="Date">
            <a:extLst>
              <a:ext uri="{FF2B5EF4-FFF2-40B4-BE49-F238E27FC236}">
                <a16:creationId xmlns:a16="http://schemas.microsoft.com/office/drawing/2014/main" id="{B2E9937C-7E30-4F8A-B2DC-3CABA59F5C8F}"/>
              </a:ext>
            </a:extLst>
          </p:cNvPr>
          <p:cNvSpPr>
            <a:spLocks noGrp="1"/>
          </p:cNvSpPr>
          <p:nvPr>
            <p:ph type="dt" sz="half" idx="12"/>
          </p:nvPr>
        </p:nvSpPr>
        <p:spPr>
          <a:xfrm>
            <a:off x="9984296" y="6355080"/>
            <a:ext cx="1764792" cy="137160"/>
          </a:xfrm>
        </p:spPr>
        <p:txBody>
          <a:bodyPr/>
          <a:lstStyle/>
          <a:p>
            <a:r>
              <a:rPr lang="en-US"/>
              <a:t>Sep 23</a:t>
            </a:r>
          </a:p>
        </p:txBody>
      </p:sp>
      <p:sp>
        <p:nvSpPr>
          <p:cNvPr id="17" name="Slide Number">
            <a:extLst>
              <a:ext uri="{FF2B5EF4-FFF2-40B4-BE49-F238E27FC236}">
                <a16:creationId xmlns:a16="http://schemas.microsoft.com/office/drawing/2014/main" id="{5289CCE2-B31E-4A52-83B1-71AE544EE294}"/>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265682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6"/>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Presentation Footer">
            <a:extLst>
              <a:ext uri="{FF2B5EF4-FFF2-40B4-BE49-F238E27FC236}">
                <a16:creationId xmlns:a16="http://schemas.microsoft.com/office/drawing/2014/main" id="{EBE12295-1610-4511-8950-3D9E038E4C95}"/>
              </a:ext>
            </a:extLst>
          </p:cNvPr>
          <p:cNvSpPr>
            <a:spLocks noGrp="1"/>
          </p:cNvSpPr>
          <p:nvPr>
            <p:ph type="ftr" sz="quarter" idx="17"/>
          </p:nvPr>
        </p:nvSpPr>
        <p:spPr>
          <a:xfrm>
            <a:off x="442912" y="6355080"/>
            <a:ext cx="5473701" cy="137160"/>
          </a:xfrm>
        </p:spPr>
        <p:txBody>
          <a:bodyPr/>
          <a:lstStyle/>
          <a:p>
            <a:pPr algn="l"/>
            <a:r>
              <a:rPr lang="en-US"/>
              <a:t>Prefeasibility study for establishment of ICIC under STKEC</a:t>
            </a:r>
          </a:p>
        </p:txBody>
      </p:sp>
      <p:sp>
        <p:nvSpPr>
          <p:cNvPr id="17" name="Date">
            <a:extLst>
              <a:ext uri="{FF2B5EF4-FFF2-40B4-BE49-F238E27FC236}">
                <a16:creationId xmlns:a16="http://schemas.microsoft.com/office/drawing/2014/main" id="{6226A18B-2E48-47C8-8231-AE2C5DF4E67A}"/>
              </a:ext>
            </a:extLst>
          </p:cNvPr>
          <p:cNvSpPr>
            <a:spLocks noGrp="1"/>
          </p:cNvSpPr>
          <p:nvPr>
            <p:ph type="dt" sz="half" idx="12"/>
          </p:nvPr>
        </p:nvSpPr>
        <p:spPr>
          <a:xfrm>
            <a:off x="9984296" y="6355080"/>
            <a:ext cx="1764792" cy="137160"/>
          </a:xfrm>
        </p:spPr>
        <p:txBody>
          <a:bodyPr/>
          <a:lstStyle/>
          <a:p>
            <a:r>
              <a:rPr lang="en-US"/>
              <a:t>Sep 23</a:t>
            </a:r>
          </a:p>
        </p:txBody>
      </p:sp>
      <p:sp>
        <p:nvSpPr>
          <p:cNvPr id="18" name="Slide Number">
            <a:extLst>
              <a:ext uri="{FF2B5EF4-FFF2-40B4-BE49-F238E27FC236}">
                <a16:creationId xmlns:a16="http://schemas.microsoft.com/office/drawing/2014/main" id="{9652FBC2-942D-468E-8FFB-4961241D592A}"/>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10056927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7" name="Content Placeholder 2">
            <a:extLst>
              <a:ext uri="{FF2B5EF4-FFF2-40B4-BE49-F238E27FC236}">
                <a16:creationId xmlns:a16="http://schemas.microsoft.com/office/drawing/2014/main" id="{CF36C29E-E542-4CF8-8350-7B2993AB9F11}"/>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3" name="Content Placeholder 3">
            <a:extLst>
              <a:ext uri="{FF2B5EF4-FFF2-40B4-BE49-F238E27FC236}">
                <a16:creationId xmlns:a16="http://schemas.microsoft.com/office/drawing/2014/main" id="{5E49564D-E876-4F96-AA36-94443DF6A6B4}"/>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4" name="Content Placeholder 4">
            <a:extLst>
              <a:ext uri="{FF2B5EF4-FFF2-40B4-BE49-F238E27FC236}">
                <a16:creationId xmlns:a16="http://schemas.microsoft.com/office/drawing/2014/main" id="{D1C35B22-67CB-4342-8F23-814ABE95E981}"/>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0" name="Presentation Footer">
            <a:extLst>
              <a:ext uri="{FF2B5EF4-FFF2-40B4-BE49-F238E27FC236}">
                <a16:creationId xmlns:a16="http://schemas.microsoft.com/office/drawing/2014/main" id="{143150FA-7ADA-4D3B-8D83-185C5B9627F8}"/>
              </a:ext>
            </a:extLst>
          </p:cNvPr>
          <p:cNvSpPr>
            <a:spLocks noGrp="1"/>
          </p:cNvSpPr>
          <p:nvPr>
            <p:ph type="ftr" sz="quarter" idx="19"/>
          </p:nvPr>
        </p:nvSpPr>
        <p:spPr>
          <a:xfrm>
            <a:off x="442912" y="6355080"/>
            <a:ext cx="5473701" cy="137160"/>
          </a:xfrm>
        </p:spPr>
        <p:txBody>
          <a:bodyPr/>
          <a:lstStyle/>
          <a:p>
            <a:pPr algn="l"/>
            <a:r>
              <a:rPr lang="en-US"/>
              <a:t>Prefeasibility study for establishment of ICIC under STKEC</a:t>
            </a:r>
          </a:p>
        </p:txBody>
      </p:sp>
      <p:sp>
        <p:nvSpPr>
          <p:cNvPr id="21" name="Date">
            <a:extLst>
              <a:ext uri="{FF2B5EF4-FFF2-40B4-BE49-F238E27FC236}">
                <a16:creationId xmlns:a16="http://schemas.microsoft.com/office/drawing/2014/main" id="{654B51D6-1525-4D38-B225-69AC562201DD}"/>
              </a:ext>
            </a:extLst>
          </p:cNvPr>
          <p:cNvSpPr>
            <a:spLocks noGrp="1"/>
          </p:cNvSpPr>
          <p:nvPr>
            <p:ph type="dt" sz="half" idx="12"/>
          </p:nvPr>
        </p:nvSpPr>
        <p:spPr>
          <a:xfrm>
            <a:off x="9984296" y="6355080"/>
            <a:ext cx="1764792" cy="137160"/>
          </a:xfrm>
        </p:spPr>
        <p:txBody>
          <a:bodyPr/>
          <a:lstStyle/>
          <a:p>
            <a:r>
              <a:rPr lang="en-US"/>
              <a:t>Sep 23</a:t>
            </a:r>
          </a:p>
        </p:txBody>
      </p:sp>
      <p:sp>
        <p:nvSpPr>
          <p:cNvPr id="22" name="Slide Number">
            <a:extLst>
              <a:ext uri="{FF2B5EF4-FFF2-40B4-BE49-F238E27FC236}">
                <a16:creationId xmlns:a16="http://schemas.microsoft.com/office/drawing/2014/main" id="{9CE3AF0A-026B-4716-8B65-D5F631540C49}"/>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18005315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6" name="Picture Placeholder 3"/>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8" name="Picture Placeholder 4"/>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25" name="Content Placeholder 2">
            <a:extLst>
              <a:ext uri="{FF2B5EF4-FFF2-40B4-BE49-F238E27FC236}">
                <a16:creationId xmlns:a16="http://schemas.microsoft.com/office/drawing/2014/main" id="{DF41A2FF-FB3D-4971-8B6D-3BD731DE5053}"/>
              </a:ext>
            </a:extLst>
          </p:cNvPr>
          <p:cNvSpPr>
            <a:spLocks noGrp="1"/>
          </p:cNvSpPr>
          <p:nvPr>
            <p:ph sz="quarter" idx="20"/>
          </p:nvPr>
        </p:nvSpPr>
        <p:spPr>
          <a:xfrm>
            <a:off x="442913"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6" name="Content Placeholder 3">
            <a:extLst>
              <a:ext uri="{FF2B5EF4-FFF2-40B4-BE49-F238E27FC236}">
                <a16:creationId xmlns:a16="http://schemas.microsoft.com/office/drawing/2014/main" id="{7662A741-222C-4F6F-9366-53AED64CAC17}"/>
              </a:ext>
            </a:extLst>
          </p:cNvPr>
          <p:cNvSpPr>
            <a:spLocks noGrp="1"/>
          </p:cNvSpPr>
          <p:nvPr>
            <p:ph sz="quarter" idx="21"/>
          </p:nvPr>
        </p:nvSpPr>
        <p:spPr>
          <a:xfrm>
            <a:off x="4331495"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7" name="Content Placeholder 4">
            <a:extLst>
              <a:ext uri="{FF2B5EF4-FFF2-40B4-BE49-F238E27FC236}">
                <a16:creationId xmlns:a16="http://schemas.microsoft.com/office/drawing/2014/main" id="{2C7502DD-886C-4B7F-ACDF-7765ADE3972C}"/>
              </a:ext>
            </a:extLst>
          </p:cNvPr>
          <p:cNvSpPr>
            <a:spLocks noGrp="1"/>
          </p:cNvSpPr>
          <p:nvPr>
            <p:ph sz="quarter" idx="22"/>
          </p:nvPr>
        </p:nvSpPr>
        <p:spPr>
          <a:xfrm>
            <a:off x="8220076" y="5280025"/>
            <a:ext cx="3529012" cy="892175"/>
          </a:xfrm>
        </p:spPr>
        <p:txBody>
          <a:bodyPr/>
          <a:lstStyle>
            <a:lvl1pPr>
              <a:defRPr sz="1200"/>
            </a:lvl1pPr>
            <a:lvl2pPr>
              <a:defRPr sz="1600"/>
            </a:lvl2pPr>
            <a:lvl3pPr marL="0" indent="0">
              <a:buNone/>
              <a:defRPr/>
            </a:lvl3pPr>
          </a:lstStyle>
          <a:p>
            <a:pPr lvl="0"/>
            <a:r>
              <a:rPr lang="en-US"/>
              <a:t>Click to edit Master text styles</a:t>
            </a:r>
          </a:p>
          <a:p>
            <a:pPr lvl="1"/>
            <a:r>
              <a:rPr lang="en-US"/>
              <a:t>Second level</a:t>
            </a:r>
          </a:p>
        </p:txBody>
      </p:sp>
      <p:sp>
        <p:nvSpPr>
          <p:cNvPr id="22" name="Presentation Footer">
            <a:extLst>
              <a:ext uri="{FF2B5EF4-FFF2-40B4-BE49-F238E27FC236}">
                <a16:creationId xmlns:a16="http://schemas.microsoft.com/office/drawing/2014/main" id="{E528D06F-5262-4849-B168-CAB133AE792E}"/>
              </a:ext>
            </a:extLst>
          </p:cNvPr>
          <p:cNvSpPr>
            <a:spLocks noGrp="1"/>
          </p:cNvSpPr>
          <p:nvPr>
            <p:ph type="ftr" sz="quarter" idx="25"/>
          </p:nvPr>
        </p:nvSpPr>
        <p:spPr>
          <a:xfrm>
            <a:off x="442912" y="6355080"/>
            <a:ext cx="5473701" cy="137160"/>
          </a:xfrm>
        </p:spPr>
        <p:txBody>
          <a:bodyPr/>
          <a:lstStyle/>
          <a:p>
            <a:pPr algn="l"/>
            <a:r>
              <a:rPr lang="en-US"/>
              <a:t>Prefeasibility study for establishment of ICIC under STKEC</a:t>
            </a:r>
          </a:p>
        </p:txBody>
      </p:sp>
      <p:sp>
        <p:nvSpPr>
          <p:cNvPr id="23" name="Date">
            <a:extLst>
              <a:ext uri="{FF2B5EF4-FFF2-40B4-BE49-F238E27FC236}">
                <a16:creationId xmlns:a16="http://schemas.microsoft.com/office/drawing/2014/main" id="{8844EFB6-E1C5-4C39-8ECF-FB91260B5DAB}"/>
              </a:ext>
            </a:extLst>
          </p:cNvPr>
          <p:cNvSpPr>
            <a:spLocks noGrp="1"/>
          </p:cNvSpPr>
          <p:nvPr>
            <p:ph type="dt" sz="half" idx="12"/>
          </p:nvPr>
        </p:nvSpPr>
        <p:spPr>
          <a:xfrm>
            <a:off x="9984296" y="6355080"/>
            <a:ext cx="1764792" cy="137160"/>
          </a:xfrm>
        </p:spPr>
        <p:txBody>
          <a:bodyPr/>
          <a:lstStyle/>
          <a:p>
            <a:r>
              <a:rPr lang="en-US"/>
              <a:t>Sep 23</a:t>
            </a:r>
          </a:p>
        </p:txBody>
      </p:sp>
      <p:sp>
        <p:nvSpPr>
          <p:cNvPr id="24" name="Slide Number">
            <a:extLst>
              <a:ext uri="{FF2B5EF4-FFF2-40B4-BE49-F238E27FC236}">
                <a16:creationId xmlns:a16="http://schemas.microsoft.com/office/drawing/2014/main" id="{238FF94D-6991-41E6-8DF6-656C300803A7}"/>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10902351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20" name="Content Placeholder 2">
            <a:extLst>
              <a:ext uri="{FF2B5EF4-FFF2-40B4-BE49-F238E27FC236}">
                <a16:creationId xmlns:a16="http://schemas.microsoft.com/office/drawing/2014/main" id="{5647D158-444C-4C82-ACB0-9AB0A3521F0D}"/>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Content Placeholder 3">
            <a:extLst>
              <a:ext uri="{FF2B5EF4-FFF2-40B4-BE49-F238E27FC236}">
                <a16:creationId xmlns:a16="http://schemas.microsoft.com/office/drawing/2014/main" id="{09E9185D-B5E2-42D8-B0BB-64A240642503}"/>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Content Placeholder 4">
            <a:extLst>
              <a:ext uri="{FF2B5EF4-FFF2-40B4-BE49-F238E27FC236}">
                <a16:creationId xmlns:a16="http://schemas.microsoft.com/office/drawing/2014/main" id="{4EDDB54A-2316-4869-8165-5986C6003418}"/>
              </a:ext>
            </a:extLst>
          </p:cNvPr>
          <p:cNvSpPr>
            <a:spLocks noGrp="1"/>
          </p:cNvSpPr>
          <p:nvPr>
            <p:ph sz="quarter" idx="23"/>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3" name="Content Placeholder 5">
            <a:extLst>
              <a:ext uri="{FF2B5EF4-FFF2-40B4-BE49-F238E27FC236}">
                <a16:creationId xmlns:a16="http://schemas.microsoft.com/office/drawing/2014/main" id="{C944BFAA-989E-4744-AC4B-DF3B93FF7EF7}"/>
              </a:ext>
            </a:extLst>
          </p:cNvPr>
          <p:cNvSpPr>
            <a:spLocks noGrp="1"/>
          </p:cNvSpPr>
          <p:nvPr>
            <p:ph sz="quarter" idx="24"/>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resentation Footer">
            <a:extLst>
              <a:ext uri="{FF2B5EF4-FFF2-40B4-BE49-F238E27FC236}">
                <a16:creationId xmlns:a16="http://schemas.microsoft.com/office/drawing/2014/main" id="{B9DDE53E-9EDD-4F33-A597-8A2E4C6CBC9C}"/>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16" name="Date">
            <a:extLst>
              <a:ext uri="{FF2B5EF4-FFF2-40B4-BE49-F238E27FC236}">
                <a16:creationId xmlns:a16="http://schemas.microsoft.com/office/drawing/2014/main" id="{1C6AF745-C28E-4CFB-995D-464989BC2E66}"/>
              </a:ext>
            </a:extLst>
          </p:cNvPr>
          <p:cNvSpPr>
            <a:spLocks noGrp="1"/>
          </p:cNvSpPr>
          <p:nvPr>
            <p:ph type="dt" sz="half" idx="12"/>
          </p:nvPr>
        </p:nvSpPr>
        <p:spPr>
          <a:xfrm>
            <a:off x="9984296" y="6355080"/>
            <a:ext cx="1764792" cy="137160"/>
          </a:xfrm>
        </p:spPr>
        <p:txBody>
          <a:bodyPr/>
          <a:lstStyle/>
          <a:p>
            <a:r>
              <a:rPr lang="en-US"/>
              <a:t>Sep 23</a:t>
            </a:r>
          </a:p>
        </p:txBody>
      </p:sp>
      <p:sp>
        <p:nvSpPr>
          <p:cNvPr id="18" name="Slide Number">
            <a:extLst>
              <a:ext uri="{FF2B5EF4-FFF2-40B4-BE49-F238E27FC236}">
                <a16:creationId xmlns:a16="http://schemas.microsoft.com/office/drawing/2014/main" id="{E93105BA-6858-4899-BF66-66DC46BAE1D7}"/>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17315972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2" name="Content Placeholder 2">
            <a:extLst>
              <a:ext uri="{FF2B5EF4-FFF2-40B4-BE49-F238E27FC236}">
                <a16:creationId xmlns:a16="http://schemas.microsoft.com/office/drawing/2014/main" id="{14F44128-4414-43CF-8270-05DD5E559019}"/>
              </a:ext>
            </a:extLst>
          </p:cNvPr>
          <p:cNvSpPr>
            <a:spLocks noGrp="1"/>
          </p:cNvSpPr>
          <p:nvPr>
            <p:ph sz="quarter" idx="21"/>
          </p:nvPr>
        </p:nvSpPr>
        <p:spPr>
          <a:xfrm>
            <a:off x="44723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3" name="Content Placeholder 3">
            <a:extLst>
              <a:ext uri="{FF2B5EF4-FFF2-40B4-BE49-F238E27FC236}">
                <a16:creationId xmlns:a16="http://schemas.microsoft.com/office/drawing/2014/main" id="{5550B7EC-9A89-4137-AC2C-8E055967FFC7}"/>
              </a:ext>
            </a:extLst>
          </p:cNvPr>
          <p:cNvSpPr>
            <a:spLocks noGrp="1"/>
          </p:cNvSpPr>
          <p:nvPr>
            <p:ph sz="quarter" idx="22"/>
          </p:nvPr>
        </p:nvSpPr>
        <p:spPr>
          <a:xfrm>
            <a:off x="335963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4" name="Content Placeholder 4">
            <a:extLst>
              <a:ext uri="{FF2B5EF4-FFF2-40B4-BE49-F238E27FC236}">
                <a16:creationId xmlns:a16="http://schemas.microsoft.com/office/drawing/2014/main" id="{CAE92F97-7ADC-46A9-8EB2-EF00E7B8C3B0}"/>
              </a:ext>
            </a:extLst>
          </p:cNvPr>
          <p:cNvSpPr>
            <a:spLocks noGrp="1"/>
          </p:cNvSpPr>
          <p:nvPr>
            <p:ph sz="quarter" idx="24"/>
          </p:nvPr>
        </p:nvSpPr>
        <p:spPr>
          <a:xfrm>
            <a:off x="6276363"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5" name="Content Placeholder 5">
            <a:extLst>
              <a:ext uri="{FF2B5EF4-FFF2-40B4-BE49-F238E27FC236}">
                <a16:creationId xmlns:a16="http://schemas.microsoft.com/office/drawing/2014/main" id="{F0AE013A-6661-47CF-A7AF-4541D1BE18D6}"/>
              </a:ext>
            </a:extLst>
          </p:cNvPr>
          <p:cNvSpPr>
            <a:spLocks noGrp="1"/>
          </p:cNvSpPr>
          <p:nvPr>
            <p:ph sz="quarter" idx="25"/>
          </p:nvPr>
        </p:nvSpPr>
        <p:spPr>
          <a:xfrm>
            <a:off x="9193088" y="3429000"/>
            <a:ext cx="2560320" cy="2743200"/>
          </a:xfrm>
        </p:spPr>
        <p:txBody>
          <a:bodyPr/>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resentation Footer">
            <a:extLst>
              <a:ext uri="{FF2B5EF4-FFF2-40B4-BE49-F238E27FC236}">
                <a16:creationId xmlns:a16="http://schemas.microsoft.com/office/drawing/2014/main" id="{476632F6-66EA-4654-B66C-2F08C8E1CEB5}"/>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20" name="Date">
            <a:extLst>
              <a:ext uri="{FF2B5EF4-FFF2-40B4-BE49-F238E27FC236}">
                <a16:creationId xmlns:a16="http://schemas.microsoft.com/office/drawing/2014/main" id="{8B148D9B-4228-4F7F-B491-CFE84F85C04A}"/>
              </a:ext>
            </a:extLst>
          </p:cNvPr>
          <p:cNvSpPr>
            <a:spLocks noGrp="1"/>
          </p:cNvSpPr>
          <p:nvPr>
            <p:ph type="dt" sz="half" idx="12"/>
          </p:nvPr>
        </p:nvSpPr>
        <p:spPr>
          <a:xfrm>
            <a:off x="9984296" y="6355080"/>
            <a:ext cx="1764792" cy="137160"/>
          </a:xfrm>
        </p:spPr>
        <p:txBody>
          <a:bodyPr/>
          <a:lstStyle/>
          <a:p>
            <a:r>
              <a:rPr lang="en-US"/>
              <a:t>Sep 23</a:t>
            </a:r>
          </a:p>
        </p:txBody>
      </p:sp>
      <p:sp>
        <p:nvSpPr>
          <p:cNvPr id="21" name="Slide Number">
            <a:extLst>
              <a:ext uri="{FF2B5EF4-FFF2-40B4-BE49-F238E27FC236}">
                <a16:creationId xmlns:a16="http://schemas.microsoft.com/office/drawing/2014/main" id="{309E4F0E-DE98-4D2A-9BFB-DA7217D32733}"/>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40210556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30" name="Content Placeholder 2">
            <a:extLst>
              <a:ext uri="{FF2B5EF4-FFF2-40B4-BE49-F238E27FC236}">
                <a16:creationId xmlns:a16="http://schemas.microsoft.com/office/drawing/2014/main" id="{A7BDE18C-B6F5-4F07-92F2-88EB0F06DA80}"/>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1" name="Content Placeholder 3">
            <a:extLst>
              <a:ext uri="{FF2B5EF4-FFF2-40B4-BE49-F238E27FC236}">
                <a16:creationId xmlns:a16="http://schemas.microsoft.com/office/drawing/2014/main" id="{EAB83E31-ADC6-4472-8BCC-A5123751071B}"/>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2" name="Content Placeholder 4">
            <a:extLst>
              <a:ext uri="{FF2B5EF4-FFF2-40B4-BE49-F238E27FC236}">
                <a16:creationId xmlns:a16="http://schemas.microsoft.com/office/drawing/2014/main" id="{2C9889D5-4B26-4E63-BD3D-E58AF8BFA96E}"/>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3" name="Content Placeholder 5">
            <a:extLst>
              <a:ext uri="{FF2B5EF4-FFF2-40B4-BE49-F238E27FC236}">
                <a16:creationId xmlns:a16="http://schemas.microsoft.com/office/drawing/2014/main" id="{D4154D0B-36B2-465C-8CF8-5F641F04607D}"/>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3" name="Presentation Footer">
            <a:extLst>
              <a:ext uri="{FF2B5EF4-FFF2-40B4-BE49-F238E27FC236}">
                <a16:creationId xmlns:a16="http://schemas.microsoft.com/office/drawing/2014/main" id="{8DCF3834-7D5F-40E8-8AF6-4F88731AE168}"/>
              </a:ext>
            </a:extLst>
          </p:cNvPr>
          <p:cNvSpPr>
            <a:spLocks noGrp="1"/>
          </p:cNvSpPr>
          <p:nvPr>
            <p:ph type="ftr" sz="quarter" idx="21"/>
          </p:nvPr>
        </p:nvSpPr>
        <p:spPr>
          <a:xfrm>
            <a:off x="442912" y="6355080"/>
            <a:ext cx="5473701" cy="137160"/>
          </a:xfrm>
        </p:spPr>
        <p:txBody>
          <a:bodyPr/>
          <a:lstStyle/>
          <a:p>
            <a:pPr algn="l"/>
            <a:r>
              <a:rPr lang="en-US"/>
              <a:t>Prefeasibility study for establishment of ICIC under STKEC</a:t>
            </a:r>
          </a:p>
        </p:txBody>
      </p:sp>
      <p:sp>
        <p:nvSpPr>
          <p:cNvPr id="24" name="Date">
            <a:extLst>
              <a:ext uri="{FF2B5EF4-FFF2-40B4-BE49-F238E27FC236}">
                <a16:creationId xmlns:a16="http://schemas.microsoft.com/office/drawing/2014/main" id="{29A7CEAD-580B-4DE6-A2E0-E3DAE79DE6F0}"/>
              </a:ext>
            </a:extLst>
          </p:cNvPr>
          <p:cNvSpPr>
            <a:spLocks noGrp="1"/>
          </p:cNvSpPr>
          <p:nvPr>
            <p:ph type="dt" sz="half" idx="12"/>
          </p:nvPr>
        </p:nvSpPr>
        <p:spPr>
          <a:xfrm>
            <a:off x="9984296" y="6355080"/>
            <a:ext cx="1764792" cy="137160"/>
          </a:xfrm>
        </p:spPr>
        <p:txBody>
          <a:bodyPr/>
          <a:lstStyle/>
          <a:p>
            <a:r>
              <a:rPr lang="en-US"/>
              <a:t>Sep 23</a:t>
            </a:r>
          </a:p>
        </p:txBody>
      </p:sp>
      <p:sp>
        <p:nvSpPr>
          <p:cNvPr id="25" name="Slide Number">
            <a:extLst>
              <a:ext uri="{FF2B5EF4-FFF2-40B4-BE49-F238E27FC236}">
                <a16:creationId xmlns:a16="http://schemas.microsoft.com/office/drawing/2014/main" id="{9F5E421A-2098-44B9-874B-993CE3B5FAB2}"/>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9978399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ER: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7"/>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8"/>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3" name="Section Header">
            <a:extLst>
              <a:ext uri="{FF2B5EF4-FFF2-40B4-BE49-F238E27FC236}">
                <a16:creationId xmlns:a16="http://schemas.microsoft.com/office/drawing/2014/main" id="{7F444856-1130-46B5-A045-52E1A79FBBD1}"/>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5" name="Report Date">
            <a:extLst>
              <a:ext uri="{FF2B5EF4-FFF2-40B4-BE49-F238E27FC236}">
                <a16:creationId xmlns:a16="http://schemas.microsoft.com/office/drawing/2014/main" id="{B4D96363-5048-42D4-A625-7660951202C5}"/>
              </a:ext>
            </a:extLst>
          </p:cNvPr>
          <p:cNvSpPr txBox="1"/>
          <p:nvPr>
            <p:custDataLst>
              <p:tags r:id="rId10"/>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59EA6C49-2D7E-4FCB-8DA7-C1A79DF7B9BF}"/>
              </a:ext>
            </a:extLst>
          </p:cNvPr>
          <p:cNvSpPr txBox="1"/>
          <p:nvPr>
            <p:custDataLst>
              <p:tags r:id="rId11"/>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2072BD5A-7576-4E0D-976F-209E7B832A29}"/>
              </a:ext>
            </a:extLst>
          </p:cNvPr>
          <p:cNvSpPr txBox="1"/>
          <p:nvPr>
            <p:custDataLst>
              <p:tags r:id="rId12"/>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0698F7A3-ECB8-4459-B242-13A3C3A4C412}"/>
              </a:ext>
            </a:extLst>
          </p:cNvPr>
          <p:cNvSpPr txBox="1"/>
          <p:nvPr>
            <p:custDataLst>
              <p:tags r:id="rId13"/>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A0767C8B-73EA-42B7-9AA5-AE3E0CFA7F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DE701F06-0467-480F-B3C7-DDF18CF6675F}"/>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Draft stamp">
            <a:extLst>
              <a:ext uri="{FF2B5EF4-FFF2-40B4-BE49-F238E27FC236}">
                <a16:creationId xmlns:a16="http://schemas.microsoft.com/office/drawing/2014/main" id="{76E39CD5-987F-43AE-B084-849EE59B5399}"/>
              </a:ext>
            </a:extLst>
          </p:cNvPr>
          <p:cNvSpPr txBox="1"/>
          <p:nvPr>
            <p:custDataLst>
              <p:tags r:id="rId14"/>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3146971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8" name="Picture Placeholder 2">
            <a:extLst>
              <a:ext uri="{FF2B5EF4-FFF2-40B4-BE49-F238E27FC236}">
                <a16:creationId xmlns:a16="http://schemas.microsoft.com/office/drawing/2014/main"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29" name="Picture Placeholder 3">
            <a:extLst>
              <a:ext uri="{FF2B5EF4-FFF2-40B4-BE49-F238E27FC236}">
                <a16:creationId xmlns:a16="http://schemas.microsoft.com/office/drawing/2014/main"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30" name="Picture Placeholder 4">
            <a:extLst>
              <a:ext uri="{FF2B5EF4-FFF2-40B4-BE49-F238E27FC236}">
                <a16:creationId xmlns:a16="http://schemas.microsoft.com/office/drawing/2014/main"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31" name="Picture Placeholder 5">
            <a:extLst>
              <a:ext uri="{FF2B5EF4-FFF2-40B4-BE49-F238E27FC236}">
                <a16:creationId xmlns:a16="http://schemas.microsoft.com/office/drawing/2014/main"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p>
        </p:txBody>
      </p:sp>
      <p:sp>
        <p:nvSpPr>
          <p:cNvPr id="32" name="Content Placeholder 2">
            <a:extLst>
              <a:ext uri="{FF2B5EF4-FFF2-40B4-BE49-F238E27FC236}">
                <a16:creationId xmlns:a16="http://schemas.microsoft.com/office/drawing/2014/main" id="{F75EAC27-A3D9-42D2-B8B6-307439DE0C9C}"/>
              </a:ext>
            </a:extLst>
          </p:cNvPr>
          <p:cNvSpPr>
            <a:spLocks noGrp="1"/>
          </p:cNvSpPr>
          <p:nvPr>
            <p:ph sz="quarter" idx="22"/>
          </p:nvPr>
        </p:nvSpPr>
        <p:spPr>
          <a:xfrm>
            <a:off x="44723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3" name="Content Placeholder 3">
            <a:extLst>
              <a:ext uri="{FF2B5EF4-FFF2-40B4-BE49-F238E27FC236}">
                <a16:creationId xmlns:a16="http://schemas.microsoft.com/office/drawing/2014/main" id="{8B897F92-3121-4E86-B159-DB3A78790D25}"/>
              </a:ext>
            </a:extLst>
          </p:cNvPr>
          <p:cNvSpPr>
            <a:spLocks noGrp="1"/>
          </p:cNvSpPr>
          <p:nvPr>
            <p:ph sz="quarter" idx="23"/>
          </p:nvPr>
        </p:nvSpPr>
        <p:spPr>
          <a:xfrm>
            <a:off x="335963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4" name="Content Placeholder 4">
            <a:extLst>
              <a:ext uri="{FF2B5EF4-FFF2-40B4-BE49-F238E27FC236}">
                <a16:creationId xmlns:a16="http://schemas.microsoft.com/office/drawing/2014/main" id="{91ECA7E9-EB6F-4C5F-9E75-057DD0429E43}"/>
              </a:ext>
            </a:extLst>
          </p:cNvPr>
          <p:cNvSpPr>
            <a:spLocks noGrp="1"/>
          </p:cNvSpPr>
          <p:nvPr>
            <p:ph sz="quarter" idx="24"/>
          </p:nvPr>
        </p:nvSpPr>
        <p:spPr>
          <a:xfrm>
            <a:off x="6276363"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5" name="Content Placeholder 5">
            <a:extLst>
              <a:ext uri="{FF2B5EF4-FFF2-40B4-BE49-F238E27FC236}">
                <a16:creationId xmlns:a16="http://schemas.microsoft.com/office/drawing/2014/main" id="{364D15F8-8EEC-45CD-98E7-4DEE5949D11A}"/>
              </a:ext>
            </a:extLst>
          </p:cNvPr>
          <p:cNvSpPr>
            <a:spLocks noGrp="1"/>
          </p:cNvSpPr>
          <p:nvPr>
            <p:ph sz="quarter" idx="25"/>
          </p:nvPr>
        </p:nvSpPr>
        <p:spPr>
          <a:xfrm>
            <a:off x="9193088" y="3657600"/>
            <a:ext cx="2560320" cy="2514600"/>
          </a:xfrm>
        </p:spPr>
        <p:txBody>
          <a:bodyPr/>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5" name="Presentation Footer">
            <a:extLst>
              <a:ext uri="{FF2B5EF4-FFF2-40B4-BE49-F238E27FC236}">
                <a16:creationId xmlns:a16="http://schemas.microsoft.com/office/drawing/2014/main" id="{292FBB13-99BA-4730-97DD-6B927BAB2B93}"/>
              </a:ext>
            </a:extLst>
          </p:cNvPr>
          <p:cNvSpPr>
            <a:spLocks noGrp="1"/>
          </p:cNvSpPr>
          <p:nvPr>
            <p:ph type="ftr" sz="quarter" idx="27"/>
          </p:nvPr>
        </p:nvSpPr>
        <p:spPr>
          <a:xfrm>
            <a:off x="442912" y="6355080"/>
            <a:ext cx="5473701" cy="137160"/>
          </a:xfrm>
        </p:spPr>
        <p:txBody>
          <a:bodyPr/>
          <a:lstStyle/>
          <a:p>
            <a:pPr algn="l"/>
            <a:r>
              <a:rPr lang="en-US"/>
              <a:t>Prefeasibility study for establishment of ICIC under STKEC</a:t>
            </a:r>
          </a:p>
        </p:txBody>
      </p:sp>
      <p:sp>
        <p:nvSpPr>
          <p:cNvPr id="26" name="Date">
            <a:extLst>
              <a:ext uri="{FF2B5EF4-FFF2-40B4-BE49-F238E27FC236}">
                <a16:creationId xmlns:a16="http://schemas.microsoft.com/office/drawing/2014/main" id="{2CE8D507-C7DC-4A8C-AC5D-5AA897162AEA}"/>
              </a:ext>
            </a:extLst>
          </p:cNvPr>
          <p:cNvSpPr>
            <a:spLocks noGrp="1"/>
          </p:cNvSpPr>
          <p:nvPr>
            <p:ph type="dt" sz="half" idx="12"/>
          </p:nvPr>
        </p:nvSpPr>
        <p:spPr>
          <a:xfrm>
            <a:off x="9984296" y="6355080"/>
            <a:ext cx="1764792" cy="137160"/>
          </a:xfrm>
        </p:spPr>
        <p:txBody>
          <a:bodyPr/>
          <a:lstStyle/>
          <a:p>
            <a:r>
              <a:rPr lang="en-US"/>
              <a:t>Sep 23</a:t>
            </a:r>
          </a:p>
        </p:txBody>
      </p:sp>
      <p:sp>
        <p:nvSpPr>
          <p:cNvPr id="27" name="Slide Number">
            <a:extLst>
              <a:ext uri="{FF2B5EF4-FFF2-40B4-BE49-F238E27FC236}">
                <a16:creationId xmlns:a16="http://schemas.microsoft.com/office/drawing/2014/main" id="{C5452FF6-710C-4162-87A0-D32E3D9ED22F}"/>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4761139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a:lstStyle>
            <a:lvl1pPr>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p>
        </p:txBody>
      </p:sp>
      <p:sp>
        <p:nvSpPr>
          <p:cNvPr id="12" name="Presentation Footer">
            <a:extLst>
              <a:ext uri="{FF2B5EF4-FFF2-40B4-BE49-F238E27FC236}">
                <a16:creationId xmlns:a16="http://schemas.microsoft.com/office/drawing/2014/main" id="{B3707D2C-7DF3-4EFE-9DD4-E8C7AA8B5452}"/>
              </a:ext>
            </a:extLst>
          </p:cNvPr>
          <p:cNvSpPr>
            <a:spLocks noGrp="1"/>
          </p:cNvSpPr>
          <p:nvPr>
            <p:ph type="ftr" sz="quarter" idx="14"/>
          </p:nvPr>
        </p:nvSpPr>
        <p:spPr>
          <a:xfrm>
            <a:off x="442912" y="6355080"/>
            <a:ext cx="5473701" cy="137160"/>
          </a:xfrm>
        </p:spPr>
        <p:txBody>
          <a:bodyPr/>
          <a:lstStyle/>
          <a:p>
            <a:pPr algn="l"/>
            <a:r>
              <a:rPr lang="en-US"/>
              <a:t>Prefeasibility study for establishment of ICIC under STKEC</a:t>
            </a:r>
          </a:p>
        </p:txBody>
      </p:sp>
      <p:sp>
        <p:nvSpPr>
          <p:cNvPr id="13" name="Date">
            <a:extLst>
              <a:ext uri="{FF2B5EF4-FFF2-40B4-BE49-F238E27FC236}">
                <a16:creationId xmlns:a16="http://schemas.microsoft.com/office/drawing/2014/main" id="{83D88E3C-7EF7-4B3C-9713-6E89C69AC6B9}"/>
              </a:ext>
            </a:extLst>
          </p:cNvPr>
          <p:cNvSpPr>
            <a:spLocks noGrp="1"/>
          </p:cNvSpPr>
          <p:nvPr>
            <p:ph type="dt" sz="half" idx="12"/>
          </p:nvPr>
        </p:nvSpPr>
        <p:spPr>
          <a:xfrm>
            <a:off x="9984296" y="6355080"/>
            <a:ext cx="1764792" cy="137160"/>
          </a:xfrm>
        </p:spPr>
        <p:txBody>
          <a:bodyPr/>
          <a:lstStyle/>
          <a:p>
            <a:r>
              <a:rPr lang="en-US"/>
              <a:t>Sep 23</a:t>
            </a:r>
          </a:p>
        </p:txBody>
      </p:sp>
      <p:sp>
        <p:nvSpPr>
          <p:cNvPr id="14" name="Slide Number">
            <a:extLst>
              <a:ext uri="{FF2B5EF4-FFF2-40B4-BE49-F238E27FC236}">
                <a16:creationId xmlns:a16="http://schemas.microsoft.com/office/drawing/2014/main" id="{10842AC8-8412-4D65-BC9D-953648FAE48A}"/>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22727386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3" name="Content Placeholder 2"/>
          <p:cNvSpPr>
            <a:spLocks noGrp="1"/>
          </p:cNvSpPr>
          <p:nvPr>
            <p:ph idx="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p>
        </p:txBody>
      </p:sp>
      <p:sp>
        <p:nvSpPr>
          <p:cNvPr id="14" name="Presentation Footer">
            <a:extLst>
              <a:ext uri="{FF2B5EF4-FFF2-40B4-BE49-F238E27FC236}">
                <a16:creationId xmlns:a16="http://schemas.microsoft.com/office/drawing/2014/main" id="{8D9C67B1-50E6-4DEF-9BFF-7719E52635D4}"/>
              </a:ext>
            </a:extLst>
          </p:cNvPr>
          <p:cNvSpPr>
            <a:spLocks noGrp="1"/>
          </p:cNvSpPr>
          <p:nvPr>
            <p:ph type="ftr" sz="quarter" idx="17"/>
          </p:nvPr>
        </p:nvSpPr>
        <p:spPr>
          <a:xfrm>
            <a:off x="442912" y="6355080"/>
            <a:ext cx="5473701" cy="137160"/>
          </a:xfrm>
        </p:spPr>
        <p:txBody>
          <a:bodyPr/>
          <a:lstStyle/>
          <a:p>
            <a:pPr algn="l"/>
            <a:r>
              <a:rPr lang="en-US"/>
              <a:t>Prefeasibility study for establishment of ICIC under STKEC</a:t>
            </a:r>
          </a:p>
        </p:txBody>
      </p:sp>
      <p:sp>
        <p:nvSpPr>
          <p:cNvPr id="15" name="Date">
            <a:extLst>
              <a:ext uri="{FF2B5EF4-FFF2-40B4-BE49-F238E27FC236}">
                <a16:creationId xmlns:a16="http://schemas.microsoft.com/office/drawing/2014/main" id="{FCC2D15B-C84F-4D88-A2DE-44282445E10F}"/>
              </a:ext>
            </a:extLst>
          </p:cNvPr>
          <p:cNvSpPr>
            <a:spLocks noGrp="1"/>
          </p:cNvSpPr>
          <p:nvPr>
            <p:ph type="dt" sz="half" idx="12"/>
          </p:nvPr>
        </p:nvSpPr>
        <p:spPr>
          <a:xfrm>
            <a:off x="9984296" y="6355080"/>
            <a:ext cx="1764792" cy="137160"/>
          </a:xfrm>
        </p:spPr>
        <p:txBody>
          <a:bodyPr/>
          <a:lstStyle/>
          <a:p>
            <a:r>
              <a:rPr lang="en-US"/>
              <a:t>Sep 23</a:t>
            </a:r>
          </a:p>
        </p:txBody>
      </p:sp>
      <p:sp>
        <p:nvSpPr>
          <p:cNvPr id="16" name="Slide Number">
            <a:extLst>
              <a:ext uri="{FF2B5EF4-FFF2-40B4-BE49-F238E27FC236}">
                <a16:creationId xmlns:a16="http://schemas.microsoft.com/office/drawing/2014/main" id="{34B491E1-3607-4463-BA21-5BF30F965781}"/>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9493676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solidFill>
                  <a:schemeClr val="tx1"/>
                </a:solidFill>
              </a:defRPr>
            </a:lvl1pPr>
          </a:lstStyle>
          <a:p>
            <a:r>
              <a:rPr lang="en-US"/>
              <a:t>[Slide title]</a:t>
            </a:r>
          </a:p>
        </p:txBody>
      </p:sp>
      <p:sp>
        <p:nvSpPr>
          <p:cNvPr id="3" name="Content Placeholder 2"/>
          <p:cNvSpPr>
            <a:spLocks noGrp="1"/>
          </p:cNvSpPr>
          <p:nvPr>
            <p:ph idx="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Chart Placeholder 2"/>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p>
        </p:txBody>
      </p:sp>
      <p:sp>
        <p:nvSpPr>
          <p:cNvPr id="8" name="Presentation Footer">
            <a:extLst>
              <a:ext uri="{FF2B5EF4-FFF2-40B4-BE49-F238E27FC236}">
                <a16:creationId xmlns:a16="http://schemas.microsoft.com/office/drawing/2014/main" id="{A2808A79-2905-41A1-B99C-1D393D6CBBBF}"/>
              </a:ext>
            </a:extLst>
          </p:cNvPr>
          <p:cNvSpPr>
            <a:spLocks noGrp="1"/>
          </p:cNvSpPr>
          <p:nvPr>
            <p:ph type="ftr" sz="quarter" idx="14"/>
          </p:nvPr>
        </p:nvSpPr>
        <p:spPr>
          <a:xfrm>
            <a:off x="442912" y="6355080"/>
            <a:ext cx="5473701" cy="137160"/>
          </a:xfrm>
        </p:spPr>
        <p:txBody>
          <a:bodyPr/>
          <a:lstStyle/>
          <a:p>
            <a:pPr algn="l"/>
            <a:r>
              <a:rPr lang="en-US"/>
              <a:t>Prefeasibility study for establishment of ICIC under STKEC</a:t>
            </a:r>
          </a:p>
        </p:txBody>
      </p:sp>
      <p:sp>
        <p:nvSpPr>
          <p:cNvPr id="11" name="Date">
            <a:extLst>
              <a:ext uri="{FF2B5EF4-FFF2-40B4-BE49-F238E27FC236}">
                <a16:creationId xmlns:a16="http://schemas.microsoft.com/office/drawing/2014/main" id="{6423CBA3-567A-4416-8DCF-ACBDBFE4FA84}"/>
              </a:ext>
            </a:extLst>
          </p:cNvPr>
          <p:cNvSpPr>
            <a:spLocks noGrp="1"/>
          </p:cNvSpPr>
          <p:nvPr>
            <p:ph type="dt" sz="half" idx="12"/>
          </p:nvPr>
        </p:nvSpPr>
        <p:spPr>
          <a:xfrm>
            <a:off x="9984296" y="6355080"/>
            <a:ext cx="1764792" cy="137160"/>
          </a:xfrm>
        </p:spPr>
        <p:txBody>
          <a:bodyPr/>
          <a:lstStyle/>
          <a:p>
            <a:r>
              <a:rPr lang="en-US"/>
              <a:t>Sep 23</a:t>
            </a:r>
          </a:p>
        </p:txBody>
      </p:sp>
      <p:sp>
        <p:nvSpPr>
          <p:cNvPr id="12" name="Slide Number">
            <a:extLst>
              <a:ext uri="{FF2B5EF4-FFF2-40B4-BE49-F238E27FC236}">
                <a16:creationId xmlns:a16="http://schemas.microsoft.com/office/drawing/2014/main" id="{9B4165E1-39E1-4A48-8ED6-9C3A96357709}"/>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1293847285"/>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a:lstStyle>
            <a:lvl1pPr>
              <a:defRPr/>
            </a:lvl1pPr>
          </a:lstStyle>
          <a:p>
            <a:r>
              <a:rPr lang="en-US"/>
              <a:t>[Slide title]</a:t>
            </a:r>
          </a:p>
        </p:txBody>
      </p:sp>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p>
        </p:txBody>
      </p:sp>
      <p:sp>
        <p:nvSpPr>
          <p:cNvPr id="3" name="Content Placeholder 2"/>
          <p:cNvSpPr>
            <a:spLocks noGrp="1"/>
          </p:cNvSpPr>
          <p:nvPr>
            <p:ph idx="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p>
        </p:txBody>
      </p:sp>
      <p:sp>
        <p:nvSpPr>
          <p:cNvPr id="14" name="Presentation Footer">
            <a:extLst>
              <a:ext uri="{FF2B5EF4-FFF2-40B4-BE49-F238E27FC236}">
                <a16:creationId xmlns:a16="http://schemas.microsoft.com/office/drawing/2014/main" id="{22E99923-0EF3-4147-8318-0DCE770AA4F3}"/>
              </a:ext>
            </a:extLst>
          </p:cNvPr>
          <p:cNvSpPr>
            <a:spLocks noGrp="1"/>
          </p:cNvSpPr>
          <p:nvPr>
            <p:ph type="ftr" sz="quarter" idx="15"/>
          </p:nvPr>
        </p:nvSpPr>
        <p:spPr>
          <a:xfrm>
            <a:off x="442912" y="6355080"/>
            <a:ext cx="5473701" cy="137160"/>
          </a:xfrm>
        </p:spPr>
        <p:txBody>
          <a:bodyPr/>
          <a:lstStyle/>
          <a:p>
            <a:pPr algn="l"/>
            <a:r>
              <a:rPr lang="en-US"/>
              <a:t>Prefeasibility study for establishment of ICIC under STKEC</a:t>
            </a:r>
          </a:p>
        </p:txBody>
      </p:sp>
      <p:sp>
        <p:nvSpPr>
          <p:cNvPr id="15" name="Date">
            <a:extLst>
              <a:ext uri="{FF2B5EF4-FFF2-40B4-BE49-F238E27FC236}">
                <a16:creationId xmlns:a16="http://schemas.microsoft.com/office/drawing/2014/main" id="{E63AAD15-CC4C-4F4E-A7D4-8BDF4A9C4656}"/>
              </a:ext>
            </a:extLst>
          </p:cNvPr>
          <p:cNvSpPr>
            <a:spLocks noGrp="1"/>
          </p:cNvSpPr>
          <p:nvPr>
            <p:ph type="dt" sz="half" idx="12"/>
          </p:nvPr>
        </p:nvSpPr>
        <p:spPr>
          <a:xfrm>
            <a:off x="9984296" y="6355080"/>
            <a:ext cx="1764792" cy="137160"/>
          </a:xfrm>
        </p:spPr>
        <p:txBody>
          <a:bodyPr/>
          <a:lstStyle/>
          <a:p>
            <a:r>
              <a:rPr lang="en-US"/>
              <a:t>Sep 23</a:t>
            </a:r>
          </a:p>
        </p:txBody>
      </p:sp>
      <p:sp>
        <p:nvSpPr>
          <p:cNvPr id="16" name="Slide Number">
            <a:extLst>
              <a:ext uri="{FF2B5EF4-FFF2-40B4-BE49-F238E27FC236}">
                <a16:creationId xmlns:a16="http://schemas.microsoft.com/office/drawing/2014/main" id="{F704AF40-9537-48E1-AA82-98F733AB70B4}"/>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090820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a:lstStyle>
            <a:lvl1pPr>
              <a:defRPr/>
            </a:lvl1pPr>
          </a:lstStyle>
          <a:p>
            <a:r>
              <a:rPr lang="en-US"/>
              <a:t>[Slide title]</a:t>
            </a:r>
          </a:p>
        </p:txBody>
      </p:sp>
      <p:sp>
        <p:nvSpPr>
          <p:cNvPr id="10" name="Text Placeholder 2"/>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p>
        </p:txBody>
      </p:sp>
      <p:sp>
        <p:nvSpPr>
          <p:cNvPr id="13" name="Text Placeholder 3"/>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p>
        </p:txBody>
      </p:sp>
      <p:sp>
        <p:nvSpPr>
          <p:cNvPr id="14" name="Text Placeholder 4"/>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p>
        </p:txBody>
      </p:sp>
      <p:sp>
        <p:nvSpPr>
          <p:cNvPr id="3" name="Content Placeholder 2"/>
          <p:cNvSpPr>
            <a:spLocks noGrp="1"/>
          </p:cNvSpPr>
          <p:nvPr>
            <p:ph sz="half" idx="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resentation Footer">
            <a:extLst>
              <a:ext uri="{FF2B5EF4-FFF2-40B4-BE49-F238E27FC236}">
                <a16:creationId xmlns:a16="http://schemas.microsoft.com/office/drawing/2014/main" id="{488ECE07-0F56-4D42-88E7-9EE4A6875AEC}"/>
              </a:ext>
            </a:extLst>
          </p:cNvPr>
          <p:cNvSpPr>
            <a:spLocks noGrp="1"/>
          </p:cNvSpPr>
          <p:nvPr>
            <p:ph type="ftr" sz="quarter" idx="13"/>
          </p:nvPr>
        </p:nvSpPr>
        <p:spPr>
          <a:xfrm>
            <a:off x="442912" y="6355080"/>
            <a:ext cx="5473701" cy="137160"/>
          </a:xfrm>
        </p:spPr>
        <p:txBody>
          <a:bodyPr/>
          <a:lstStyle/>
          <a:p>
            <a:pPr algn="l"/>
            <a:r>
              <a:rPr lang="en-US"/>
              <a:t>Prefeasibility study for establishment of ICIC under STKEC</a:t>
            </a:r>
          </a:p>
        </p:txBody>
      </p:sp>
      <p:sp>
        <p:nvSpPr>
          <p:cNvPr id="20" name="Date">
            <a:extLst>
              <a:ext uri="{FF2B5EF4-FFF2-40B4-BE49-F238E27FC236}">
                <a16:creationId xmlns:a16="http://schemas.microsoft.com/office/drawing/2014/main" id="{92A20B44-BAC5-421A-834E-C0336D10C99A}"/>
              </a:ext>
            </a:extLst>
          </p:cNvPr>
          <p:cNvSpPr>
            <a:spLocks noGrp="1"/>
          </p:cNvSpPr>
          <p:nvPr>
            <p:ph type="dt" sz="half" idx="12"/>
          </p:nvPr>
        </p:nvSpPr>
        <p:spPr>
          <a:xfrm>
            <a:off x="9984296" y="6355080"/>
            <a:ext cx="1764792" cy="137160"/>
          </a:xfrm>
        </p:spPr>
        <p:txBody>
          <a:bodyPr/>
          <a:lstStyle/>
          <a:p>
            <a:r>
              <a:rPr lang="en-US"/>
              <a:t>Sep 23</a:t>
            </a:r>
          </a:p>
        </p:txBody>
      </p:sp>
      <p:sp>
        <p:nvSpPr>
          <p:cNvPr id="21" name="Slide Number">
            <a:extLst>
              <a:ext uri="{FF2B5EF4-FFF2-40B4-BE49-F238E27FC236}">
                <a16:creationId xmlns:a16="http://schemas.microsoft.com/office/drawing/2014/main" id="{33099B9F-B5BB-4BD7-90DF-E6FE03CA959F}"/>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4598164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lvl1pPr>
              <a:defRPr>
                <a:solidFill>
                  <a:schemeClr val="tx1"/>
                </a:solidFill>
              </a:defRPr>
            </a:lvl1pPr>
          </a:lstStyle>
          <a:p>
            <a:r>
              <a:rPr lang="en-US"/>
              <a:t>[Slide title]</a:t>
            </a:r>
          </a:p>
        </p:txBody>
      </p:sp>
      <p:sp>
        <p:nvSpPr>
          <p:cNvPr id="8" name="Chart Placeholder 2"/>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p>
        </p:txBody>
      </p:sp>
      <p:sp>
        <p:nvSpPr>
          <p:cNvPr id="12" name="Presentation Footer">
            <a:extLst>
              <a:ext uri="{FF2B5EF4-FFF2-40B4-BE49-F238E27FC236}">
                <a16:creationId xmlns:a16="http://schemas.microsoft.com/office/drawing/2014/main" id="{C65B6F41-E802-4CF5-8B9F-07044F8CB1EF}"/>
              </a:ext>
            </a:extLst>
          </p:cNvPr>
          <p:cNvSpPr>
            <a:spLocks noGrp="1"/>
          </p:cNvSpPr>
          <p:nvPr>
            <p:ph type="ftr" sz="quarter" idx="14"/>
          </p:nvPr>
        </p:nvSpPr>
        <p:spPr>
          <a:xfrm>
            <a:off x="442912" y="6355080"/>
            <a:ext cx="5473701" cy="137160"/>
          </a:xfrm>
        </p:spPr>
        <p:txBody>
          <a:bodyPr/>
          <a:lstStyle/>
          <a:p>
            <a:pPr algn="l"/>
            <a:r>
              <a:rPr lang="en-US"/>
              <a:t>Prefeasibility study for establishment of ICIC under STKEC</a:t>
            </a:r>
          </a:p>
        </p:txBody>
      </p:sp>
      <p:sp>
        <p:nvSpPr>
          <p:cNvPr id="13" name="Date">
            <a:extLst>
              <a:ext uri="{FF2B5EF4-FFF2-40B4-BE49-F238E27FC236}">
                <a16:creationId xmlns:a16="http://schemas.microsoft.com/office/drawing/2014/main" id="{3213A3B9-A059-4CBD-8F51-BA0FDCD9A0FA}"/>
              </a:ext>
            </a:extLst>
          </p:cNvPr>
          <p:cNvSpPr>
            <a:spLocks noGrp="1"/>
          </p:cNvSpPr>
          <p:nvPr>
            <p:ph type="dt" sz="half" idx="12"/>
          </p:nvPr>
        </p:nvSpPr>
        <p:spPr>
          <a:xfrm>
            <a:off x="9984296" y="6355080"/>
            <a:ext cx="1764792" cy="137160"/>
          </a:xfrm>
        </p:spPr>
        <p:txBody>
          <a:bodyPr/>
          <a:lstStyle/>
          <a:p>
            <a:r>
              <a:rPr lang="en-US"/>
              <a:t>Sep 23</a:t>
            </a:r>
          </a:p>
        </p:txBody>
      </p:sp>
      <p:sp>
        <p:nvSpPr>
          <p:cNvPr id="14" name="Slide Number">
            <a:extLst>
              <a:ext uri="{FF2B5EF4-FFF2-40B4-BE49-F238E27FC236}">
                <a16:creationId xmlns:a16="http://schemas.microsoft.com/office/drawing/2014/main" id="{BD55E6CB-0F32-42F1-A94F-C799A281C5A9}"/>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59828747"/>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a:solidFill>
                  <a:schemeClr val="tx1"/>
                </a:solidFill>
              </a:rPr>
              <a:t>pwc.com</a:t>
            </a:r>
          </a:p>
        </p:txBody>
      </p:sp>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60659926"/>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1</a:t>
            </a:r>
          </a:p>
        </p:txBody>
      </p:sp>
    </p:spTree>
    <p:extLst>
      <p:ext uri="{BB962C8B-B14F-4D97-AF65-F5344CB8AC3E}">
        <p14:creationId xmlns:p14="http://schemas.microsoft.com/office/powerpoint/2010/main" val="961250488"/>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2</a:t>
            </a:r>
          </a:p>
        </p:txBody>
      </p:sp>
    </p:spTree>
    <p:extLst>
      <p:ext uri="{BB962C8B-B14F-4D97-AF65-F5344CB8AC3E}">
        <p14:creationId xmlns:p14="http://schemas.microsoft.com/office/powerpoint/2010/main" val="413506771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9" name="Report Date">
            <a:extLst>
              <a:ext uri="{FF2B5EF4-FFF2-40B4-BE49-F238E27FC236}">
                <a16:creationId xmlns:a16="http://schemas.microsoft.com/office/drawing/2014/main" id="{64581E60-A0D4-4BC1-823A-2B418E8F2128}"/>
              </a:ext>
            </a:extLst>
          </p:cNvPr>
          <p:cNvSpPr txBox="1"/>
          <p:nvPr>
            <p:custDataLst>
              <p:tags r:id="rId7"/>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30" name="Page Number">
            <a:extLst>
              <a:ext uri="{FF2B5EF4-FFF2-40B4-BE49-F238E27FC236}">
                <a16:creationId xmlns:a16="http://schemas.microsoft.com/office/drawing/2014/main" id="{41779BE8-A4CC-4DAD-B153-54092D7A99B3}"/>
              </a:ext>
            </a:extLst>
          </p:cNvPr>
          <p:cNvSpPr txBox="1"/>
          <p:nvPr>
            <p:custDataLst>
              <p:tags r:id="rId8"/>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31" name="Presentation Disclaimer">
            <a:extLst>
              <a:ext uri="{FF2B5EF4-FFF2-40B4-BE49-F238E27FC236}">
                <a16:creationId xmlns:a16="http://schemas.microsoft.com/office/drawing/2014/main" id="{3C2E928F-BA23-4F06-9CC3-E08864FB8464}"/>
              </a:ext>
            </a:extLst>
          </p:cNvPr>
          <p:cNvSpPr txBox="1"/>
          <p:nvPr>
            <p:custDataLst>
              <p:tags r:id="rId9"/>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2" name="Section Footer">
            <a:extLst>
              <a:ext uri="{FF2B5EF4-FFF2-40B4-BE49-F238E27FC236}">
                <a16:creationId xmlns:a16="http://schemas.microsoft.com/office/drawing/2014/main" id="{8D2C9B10-5BE7-4AF8-BFF8-A3046EC4F941}"/>
              </a:ext>
            </a:extLst>
          </p:cNvPr>
          <p:cNvSpPr txBox="1"/>
          <p:nvPr>
            <p:custDataLst>
              <p:tags r:id="rId10"/>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3" name="TextBox 32">
            <a:extLst>
              <a:ext uri="{FF2B5EF4-FFF2-40B4-BE49-F238E27FC236}">
                <a16:creationId xmlns:a16="http://schemas.microsoft.com/office/drawing/2014/main" id="{687D8D29-B820-4A31-8280-EFE6F9FA98F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5" name="Straight Connector 34">
            <a:extLst>
              <a:ext uri="{FF2B5EF4-FFF2-40B4-BE49-F238E27FC236}">
                <a16:creationId xmlns:a16="http://schemas.microsoft.com/office/drawing/2014/main" id="{AB44D133-2D16-42A3-A3AD-A385F9C01A0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78302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3</a:t>
            </a:r>
          </a:p>
        </p:txBody>
      </p:sp>
    </p:spTree>
    <p:extLst>
      <p:ext uri="{BB962C8B-B14F-4D97-AF65-F5344CB8AC3E}">
        <p14:creationId xmlns:p14="http://schemas.microsoft.com/office/powerpoint/2010/main" val="312188787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4</a:t>
            </a:r>
          </a:p>
        </p:txBody>
      </p:sp>
    </p:spTree>
    <p:extLst>
      <p:ext uri="{BB962C8B-B14F-4D97-AF65-F5344CB8AC3E}">
        <p14:creationId xmlns:p14="http://schemas.microsoft.com/office/powerpoint/2010/main" val="1752016834"/>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1</a:t>
            </a:r>
          </a:p>
        </p:txBody>
      </p:sp>
    </p:spTree>
    <p:extLst>
      <p:ext uri="{BB962C8B-B14F-4D97-AF65-F5344CB8AC3E}">
        <p14:creationId xmlns:p14="http://schemas.microsoft.com/office/powerpoint/2010/main" val="3920215817"/>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2</a:t>
            </a:r>
          </a:p>
        </p:txBody>
      </p:sp>
    </p:spTree>
    <p:extLst>
      <p:ext uri="{BB962C8B-B14F-4D97-AF65-F5344CB8AC3E}">
        <p14:creationId xmlns:p14="http://schemas.microsoft.com/office/powerpoint/2010/main" val="27495008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3</a:t>
            </a:r>
          </a:p>
        </p:txBody>
      </p:sp>
    </p:spTree>
    <p:extLst>
      <p:ext uri="{BB962C8B-B14F-4D97-AF65-F5344CB8AC3E}">
        <p14:creationId xmlns:p14="http://schemas.microsoft.com/office/powerpoint/2010/main" val="14163762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4</a:t>
            </a:r>
          </a:p>
        </p:txBody>
      </p:sp>
    </p:spTree>
    <p:extLst>
      <p:ext uri="{BB962C8B-B14F-4D97-AF65-F5344CB8AC3E}">
        <p14:creationId xmlns:p14="http://schemas.microsoft.com/office/powerpoint/2010/main" val="3861531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p>
        </p:txBody>
      </p:sp>
      <p:sp>
        <p:nvSpPr>
          <p:cNvPr id="3" name="Content Placeholder 2"/>
          <p:cNvSpPr>
            <a:spLocks noGrp="1"/>
          </p:cNvSpPr>
          <p:nvPr>
            <p:ph idx="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p:txBody>
          <a:bodyPr/>
          <a:lstStyle/>
          <a:p>
            <a:r>
              <a:rPr lang="en-US"/>
              <a:t>Sep 23</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p:txBody>
          <a:bodyPr/>
          <a:lstStyle/>
          <a:p>
            <a:pPr algn="l"/>
            <a:r>
              <a:rPr lang="en-US"/>
              <a:t>Prefeasibility study for establishment of ICIC under STKEC</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15943461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p>
        </p:txBody>
      </p:sp>
      <p:sp>
        <p:nvSpPr>
          <p:cNvPr id="3" name="Content Placeholder 2"/>
          <p:cNvSpPr>
            <a:spLocks noGrp="1"/>
          </p:cNvSpPr>
          <p:nvPr>
            <p:ph idx="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p:txBody>
          <a:bodyPr/>
          <a:lstStyle/>
          <a:p>
            <a:r>
              <a:rPr lang="en-US"/>
              <a:t>Sep 23</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p:txBody>
          <a:bodyPr/>
          <a:lstStyle/>
          <a:p>
            <a:pPr algn="l"/>
            <a:r>
              <a:rPr lang="en-US"/>
              <a:t>Prefeasibility study for establishment of ICIC under STKEC</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14559517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p>
        </p:txBody>
      </p:sp>
      <p:sp>
        <p:nvSpPr>
          <p:cNvPr id="3" name="Content Placeholder 2"/>
          <p:cNvSpPr>
            <a:spLocks noGrp="1"/>
          </p:cNvSpPr>
          <p:nvPr>
            <p:ph idx="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US" smtClean="0"/>
              <a:pPr/>
              <a:t>‹#›</a:t>
            </a:fld>
            <a:endParaRPr lang="en-US"/>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p:txBody>
          <a:bodyPr/>
          <a:lstStyle>
            <a:lvl1pPr>
              <a:defRPr>
                <a:solidFill>
                  <a:schemeClr val="bg1"/>
                </a:solidFill>
              </a:defRPr>
            </a:lvl1pPr>
          </a:lstStyle>
          <a:p>
            <a:r>
              <a:rPr lang="en-US"/>
              <a:t>Sep 23</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p:txBody>
          <a:bodyPr/>
          <a:lstStyle/>
          <a:p>
            <a:pPr algn="l"/>
            <a:r>
              <a:rPr lang="en-US"/>
              <a:t>Prefeasibility study for establishment of ICIC under STKEC</a:t>
            </a:r>
          </a:p>
        </p:txBody>
      </p:sp>
    </p:spTree>
    <p:extLst>
      <p:ext uri="{BB962C8B-B14F-4D97-AF65-F5344CB8AC3E}">
        <p14:creationId xmlns:p14="http://schemas.microsoft.com/office/powerpoint/2010/main" val="3896538794"/>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a:lstStyle/>
          <a:p>
            <a:r>
              <a:rPr lang="en-US"/>
              <a:t>Sep 23</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p:txBody>
          <a:bodyPr/>
          <a:lstStyle/>
          <a:p>
            <a:pPr algn="l"/>
            <a:r>
              <a:rPr lang="en-US"/>
              <a:t>Prefeasibility study for establishment of ICIC under STKEC</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256334560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A8AA2BC8-1024-45CC-9E76-6C0E7A21F6C0}"/>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A89B890D-CBFA-4D2C-BB10-C27690A9929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7CE9966-8074-4152-9D34-F90B6B3C28D5}"/>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FC58C329-4792-4816-A60A-3D2DCE9CA036}"/>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B5AFC1A6-EFD9-4BBD-86EB-FA5F92D972EA}"/>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A55CE69C-839D-427C-8F86-57156ADECE5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30636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p:txBody>
          <a:bodyPr/>
          <a:lstStyle/>
          <a:p>
            <a:r>
              <a:rPr lang="en-US"/>
              <a:t>Sep 23</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p:txBody>
          <a:bodyPr/>
          <a:lstStyle/>
          <a:p>
            <a:pPr algn="l"/>
            <a:r>
              <a:rPr lang="en-US"/>
              <a:t>Prefeasibility study for establishment of ICIC under STKEC</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1509225886"/>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p:txBody>
          <a:bodyPr/>
          <a:lstStyle/>
          <a:p>
            <a:r>
              <a:rPr lang="en-US"/>
              <a:t>Sep 23</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p:txBody>
          <a:bodyPr/>
          <a:lstStyle/>
          <a:p>
            <a:pPr algn="l"/>
            <a:r>
              <a:rPr lang="en-US"/>
              <a:t>Prefeasibility study for establishment of ICIC under STKEC</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2936678672"/>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p:txBody>
          <a:bodyPr/>
          <a:lstStyle/>
          <a:p>
            <a:r>
              <a:rPr lang="en-US"/>
              <a:t>Sep 23</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p:txBody>
          <a:bodyPr/>
          <a:lstStyle/>
          <a:p>
            <a:pPr algn="l"/>
            <a:r>
              <a:rPr lang="en-US"/>
              <a:t>Prefeasibility study for establishment of ICIC under STKEC</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515908002"/>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p:txBody>
          <a:bodyPr/>
          <a:lstStyle/>
          <a:p>
            <a:r>
              <a:rPr lang="en-US"/>
              <a:t>Sep 23</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p:txBody>
          <a:bodyPr/>
          <a:lstStyle/>
          <a:p>
            <a:pPr algn="l"/>
            <a:r>
              <a:rPr lang="en-US"/>
              <a:t>Prefeasibility study for establishment of ICIC under STKEC</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US" smtClean="0"/>
              <a:pPr/>
              <a:t>‹#›</a:t>
            </a:fld>
            <a:endParaRPr lang="en-US"/>
          </a:p>
        </p:txBody>
      </p:sp>
    </p:spTree>
    <p:extLst>
      <p:ext uri="{BB962C8B-B14F-4D97-AF65-F5344CB8AC3E}">
        <p14:creationId xmlns:p14="http://schemas.microsoft.com/office/powerpoint/2010/main" val="3341329386"/>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6697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5_Content: One">
    <p:spTree>
      <p:nvGrpSpPr>
        <p:cNvPr id="1" name=""/>
        <p:cNvGrpSpPr/>
        <p:nvPr/>
      </p:nvGrpSpPr>
      <p:grpSpPr>
        <a:xfrm>
          <a:off x="0" y="0"/>
          <a:ext cx="0" cy="0"/>
          <a:chOff x="0" y="0"/>
          <a:chExt cx="0" cy="0"/>
        </a:xfrm>
      </p:grpSpPr>
      <p:sp>
        <p:nvSpPr>
          <p:cNvPr id="33" name="Section Footer"/>
          <p:cNvSpPr txBox="1"/>
          <p:nvPr userDrawn="1">
            <p:custDataLst>
              <p:tags r:id="rId1"/>
            </p:custDataLst>
          </p:nvPr>
        </p:nvSpPr>
        <p:spPr>
          <a:xfrm>
            <a:off x="644821" y="6259472"/>
            <a:ext cx="65" cy="149400"/>
          </a:xfrm>
          <a:prstGeom prst="rect">
            <a:avLst/>
          </a:prstGeom>
          <a:noFill/>
        </p:spPr>
        <p:txBody>
          <a:bodyPr wrap="none" lIns="0" tIns="0" rIns="0" bIns="0" rtlCol="0">
            <a:spAutoFit/>
          </a:bodyPr>
          <a:lstStyle/>
          <a:p>
            <a:pPr indent="-269703" algn="l">
              <a:spcAft>
                <a:spcPts val="885"/>
              </a:spcAft>
            </a:pPr>
            <a:endParaRPr lang="en-GB" sz="971" noProof="1">
              <a:latin typeface="+mn-lt"/>
            </a:endParaRPr>
          </a:p>
        </p:txBody>
      </p:sp>
      <p:sp>
        <p:nvSpPr>
          <p:cNvPr id="18" name="Disclaimer" hidden="1"/>
          <p:cNvSpPr txBox="1"/>
          <p:nvPr userDrawn="1">
            <p:custDataLst>
              <p:tags r:id="rId2"/>
            </p:custDataLst>
          </p:nvPr>
        </p:nvSpPr>
        <p:spPr>
          <a:xfrm>
            <a:off x="6184669" y="6407292"/>
            <a:ext cx="3657600" cy="149400"/>
          </a:xfrm>
          <a:prstGeom prst="rect">
            <a:avLst/>
          </a:prstGeom>
          <a:noFill/>
        </p:spPr>
        <p:txBody>
          <a:bodyPr wrap="square" lIns="0" tIns="0" rIns="0" bIns="0" rtlCol="0" anchor="b" anchorCtr="0">
            <a:spAutoFit/>
          </a:bodyPr>
          <a:lstStyle/>
          <a:p>
            <a:pPr algn="l"/>
            <a:endParaRPr lang="en-GB" sz="971" noProof="1"/>
          </a:p>
        </p:txBody>
      </p:sp>
      <p:sp>
        <p:nvSpPr>
          <p:cNvPr id="35" name="Presentation Disclaimer" hidden="1"/>
          <p:cNvSpPr txBox="1"/>
          <p:nvPr userDrawn="1">
            <p:custDataLst>
              <p:tags r:id="rId3"/>
            </p:custDataLst>
          </p:nvPr>
        </p:nvSpPr>
        <p:spPr>
          <a:xfrm>
            <a:off x="644821" y="6113049"/>
            <a:ext cx="10769600" cy="149400"/>
          </a:xfrm>
          <a:prstGeom prst="rect">
            <a:avLst/>
          </a:prstGeom>
          <a:noFill/>
        </p:spPr>
        <p:txBody>
          <a:bodyPr wrap="square" lIns="0" tIns="0" rIns="0" bIns="0" rtlCol="0" anchor="t" anchorCtr="0">
            <a:spAutoFit/>
          </a:bodyPr>
          <a:lstStyle/>
          <a:p>
            <a:pPr algn="l"/>
            <a:endParaRPr lang="en-GB" sz="971" noProof="1"/>
          </a:p>
        </p:txBody>
      </p:sp>
      <p:sp>
        <p:nvSpPr>
          <p:cNvPr id="17" name="Date/Filepath" hidden="1"/>
          <p:cNvSpPr txBox="1"/>
          <p:nvPr userDrawn="1">
            <p:custDataLst>
              <p:tags r:id="rId4"/>
            </p:custDataLst>
          </p:nvPr>
        </p:nvSpPr>
        <p:spPr>
          <a:xfrm>
            <a:off x="6637822" y="467958"/>
            <a:ext cx="4903585" cy="135743"/>
          </a:xfrm>
          <a:prstGeom prst="rect">
            <a:avLst/>
          </a:prstGeom>
          <a:noFill/>
        </p:spPr>
        <p:txBody>
          <a:bodyPr wrap="none" lIns="0" tIns="0" rIns="0" bIns="0" rtlCol="0">
            <a:spAutoFit/>
          </a:bodyPr>
          <a:lstStyle/>
          <a:p>
            <a:pPr indent="-269703" algn="r">
              <a:spcAft>
                <a:spcPts val="885"/>
              </a:spcAft>
            </a:pPr>
            <a:r>
              <a:rPr lang="en-GB" sz="882" noProof="1">
                <a:latin typeface="+mn-lt"/>
              </a:rPr>
              <a:t>21/07/2017 C:\Users\panktib211\Desktop\AutomotiveSector_ForensicServices_Draft_170717.pptx</a:t>
            </a:r>
          </a:p>
        </p:txBody>
      </p:sp>
    </p:spTree>
    <p:extLst>
      <p:ext uri="{BB962C8B-B14F-4D97-AF65-F5344CB8AC3E}">
        <p14:creationId xmlns:p14="http://schemas.microsoft.com/office/powerpoint/2010/main" val="33447811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B0421D-0F2C-4D5C-8C6A-4F33BBA87B51}"/>
              </a:ext>
            </a:extLst>
          </p:cNvPr>
          <p:cNvGrpSpPr/>
          <p:nvPr/>
        </p:nvGrpSpPr>
        <p:grpSpPr>
          <a:xfrm>
            <a:off x="1" y="1192"/>
            <a:ext cx="12191999" cy="4534816"/>
            <a:chOff x="0" y="-1850"/>
            <a:chExt cx="10058399" cy="5139458"/>
          </a:xfrm>
        </p:grpSpPr>
        <p:sp>
          <p:nvSpPr>
            <p:cNvPr id="31" name="Rectangle 30">
              <a:extLst>
                <a:ext uri="{FF2B5EF4-FFF2-40B4-BE49-F238E27FC236}">
                  <a16:creationId xmlns:a16="http://schemas.microsoft.com/office/drawing/2014/main" id="{0AC2468B-7B7C-4C8C-B055-6EEB0FDFB458}"/>
                </a:ext>
              </a:extLst>
            </p:cNvPr>
            <p:cNvSpPr/>
            <p:nvPr/>
          </p:nvSpPr>
          <p:spPr bwMode="hidden">
            <a:xfrm>
              <a:off x="0" y="-1850"/>
              <a:ext cx="6738778" cy="3854593"/>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5" name="Rectangle 34">
              <a:extLst>
                <a:ext uri="{FF2B5EF4-FFF2-40B4-BE49-F238E27FC236}">
                  <a16:creationId xmlns:a16="http://schemas.microsoft.com/office/drawing/2014/main" id="{FBBA73F9-E23B-456D-80BC-9D102C6807BF}"/>
                </a:ext>
              </a:extLst>
            </p:cNvPr>
            <p:cNvSpPr/>
            <p:nvPr/>
          </p:nvSpPr>
          <p:spPr bwMode="hidden">
            <a:xfrm>
              <a:off x="0" y="3852743"/>
              <a:ext cx="6738778" cy="1284865"/>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7" name="Rectangle 36">
              <a:extLst>
                <a:ext uri="{FF2B5EF4-FFF2-40B4-BE49-F238E27FC236}">
                  <a16:creationId xmlns:a16="http://schemas.microsoft.com/office/drawing/2014/main" id="{6BE32A15-DC57-4998-AEBF-FEB28AD4F1C7}"/>
                </a:ext>
              </a:extLst>
            </p:cNvPr>
            <p:cNvSpPr/>
            <p:nvPr/>
          </p:nvSpPr>
          <p:spPr bwMode="hidden">
            <a:xfrm>
              <a:off x="6738779" y="-1850"/>
              <a:ext cx="3319620" cy="3854593"/>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grpSp>
      <p:pic>
        <p:nvPicPr>
          <p:cNvPr id="44" name="Picture 43">
            <a:extLst>
              <a:ext uri="{FF2B5EF4-FFF2-40B4-BE49-F238E27FC236}">
                <a16:creationId xmlns:a16="http://schemas.microsoft.com/office/drawing/2014/main" id="{ADEBCFBD-4064-4013-BFAD-CD6A74630FEE}"/>
              </a:ext>
            </a:extLst>
          </p:cNvPr>
          <p:cNvPicPr>
            <a:picLocks noChangeAspect="1"/>
          </p:cNvPicPr>
          <p:nvPr/>
        </p:nvPicPr>
        <p:blipFill>
          <a:blip r:embed="rId7"/>
          <a:stretch>
            <a:fillRect/>
          </a:stretch>
        </p:blipFill>
        <p:spPr bwMode="gray">
          <a:xfrm>
            <a:off x="345196" y="5410798"/>
            <a:ext cx="2182367" cy="1311444"/>
          </a:xfrm>
          <a:prstGeom prst="rect">
            <a:avLst/>
          </a:prstGeom>
        </p:spPr>
      </p:pic>
      <p:sp>
        <p:nvSpPr>
          <p:cNvPr id="12" name="Report Title">
            <a:extLst>
              <a:ext uri="{FF2B5EF4-FFF2-40B4-BE49-F238E27FC236}">
                <a16:creationId xmlns:a16="http://schemas.microsoft.com/office/drawing/2014/main" id="{33E879B0-433D-44B8-A45C-4AA9431195B4}"/>
              </a:ext>
            </a:extLst>
          </p:cNvPr>
          <p:cNvSpPr>
            <a:spLocks noGrp="1"/>
          </p:cNvSpPr>
          <p:nvPr>
            <p:ph type="ctrTitle" hasCustomPrompt="1"/>
            <p:custDataLst>
              <p:tags r:id="rId1"/>
            </p:custDataLst>
          </p:nvPr>
        </p:nvSpPr>
        <p:spPr bwMode="white">
          <a:xfrm>
            <a:off x="602834" y="2123558"/>
            <a:ext cx="7362768"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D138D7C5-AFED-488C-9EB0-31F9B7E94C54}"/>
              </a:ext>
            </a:extLst>
          </p:cNvPr>
          <p:cNvSpPr>
            <a:spLocks noGrp="1"/>
          </p:cNvSpPr>
          <p:nvPr>
            <p:ph type="subTitle" idx="1" hasCustomPrompt="1"/>
            <p:custDataLst>
              <p:tags r:id="rId2"/>
            </p:custDataLst>
          </p:nvPr>
        </p:nvSpPr>
        <p:spPr bwMode="white">
          <a:xfrm>
            <a:off x="602834" y="3475573"/>
            <a:ext cx="7362768"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4" name="Confidentiality Stamp">
            <a:extLst>
              <a:ext uri="{FF2B5EF4-FFF2-40B4-BE49-F238E27FC236}">
                <a16:creationId xmlns:a16="http://schemas.microsoft.com/office/drawing/2014/main" id="{CB4906E0-DCF0-4572-8EB8-2DD2439A515D}"/>
              </a:ext>
            </a:extLst>
          </p:cNvPr>
          <p:cNvSpPr txBox="1"/>
          <p:nvPr>
            <p:custDataLst>
              <p:tags r:id="rId3"/>
            </p:custDataLst>
          </p:nvPr>
        </p:nvSpPr>
        <p:spPr>
          <a:xfrm>
            <a:off x="602834" y="4338549"/>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4D76D332-7278-485D-8CDF-6978AE979BD5}"/>
              </a:ext>
            </a:extLst>
          </p:cNvPr>
          <p:cNvSpPr txBox="1">
            <a:spLocks/>
          </p:cNvSpPr>
          <p:nvPr>
            <p:custDataLst>
              <p:tags r:id="rId4"/>
            </p:custDataLst>
          </p:nvPr>
        </p:nvSpPr>
        <p:spPr bwMode="black">
          <a:xfrm>
            <a:off x="602834" y="4153041"/>
            <a:ext cx="2669925" cy="174724"/>
          </a:xfrm>
          <a:prstGeom prst="rect">
            <a:avLst/>
          </a:prstGeom>
          <a:noFill/>
          <a:ln>
            <a:noFill/>
          </a:ln>
        </p:spPr>
        <p:txBody>
          <a:bodyPr wrap="square" lIns="0" tIns="0" rIns="0" bIns="0" rtlCol="0" anchor="t" anchorCtr="0">
            <a:noAutofit/>
          </a:bodyPr>
          <a:lstStyle/>
          <a:p>
            <a:pPr algn="l">
              <a:lnSpc>
                <a:spcPct val="100000"/>
              </a:lnSpc>
            </a:pPr>
            <a:endParaRPr lang="en-GB" sz="882" b="0" i="0">
              <a:solidFill>
                <a:schemeClr val="bg1"/>
              </a:solidFill>
              <a:latin typeface="+mn-lt"/>
            </a:endParaRPr>
          </a:p>
        </p:txBody>
      </p:sp>
      <p:sp>
        <p:nvSpPr>
          <p:cNvPr id="16" name="Report Date">
            <a:extLst>
              <a:ext uri="{FF2B5EF4-FFF2-40B4-BE49-F238E27FC236}">
                <a16:creationId xmlns:a16="http://schemas.microsoft.com/office/drawing/2014/main" id="{0E3D03A1-F1AB-4918-AAE4-A674AC23F6DF}"/>
              </a:ext>
            </a:extLst>
          </p:cNvPr>
          <p:cNvSpPr txBox="1"/>
          <p:nvPr>
            <p:custDataLst>
              <p:tags r:id="rId5"/>
            </p:custDataLst>
          </p:nvPr>
        </p:nvSpPr>
        <p:spPr bwMode="black">
          <a:xfrm>
            <a:off x="602834" y="3701056"/>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21700834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ver Let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E44432-2DD3-429B-9192-CDE2430039EB}"/>
              </a:ext>
            </a:extLst>
          </p:cNvPr>
          <p:cNvGraphicFramePr>
            <a:graphicFrameLocks noChangeAspect="1"/>
          </p:cNvGraphicFramePr>
          <p:nvPr>
            <p:custDataLst>
              <p:tags r:id="rId1"/>
            </p:custData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10" imgW="423" imgH="424" progId="TCLayout.ActiveDocument.1">
                  <p:embed/>
                </p:oleObj>
              </mc:Choice>
              <mc:Fallback>
                <p:oleObj name="think-cell Slide" r:id="rId10" imgW="423" imgH="424" progId="TCLayout.ActiveDocument.1">
                  <p:embed/>
                  <p:pic>
                    <p:nvPicPr>
                      <p:cNvPr id="2" name="Object 1" hidden="1">
                        <a:extLst>
                          <a:ext uri="{FF2B5EF4-FFF2-40B4-BE49-F238E27FC236}">
                            <a16:creationId xmlns:a16="http://schemas.microsoft.com/office/drawing/2014/main" id="{6EE44432-2DD3-429B-9192-CDE2430039EB}"/>
                          </a:ext>
                        </a:extLst>
                      </p:cNvPr>
                      <p:cNvPicPr/>
                      <p:nvPr/>
                    </p:nvPicPr>
                    <p:blipFill>
                      <a:blip r:embed="rId11"/>
                      <a:stretch>
                        <a:fillRect/>
                      </a:stretch>
                    </p:blipFill>
                    <p:spPr>
                      <a:xfrm>
                        <a:off x="1925" y="1401"/>
                        <a:ext cx="1925" cy="1401"/>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4E73762-5B0C-4A73-AAD9-B6C6DB42A1C9}"/>
              </a:ext>
            </a:extLst>
          </p:cNvPr>
          <p:cNvSpPr/>
          <p:nvPr/>
        </p:nvSpPr>
        <p:spPr>
          <a:xfrm>
            <a:off x="0" y="0"/>
            <a:ext cx="3147753" cy="6858000"/>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13" name="Picture 12">
            <a:extLst>
              <a:ext uri="{FF2B5EF4-FFF2-40B4-BE49-F238E27FC236}">
                <a16:creationId xmlns:a16="http://schemas.microsoft.com/office/drawing/2014/main" id="{F21C81E0-A595-44BD-A048-8DF8E985F86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4" name="Text Placeholder 3">
            <a:extLst>
              <a:ext uri="{FF2B5EF4-FFF2-40B4-BE49-F238E27FC236}">
                <a16:creationId xmlns:a16="http://schemas.microsoft.com/office/drawing/2014/main" id="{A888DD68-89F1-4B99-A070-7459C90282B3}"/>
              </a:ext>
            </a:extLst>
          </p:cNvPr>
          <p:cNvSpPr>
            <a:spLocks noGrp="1"/>
          </p:cNvSpPr>
          <p:nvPr>
            <p:ph type="body" sz="quarter" idx="10" hasCustomPrompt="1"/>
          </p:nvPr>
        </p:nvSpPr>
        <p:spPr>
          <a:xfrm>
            <a:off x="543225" y="1815353"/>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21" name="Text Placeholder 5">
            <a:extLst>
              <a:ext uri="{FF2B5EF4-FFF2-40B4-BE49-F238E27FC236}">
                <a16:creationId xmlns:a16="http://schemas.microsoft.com/office/drawing/2014/main" id="{FEBB040F-A728-48CD-A5B9-F69EC5296FF1}"/>
              </a:ext>
            </a:extLst>
          </p:cNvPr>
          <p:cNvSpPr>
            <a:spLocks noGrp="1"/>
          </p:cNvSpPr>
          <p:nvPr>
            <p:ph type="body" sz="quarter" idx="11" hasCustomPrompt="1"/>
          </p:nvPr>
        </p:nvSpPr>
        <p:spPr>
          <a:xfrm>
            <a:off x="543225" y="5356604"/>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cxnSp>
        <p:nvCxnSpPr>
          <p:cNvPr id="22" name="Frame Line">
            <a:extLst>
              <a:ext uri="{FF2B5EF4-FFF2-40B4-BE49-F238E27FC236}">
                <a16:creationId xmlns:a16="http://schemas.microsoft.com/office/drawing/2014/main" id="{F7BAF0B3-E029-470C-87E4-46D3229C1448}"/>
              </a:ext>
            </a:extLst>
          </p:cNvPr>
          <p:cNvCxnSpPr>
            <a:cxnSpLocks/>
          </p:cNvCxnSpPr>
          <p:nvPr>
            <p:custDataLst>
              <p:tags r:id="rId3"/>
            </p:custDataLst>
          </p:nvPr>
        </p:nvCxnSpPr>
        <p:spPr>
          <a:xfrm>
            <a:off x="3585682" y="1748118"/>
            <a:ext cx="796913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7">
            <a:extLst>
              <a:ext uri="{FF2B5EF4-FFF2-40B4-BE49-F238E27FC236}">
                <a16:creationId xmlns:a16="http://schemas.microsoft.com/office/drawing/2014/main" id="{33075B3C-DA49-4F57-9409-515CA5F8C155}"/>
              </a:ext>
            </a:extLst>
          </p:cNvPr>
          <p:cNvSpPr>
            <a:spLocks noGrp="1"/>
          </p:cNvSpPr>
          <p:nvPr>
            <p:ph type="body" sz="quarter" idx="12" hasCustomPrompt="1"/>
          </p:nvPr>
        </p:nvSpPr>
        <p:spPr>
          <a:xfrm>
            <a:off x="3585683" y="941295"/>
            <a:ext cx="3213601" cy="149362"/>
          </a:xfrm>
        </p:spPr>
        <p:txBody>
          <a:bodyPr>
            <a:spAutoFit/>
          </a:bodyPr>
          <a:lstStyle>
            <a:lvl1pPr>
              <a:defRPr/>
            </a:lvl1pPr>
          </a:lstStyle>
          <a:p>
            <a:pPr lvl="0"/>
            <a:r>
              <a:rPr lang="en-GB"/>
              <a:t>Insert text here </a:t>
            </a:r>
          </a:p>
        </p:txBody>
      </p:sp>
      <p:sp>
        <p:nvSpPr>
          <p:cNvPr id="24" name="Text Placeholder 12">
            <a:extLst>
              <a:ext uri="{FF2B5EF4-FFF2-40B4-BE49-F238E27FC236}">
                <a16:creationId xmlns:a16="http://schemas.microsoft.com/office/drawing/2014/main" id="{1A63BB9A-729A-4857-BE09-F8368F34E8D6}"/>
              </a:ext>
            </a:extLst>
          </p:cNvPr>
          <p:cNvSpPr>
            <a:spLocks noGrp="1"/>
          </p:cNvSpPr>
          <p:nvPr>
            <p:ph type="body" sz="quarter" idx="13" hasCustomPrompt="1"/>
          </p:nvPr>
        </p:nvSpPr>
        <p:spPr>
          <a:xfrm>
            <a:off x="3585683" y="1815353"/>
            <a:ext cx="7963465" cy="3618687"/>
          </a:xfrm>
        </p:spPr>
        <p:txBody>
          <a:bodyPr/>
          <a:lstStyle>
            <a:lvl1pPr>
              <a:defRPr/>
            </a:lvl1pPr>
          </a:lstStyle>
          <a:p>
            <a:pPr lvl="0"/>
            <a:r>
              <a:rPr lang="en-GB"/>
              <a:t>Insert text here </a:t>
            </a:r>
          </a:p>
        </p:txBody>
      </p:sp>
      <p:sp>
        <p:nvSpPr>
          <p:cNvPr id="26" name="Report Date">
            <a:extLst>
              <a:ext uri="{FF2B5EF4-FFF2-40B4-BE49-F238E27FC236}">
                <a16:creationId xmlns:a16="http://schemas.microsoft.com/office/drawing/2014/main" id="{EE19D4BC-B65F-4593-B6DA-6CEA94B7B65E}"/>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27" name="Presentation Disclaimer">
            <a:extLst>
              <a:ext uri="{FF2B5EF4-FFF2-40B4-BE49-F238E27FC236}">
                <a16:creationId xmlns:a16="http://schemas.microsoft.com/office/drawing/2014/main" id="{DBA60797-0C6B-4279-88BD-0214B400B514}"/>
              </a:ext>
            </a:extLst>
          </p:cNvPr>
          <p:cNvSpPr txBox="1"/>
          <p:nvPr>
            <p:custDataLst>
              <p:tags r:id="rId5"/>
            </p:custDataLst>
          </p:nvPr>
        </p:nvSpPr>
        <p:spPr>
          <a:xfrm>
            <a:off x="548283" y="6317437"/>
            <a:ext cx="3037401" cy="108619"/>
          </a:xfrm>
          <a:prstGeom prst="rect">
            <a:avLst/>
          </a:prstGeom>
          <a:noFill/>
        </p:spPr>
        <p:txBody>
          <a:bodyPr wrap="square" lIns="0" tIns="0" rIns="0" bIns="0" rtlCol="0" anchor="b" anchorCtr="0">
            <a:spAutoFit/>
          </a:bodyPr>
          <a:lstStyle/>
          <a:p>
            <a:pPr algn="l"/>
            <a:r>
              <a:rPr lang="en-GB" sz="706" noProof="1">
                <a:solidFill>
                  <a:schemeClr val="bg1"/>
                </a:solidFill>
              </a:rPr>
              <a:t>Strictly private and confidential</a:t>
            </a:r>
          </a:p>
        </p:txBody>
      </p:sp>
      <p:sp>
        <p:nvSpPr>
          <p:cNvPr id="28" name="Page Number">
            <a:extLst>
              <a:ext uri="{FF2B5EF4-FFF2-40B4-BE49-F238E27FC236}">
                <a16:creationId xmlns:a16="http://schemas.microsoft.com/office/drawing/2014/main" id="{0AC58CDE-7BF7-4E9A-86DE-005A8226C2D9}"/>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Section Footer">
            <a:extLst>
              <a:ext uri="{FF2B5EF4-FFF2-40B4-BE49-F238E27FC236}">
                <a16:creationId xmlns:a16="http://schemas.microsoft.com/office/drawing/2014/main" id="{7BC2F3DA-F5E4-44B0-8190-5C4510FA91EF}"/>
              </a:ext>
            </a:extLst>
          </p:cNvPr>
          <p:cNvSpPr txBox="1"/>
          <p:nvPr>
            <p:custDataLst>
              <p:tags r:id="rId7"/>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30" name="TextBox 29">
            <a:extLst>
              <a:ext uri="{FF2B5EF4-FFF2-40B4-BE49-F238E27FC236}">
                <a16:creationId xmlns:a16="http://schemas.microsoft.com/office/drawing/2014/main" id="{6A4FBAFA-F1A1-40A6-9134-3230D2D92D31}"/>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31" name="Straight Connector 30">
            <a:extLst>
              <a:ext uri="{FF2B5EF4-FFF2-40B4-BE49-F238E27FC236}">
                <a16:creationId xmlns:a16="http://schemas.microsoft.com/office/drawing/2014/main" id="{10810281-0E5A-4B69-940A-B5D1F833254D}"/>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26689324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ver Letter US">
    <p:spTree>
      <p:nvGrpSpPr>
        <p:cNvPr id="1" name=""/>
        <p:cNvGrpSpPr/>
        <p:nvPr/>
      </p:nvGrpSpPr>
      <p:grpSpPr>
        <a:xfrm>
          <a:off x="0" y="0"/>
          <a:ext cx="0" cy="0"/>
          <a:chOff x="0" y="0"/>
          <a:chExt cx="0" cy="0"/>
        </a:xfrm>
      </p:grpSpPr>
      <p:sp>
        <p:nvSpPr>
          <p:cNvPr id="15" name="Report Date">
            <a:extLst>
              <a:ext uri="{FF2B5EF4-FFF2-40B4-BE49-F238E27FC236}">
                <a16:creationId xmlns:a16="http://schemas.microsoft.com/office/drawing/2014/main" id="{53D1EBEC-E8DA-41B3-AC08-642CC2A5848F}"/>
              </a:ext>
            </a:extLst>
          </p:cNvPr>
          <p:cNvSpPr txBox="1"/>
          <p:nvPr>
            <p:custDataLst>
              <p:tags r:id="rId1"/>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21430" y="6317429"/>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13" name="Text Placeholder 12">
            <a:extLst>
              <a:ext uri="{FF2B5EF4-FFF2-40B4-BE49-F238E27FC236}">
                <a16:creationId xmlns:a16="http://schemas.microsoft.com/office/drawing/2014/main" id="{40E7DDA1-E9E0-4BD2-9F18-4D73A5A3E34F}"/>
              </a:ext>
            </a:extLst>
          </p:cNvPr>
          <p:cNvSpPr>
            <a:spLocks noGrp="1"/>
          </p:cNvSpPr>
          <p:nvPr>
            <p:ph type="body" sz="quarter" idx="13" hasCustomPrompt="1"/>
          </p:nvPr>
        </p:nvSpPr>
        <p:spPr>
          <a:xfrm>
            <a:off x="3509305" y="1282424"/>
            <a:ext cx="3904775" cy="4611356"/>
          </a:xfrm>
        </p:spPr>
        <p:txBody>
          <a:bodyPr/>
          <a:lstStyle>
            <a:lvl1pPr>
              <a:defRPr sz="794"/>
            </a:lvl1pPr>
          </a:lstStyle>
          <a:p>
            <a:pPr lvl="0"/>
            <a:r>
              <a:rPr lang="en-GB"/>
              <a:t>Insert text here </a:t>
            </a:r>
          </a:p>
        </p:txBody>
      </p:sp>
      <p:sp>
        <p:nvSpPr>
          <p:cNvPr id="21" name="Text Placeholder 12">
            <a:extLst>
              <a:ext uri="{FF2B5EF4-FFF2-40B4-BE49-F238E27FC236}">
                <a16:creationId xmlns:a16="http://schemas.microsoft.com/office/drawing/2014/main" id="{3A63B2BC-C1AA-475D-80E8-6103AE001718}"/>
              </a:ext>
            </a:extLst>
          </p:cNvPr>
          <p:cNvSpPr>
            <a:spLocks noGrp="1"/>
          </p:cNvSpPr>
          <p:nvPr>
            <p:ph type="body" sz="quarter" idx="14" hasCustomPrompt="1"/>
          </p:nvPr>
        </p:nvSpPr>
        <p:spPr>
          <a:xfrm>
            <a:off x="7644375" y="1282424"/>
            <a:ext cx="3904775" cy="4611356"/>
          </a:xfrm>
        </p:spPr>
        <p:txBody>
          <a:bodyPr/>
          <a:lstStyle>
            <a:lvl1pPr>
              <a:defRPr sz="794"/>
            </a:lvl1pPr>
          </a:lstStyle>
          <a:p>
            <a:pPr lvl="0"/>
            <a:r>
              <a:rPr lang="en-GB"/>
              <a:t>Insert text here </a:t>
            </a:r>
          </a:p>
        </p:txBody>
      </p:sp>
      <p:sp>
        <p:nvSpPr>
          <p:cNvPr id="32" name="Rectangle 31">
            <a:extLst>
              <a:ext uri="{FF2B5EF4-FFF2-40B4-BE49-F238E27FC236}">
                <a16:creationId xmlns:a16="http://schemas.microsoft.com/office/drawing/2014/main" id="{6772873F-F098-49A1-B629-C8530BE60C1A}"/>
              </a:ext>
            </a:extLst>
          </p:cNvPr>
          <p:cNvSpPr/>
          <p:nvPr/>
        </p:nvSpPr>
        <p:spPr>
          <a:xfrm>
            <a:off x="1" y="0"/>
            <a:ext cx="3150086" cy="6858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33" name="Picture 32">
            <a:extLst>
              <a:ext uri="{FF2B5EF4-FFF2-40B4-BE49-F238E27FC236}">
                <a16:creationId xmlns:a16="http://schemas.microsoft.com/office/drawing/2014/main" id="{318A1954-C595-46AF-9BD0-C51B68380FC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34" name="Presentation Disclaimer">
            <a:extLst>
              <a:ext uri="{FF2B5EF4-FFF2-40B4-BE49-F238E27FC236}">
                <a16:creationId xmlns:a16="http://schemas.microsoft.com/office/drawing/2014/main" id="{04DDCE90-61F5-41F7-BCB5-5378C4B9A371}"/>
              </a:ext>
            </a:extLst>
          </p:cNvPr>
          <p:cNvSpPr txBox="1"/>
          <p:nvPr>
            <p:custDataLst>
              <p:tags r:id="rId3"/>
            </p:custDataLst>
          </p:nvPr>
        </p:nvSpPr>
        <p:spPr>
          <a:xfrm>
            <a:off x="548283" y="6087752"/>
            <a:ext cx="2376566" cy="108619"/>
          </a:xfrm>
          <a:prstGeom prst="rect">
            <a:avLst/>
          </a:prstGeom>
          <a:noFill/>
        </p:spPr>
        <p:txBody>
          <a:bodyPr wrap="square" lIns="0" tIns="0" rIns="0" bIns="0" rtlCol="0" anchor="b" anchorCtr="0">
            <a:spAutoFit/>
          </a:bodyPr>
          <a:lstStyle/>
          <a:p>
            <a:pPr algn="l"/>
            <a:r>
              <a:rPr lang="en-GB" sz="706" noProof="1">
                <a:solidFill>
                  <a:schemeClr val="bg2"/>
                </a:solidFill>
              </a:rPr>
              <a:t>Strictly private and confidential</a:t>
            </a:r>
          </a:p>
        </p:txBody>
      </p:sp>
      <p:sp>
        <p:nvSpPr>
          <p:cNvPr id="35" name="Text Placeholder 3">
            <a:extLst>
              <a:ext uri="{FF2B5EF4-FFF2-40B4-BE49-F238E27FC236}">
                <a16:creationId xmlns:a16="http://schemas.microsoft.com/office/drawing/2014/main" id="{011B331F-A998-4B93-9E0F-EFB8090DC593}"/>
              </a:ext>
            </a:extLst>
          </p:cNvPr>
          <p:cNvSpPr>
            <a:spLocks noGrp="1"/>
          </p:cNvSpPr>
          <p:nvPr>
            <p:ph type="body" sz="quarter" idx="10" hasCustomPrompt="1"/>
          </p:nvPr>
        </p:nvSpPr>
        <p:spPr>
          <a:xfrm>
            <a:off x="543225" y="1815353"/>
            <a:ext cx="237656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36" name="Text Placeholder 5">
            <a:extLst>
              <a:ext uri="{FF2B5EF4-FFF2-40B4-BE49-F238E27FC236}">
                <a16:creationId xmlns:a16="http://schemas.microsoft.com/office/drawing/2014/main" id="{012E331A-BF46-4F6E-9356-402F5B3A21AA}"/>
              </a:ext>
            </a:extLst>
          </p:cNvPr>
          <p:cNvSpPr>
            <a:spLocks noGrp="1"/>
          </p:cNvSpPr>
          <p:nvPr>
            <p:ph type="body" sz="quarter" idx="11" hasCustomPrompt="1"/>
          </p:nvPr>
        </p:nvSpPr>
        <p:spPr>
          <a:xfrm>
            <a:off x="543225" y="5230180"/>
            <a:ext cx="2376566" cy="149362"/>
          </a:xfrm>
        </p:spPr>
        <p:txBody>
          <a:bodyPr wrap="square" anchor="b" anchorCtr="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sp>
        <p:nvSpPr>
          <p:cNvPr id="41" name="Page Number">
            <a:extLst>
              <a:ext uri="{FF2B5EF4-FFF2-40B4-BE49-F238E27FC236}">
                <a16:creationId xmlns:a16="http://schemas.microsoft.com/office/drawing/2014/main" id="{F36165EE-352C-4AC1-98EF-60E59C280DC8}"/>
              </a:ext>
            </a:extLst>
          </p:cNvPr>
          <p:cNvSpPr txBox="1"/>
          <p:nvPr>
            <p:custDataLst>
              <p:tags r:id="rId4"/>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2" name="Section Footer">
            <a:extLst>
              <a:ext uri="{FF2B5EF4-FFF2-40B4-BE49-F238E27FC236}">
                <a16:creationId xmlns:a16="http://schemas.microsoft.com/office/drawing/2014/main" id="{DFD9E5A5-EA34-4218-A4A4-FD56114AF055}"/>
              </a:ext>
            </a:extLst>
          </p:cNvPr>
          <p:cNvSpPr txBox="1"/>
          <p:nvPr>
            <p:custDataLst>
              <p:tags r:id="rId5"/>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43" name="TextBox 42">
            <a:extLst>
              <a:ext uri="{FF2B5EF4-FFF2-40B4-BE49-F238E27FC236}">
                <a16:creationId xmlns:a16="http://schemas.microsoft.com/office/drawing/2014/main" id="{88601950-F3C4-4D1E-A940-993B2DC79208}"/>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44" name="Straight Connector 43">
            <a:extLst>
              <a:ext uri="{FF2B5EF4-FFF2-40B4-BE49-F238E27FC236}">
                <a16:creationId xmlns:a16="http://schemas.microsoft.com/office/drawing/2014/main" id="{ED043B99-C2CB-4B03-BAF5-2B73C672E9E7}"/>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Draft stamp">
            <a:extLst>
              <a:ext uri="{FF2B5EF4-FFF2-40B4-BE49-F238E27FC236}">
                <a16:creationId xmlns:a16="http://schemas.microsoft.com/office/drawing/2014/main" id="{0C7A3222-0907-4B8B-931D-CDF391F1375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7" name="HeaderTOCPlaceholder"/>
          <p:cNvSpPr txBox="1"/>
          <p:nvPr>
            <p:custDataLst>
              <p:tags r:id="rId7"/>
            </p:custDataLst>
          </p:nvPr>
        </p:nvSpPr>
        <p:spPr>
          <a:xfrm>
            <a:off x="3378647"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32176519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ER: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10906298"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6"/>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7"/>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2" name="Section Header">
            <a:extLst>
              <a:ext uri="{FF2B5EF4-FFF2-40B4-BE49-F238E27FC236}">
                <a16:creationId xmlns:a16="http://schemas.microsoft.com/office/drawing/2014/main" id="{42230C15-E0EF-475B-8C56-8180ED2FC022}"/>
              </a:ext>
            </a:extLst>
          </p:cNvPr>
          <p:cNvSpPr txBox="1"/>
          <p:nvPr>
            <p:custDataLst>
              <p:tags r:id="rId8"/>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39" name="Report Date">
            <a:extLst>
              <a:ext uri="{FF2B5EF4-FFF2-40B4-BE49-F238E27FC236}">
                <a16:creationId xmlns:a16="http://schemas.microsoft.com/office/drawing/2014/main" id="{B66C8374-F5C4-4996-A017-C80027E874A2}"/>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40" name="Page Number">
            <a:extLst>
              <a:ext uri="{FF2B5EF4-FFF2-40B4-BE49-F238E27FC236}">
                <a16:creationId xmlns:a16="http://schemas.microsoft.com/office/drawing/2014/main" id="{00FF76E0-A4C6-4C27-96DB-D6E6C03A892A}"/>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1" name="Presentation Disclaimer">
            <a:extLst>
              <a:ext uri="{FF2B5EF4-FFF2-40B4-BE49-F238E27FC236}">
                <a16:creationId xmlns:a16="http://schemas.microsoft.com/office/drawing/2014/main" id="{08D357CF-2BDC-45D2-B8A1-33CD43A8FB0F}"/>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43" name="Section Footer">
            <a:extLst>
              <a:ext uri="{FF2B5EF4-FFF2-40B4-BE49-F238E27FC236}">
                <a16:creationId xmlns:a16="http://schemas.microsoft.com/office/drawing/2014/main" id="{98D7C6BC-F4A4-4F9C-A8BF-E320D746F028}"/>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44" name="TextBox 43">
            <a:extLst>
              <a:ext uri="{FF2B5EF4-FFF2-40B4-BE49-F238E27FC236}">
                <a16:creationId xmlns:a16="http://schemas.microsoft.com/office/drawing/2014/main" id="{F93993BF-D529-458F-A6DB-FF58DC66AF25}"/>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46" name="Straight Connector 45">
            <a:extLst>
              <a:ext uri="{FF2B5EF4-FFF2-40B4-BE49-F238E27FC236}">
                <a16:creationId xmlns:a16="http://schemas.microsoft.com/office/drawing/2014/main" id="{A69A4775-51B2-49AF-BE77-A2DD117CCF43}"/>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17968DA8-EB16-47EE-839F-ED9A501B8C22}"/>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2026384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Large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721975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8035637" y="1815353"/>
            <a:ext cx="3506124"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176703B5-D291-496D-B26E-525DA3A36755}"/>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53D88DCA-117D-416D-82D2-2367ED968B27}"/>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D7336B48-3136-4E82-8B16-FBC22E8CAE0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90BED7C2-73F9-48D2-A750-793071C5693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951C7BF0-CFC4-4094-AA1F-87A845BB8958}"/>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72F61651-EB89-48D4-A6DE-27384110A6BB}"/>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F3DD7B9E-30C4-4159-BFEE-77F215166572}"/>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01864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ER: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7"/>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8"/>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3" name="Section Header">
            <a:extLst>
              <a:ext uri="{FF2B5EF4-FFF2-40B4-BE49-F238E27FC236}">
                <a16:creationId xmlns:a16="http://schemas.microsoft.com/office/drawing/2014/main" id="{7F444856-1130-46B5-A045-52E1A79FBBD1}"/>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5" name="Report Date">
            <a:extLst>
              <a:ext uri="{FF2B5EF4-FFF2-40B4-BE49-F238E27FC236}">
                <a16:creationId xmlns:a16="http://schemas.microsoft.com/office/drawing/2014/main" id="{B4D96363-5048-42D4-A625-7660951202C5}"/>
              </a:ext>
            </a:extLst>
          </p:cNvPr>
          <p:cNvSpPr txBox="1"/>
          <p:nvPr>
            <p:custDataLst>
              <p:tags r:id="rId10"/>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59EA6C49-2D7E-4FCB-8DA7-C1A79DF7B9BF}"/>
              </a:ext>
            </a:extLst>
          </p:cNvPr>
          <p:cNvSpPr txBox="1"/>
          <p:nvPr>
            <p:custDataLst>
              <p:tags r:id="rId11"/>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2072BD5A-7576-4E0D-976F-209E7B832A29}"/>
              </a:ext>
            </a:extLst>
          </p:cNvPr>
          <p:cNvSpPr txBox="1"/>
          <p:nvPr>
            <p:custDataLst>
              <p:tags r:id="rId12"/>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0698F7A3-ECB8-4459-B242-13A3C3A4C412}"/>
              </a:ext>
            </a:extLst>
          </p:cNvPr>
          <p:cNvSpPr txBox="1"/>
          <p:nvPr>
            <p:custDataLst>
              <p:tags r:id="rId13"/>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A0767C8B-73EA-42B7-9AA5-AE3E0CFA7F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DE701F06-0467-480F-B3C7-DDF18CF6675F}"/>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Draft stamp">
            <a:extLst>
              <a:ext uri="{FF2B5EF4-FFF2-40B4-BE49-F238E27FC236}">
                <a16:creationId xmlns:a16="http://schemas.microsoft.com/office/drawing/2014/main" id="{76E39CD5-987F-43AE-B084-849EE59B5399}"/>
              </a:ext>
            </a:extLst>
          </p:cNvPr>
          <p:cNvSpPr txBox="1"/>
          <p:nvPr>
            <p:custDataLst>
              <p:tags r:id="rId14"/>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13008750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9" name="Report Date">
            <a:extLst>
              <a:ext uri="{FF2B5EF4-FFF2-40B4-BE49-F238E27FC236}">
                <a16:creationId xmlns:a16="http://schemas.microsoft.com/office/drawing/2014/main" id="{64581E60-A0D4-4BC1-823A-2B418E8F2128}"/>
              </a:ext>
            </a:extLst>
          </p:cNvPr>
          <p:cNvSpPr txBox="1"/>
          <p:nvPr>
            <p:custDataLst>
              <p:tags r:id="rId7"/>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30" name="Page Number">
            <a:extLst>
              <a:ext uri="{FF2B5EF4-FFF2-40B4-BE49-F238E27FC236}">
                <a16:creationId xmlns:a16="http://schemas.microsoft.com/office/drawing/2014/main" id="{41779BE8-A4CC-4DAD-B153-54092D7A99B3}"/>
              </a:ext>
            </a:extLst>
          </p:cNvPr>
          <p:cNvSpPr txBox="1"/>
          <p:nvPr>
            <p:custDataLst>
              <p:tags r:id="rId8"/>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31" name="Presentation Disclaimer">
            <a:extLst>
              <a:ext uri="{FF2B5EF4-FFF2-40B4-BE49-F238E27FC236}">
                <a16:creationId xmlns:a16="http://schemas.microsoft.com/office/drawing/2014/main" id="{3C2E928F-BA23-4F06-9CC3-E08864FB8464}"/>
              </a:ext>
            </a:extLst>
          </p:cNvPr>
          <p:cNvSpPr txBox="1"/>
          <p:nvPr>
            <p:custDataLst>
              <p:tags r:id="rId9"/>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2" name="Section Footer">
            <a:extLst>
              <a:ext uri="{FF2B5EF4-FFF2-40B4-BE49-F238E27FC236}">
                <a16:creationId xmlns:a16="http://schemas.microsoft.com/office/drawing/2014/main" id="{8D2C9B10-5BE7-4AF8-BFF8-A3046EC4F941}"/>
              </a:ext>
            </a:extLst>
          </p:cNvPr>
          <p:cNvSpPr txBox="1"/>
          <p:nvPr>
            <p:custDataLst>
              <p:tags r:id="rId10"/>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3" name="TextBox 32">
            <a:extLst>
              <a:ext uri="{FF2B5EF4-FFF2-40B4-BE49-F238E27FC236}">
                <a16:creationId xmlns:a16="http://schemas.microsoft.com/office/drawing/2014/main" id="{687D8D29-B820-4A31-8280-EFE6F9FA98F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5" name="Straight Connector 34">
            <a:extLst>
              <a:ext uri="{FF2B5EF4-FFF2-40B4-BE49-F238E27FC236}">
                <a16:creationId xmlns:a16="http://schemas.microsoft.com/office/drawing/2014/main" id="{AB44D133-2D16-42A3-A3AD-A385F9C01A0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07642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A8AA2BC8-1024-45CC-9E76-6C0E7A21F6C0}"/>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A89B890D-CBFA-4D2C-BB10-C27690A9929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7CE9966-8074-4152-9D34-F90B6B3C28D5}"/>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FC58C329-4792-4816-A60A-3D2DCE9CA036}"/>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B5AFC1A6-EFD9-4BBD-86EB-FA5F92D972EA}"/>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A55CE69C-839D-427C-8F86-57156ADECE5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20165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ntent: Large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721975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8035637" y="1815353"/>
            <a:ext cx="3506124"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176703B5-D291-496D-B26E-525DA3A36755}"/>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53D88DCA-117D-416D-82D2-2367ED968B27}"/>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D7336B48-3136-4E82-8B16-FBC22E8CAE0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90BED7C2-73F9-48D2-A750-793071C5693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951C7BF0-CFC4-4094-AA1F-87A845BB8958}"/>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72F61651-EB89-48D4-A6DE-27384110A6BB}"/>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F3DD7B9E-30C4-4159-BFEE-77F215166572}"/>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11785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 Two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0" y="1815353"/>
            <a:ext cx="5360787" cy="2084294"/>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42850" y="4042186"/>
            <a:ext cx="5360787"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custDataLst>
              <p:tags r:id="rId3"/>
            </p:custDataLst>
          </p:nvPr>
        </p:nvSpPr>
        <p:spPr>
          <a:xfrm>
            <a:off x="6188364"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4" name="HeaderTOCPlaceholder"/>
          <p:cNvSpPr txBox="1"/>
          <p:nvPr>
            <p:custDataLst>
              <p:tags r:id="rId4"/>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5"/>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5" name="Date/Filepath" hidden="1"/>
          <p:cNvSpPr txBox="1"/>
          <p:nvPr>
            <p:custDataLst>
              <p:tags r:id="rId6"/>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0" name="Slide Tags" hidden="1"/>
          <p:cNvSpPr txBox="1"/>
          <p:nvPr>
            <p:custDataLst>
              <p:tags r:id="rId7"/>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4" name="Draft stamp">
            <a:extLst>
              <a:ext uri="{FF2B5EF4-FFF2-40B4-BE49-F238E27FC236}">
                <a16:creationId xmlns:a16="http://schemas.microsoft.com/office/drawing/2014/main" id="{98F467DD-E508-4793-B8C1-41188C0178BC}"/>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19" name="Report Date">
            <a:extLst>
              <a:ext uri="{FF2B5EF4-FFF2-40B4-BE49-F238E27FC236}">
                <a16:creationId xmlns:a16="http://schemas.microsoft.com/office/drawing/2014/main" id="{BDC234B1-84B0-44C3-BE38-95CEC0CA133D}"/>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1" name="Page Number">
            <a:extLst>
              <a:ext uri="{FF2B5EF4-FFF2-40B4-BE49-F238E27FC236}">
                <a16:creationId xmlns:a16="http://schemas.microsoft.com/office/drawing/2014/main" id="{B4A20242-E44A-4263-95BA-D1D5664EE2C3}"/>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3" name="Presentation Disclaimer">
            <a:extLst>
              <a:ext uri="{FF2B5EF4-FFF2-40B4-BE49-F238E27FC236}">
                <a16:creationId xmlns:a16="http://schemas.microsoft.com/office/drawing/2014/main" id="{885D6D75-46D2-4F31-9186-3D5BFAC2EBA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880E68C9-26BA-4DB5-861B-DC433ABD5EC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FDB6D62A-63C1-496F-864F-F8EA90700F13}"/>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EFA8B007-F8F4-4D8B-B7BA-C35A62369B11}"/>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1528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ent: Two top ">
    <p:spTree>
      <p:nvGrpSpPr>
        <p:cNvPr id="1" name=""/>
        <p:cNvGrpSpPr/>
        <p:nvPr/>
      </p:nvGrpSpPr>
      <p:grpSpPr>
        <a:xfrm>
          <a:off x="0" y="0"/>
          <a:ext cx="0" cy="0"/>
          <a:chOff x="0" y="0"/>
          <a:chExt cx="0" cy="0"/>
        </a:xfrm>
      </p:grpSpPr>
      <p:sp>
        <p:nvSpPr>
          <p:cNvPr id="48"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46"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31"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2"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9" name="Content Placeholder 2"/>
          <p:cNvSpPr>
            <a:spLocks noGrp="1"/>
          </p:cNvSpPr>
          <p:nvPr>
            <p:ph sz="quarter" idx="10"/>
            <p:custDataLst>
              <p:tags r:id="rId5"/>
            </p:custDataLst>
          </p:nvPr>
        </p:nvSpPr>
        <p:spPr>
          <a:xfrm>
            <a:off x="642851"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3"/>
          <p:cNvSpPr>
            <a:spLocks noGrp="1"/>
          </p:cNvSpPr>
          <p:nvPr>
            <p:ph sz="quarter" idx="11"/>
            <p:custDataLst>
              <p:tags r:id="rId6"/>
            </p:custDataLst>
          </p:nvPr>
        </p:nvSpPr>
        <p:spPr>
          <a:xfrm>
            <a:off x="6184669"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4"/>
          <p:cNvSpPr>
            <a:spLocks noGrp="1"/>
          </p:cNvSpPr>
          <p:nvPr>
            <p:ph sz="quarter" idx="12"/>
            <p:custDataLst>
              <p:tags r:id="rId7"/>
            </p:custDataLst>
          </p:nvPr>
        </p:nvSpPr>
        <p:spPr>
          <a:xfrm>
            <a:off x="642851" y="4043202"/>
            <a:ext cx="10906298"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Draft stamp">
            <a:extLst>
              <a:ext uri="{FF2B5EF4-FFF2-40B4-BE49-F238E27FC236}">
                <a16:creationId xmlns:a16="http://schemas.microsoft.com/office/drawing/2014/main" id="{E4D3AC3D-FB5C-4056-B3CE-C6F201747179}"/>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0" name="Report Date">
            <a:extLst>
              <a:ext uri="{FF2B5EF4-FFF2-40B4-BE49-F238E27FC236}">
                <a16:creationId xmlns:a16="http://schemas.microsoft.com/office/drawing/2014/main" id="{D8BE6AE2-E4FA-4A4C-9F4A-0801F27EF156}"/>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7" name="Page Number">
            <a:extLst>
              <a:ext uri="{FF2B5EF4-FFF2-40B4-BE49-F238E27FC236}">
                <a16:creationId xmlns:a16="http://schemas.microsoft.com/office/drawing/2014/main" id="{B132AC77-15B7-427D-9EDA-27E044A04CD8}"/>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Presentation Disclaimer">
            <a:extLst>
              <a:ext uri="{FF2B5EF4-FFF2-40B4-BE49-F238E27FC236}">
                <a16:creationId xmlns:a16="http://schemas.microsoft.com/office/drawing/2014/main" id="{C1ACCB47-82D5-446E-80FB-2690A95152B9}"/>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0" name="Section Footer">
            <a:extLst>
              <a:ext uri="{FF2B5EF4-FFF2-40B4-BE49-F238E27FC236}">
                <a16:creationId xmlns:a16="http://schemas.microsoft.com/office/drawing/2014/main" id="{9A254952-4576-4CFE-B61C-9E6180278110}"/>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2" name="TextBox 31">
            <a:extLst>
              <a:ext uri="{FF2B5EF4-FFF2-40B4-BE49-F238E27FC236}">
                <a16:creationId xmlns:a16="http://schemas.microsoft.com/office/drawing/2014/main" id="{2DDE2759-0B78-4BAC-9091-A3898FCC7E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3" name="Straight Connector 32">
            <a:extLst>
              <a:ext uri="{FF2B5EF4-FFF2-40B4-BE49-F238E27FC236}">
                <a16:creationId xmlns:a16="http://schemas.microsoft.com/office/drawing/2014/main" id="{9D178E40-037A-4FB9-9A78-25D7EB7BC066}"/>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21228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Report Date">
            <a:extLst>
              <a:ext uri="{FF2B5EF4-FFF2-40B4-BE49-F238E27FC236}">
                <a16:creationId xmlns:a16="http://schemas.microsoft.com/office/drawing/2014/main" id="{71242622-92E5-4577-9939-C23982B6F01C}"/>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5" name="Page Number">
            <a:extLst>
              <a:ext uri="{FF2B5EF4-FFF2-40B4-BE49-F238E27FC236}">
                <a16:creationId xmlns:a16="http://schemas.microsoft.com/office/drawing/2014/main" id="{7253FE5D-87D6-4F45-BF52-14884C4140B0}"/>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6" name="Presentation Disclaimer">
            <a:extLst>
              <a:ext uri="{FF2B5EF4-FFF2-40B4-BE49-F238E27FC236}">
                <a16:creationId xmlns:a16="http://schemas.microsoft.com/office/drawing/2014/main" id="{2DE48912-752E-4B28-992E-A8018FA045F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7" name="Section Footer">
            <a:extLst>
              <a:ext uri="{FF2B5EF4-FFF2-40B4-BE49-F238E27FC236}">
                <a16:creationId xmlns:a16="http://schemas.microsoft.com/office/drawing/2014/main" id="{24E13DC1-0CD8-4F00-BEB6-8ED480D16571}"/>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9" name="TextBox 28">
            <a:extLst>
              <a:ext uri="{FF2B5EF4-FFF2-40B4-BE49-F238E27FC236}">
                <a16:creationId xmlns:a16="http://schemas.microsoft.com/office/drawing/2014/main" id="{87E1B077-C346-4667-9422-134889A69A8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0" name="Straight Connector 29">
            <a:extLst>
              <a:ext uri="{FF2B5EF4-FFF2-40B4-BE49-F238E27FC236}">
                <a16:creationId xmlns:a16="http://schemas.microsoft.com/office/drawing/2014/main" id="{430B69CA-5FCE-4A4A-B144-701CC8BBBE64}"/>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Draft stamp">
            <a:extLst>
              <a:ext uri="{FF2B5EF4-FFF2-40B4-BE49-F238E27FC236}">
                <a16:creationId xmlns:a16="http://schemas.microsoft.com/office/drawing/2014/main" id="{8BA4733D-DD24-4E66-AB15-27D0B8AA9EB2}"/>
              </a:ext>
            </a:extLst>
          </p:cNvPr>
          <p:cNvSpPr txBox="1"/>
          <p:nvPr>
            <p:custDataLst>
              <p:tags r:id="rId1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3176282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ntent: Four">
    <p:spTree>
      <p:nvGrpSpPr>
        <p:cNvPr id="1" name=""/>
        <p:cNvGrpSpPr/>
        <p:nvPr/>
      </p:nvGrpSpPr>
      <p:grpSpPr>
        <a:xfrm>
          <a:off x="0" y="0"/>
          <a:ext cx="0" cy="0"/>
          <a:chOff x="0" y="0"/>
          <a:chExt cx="0" cy="0"/>
        </a:xfrm>
      </p:grpSpPr>
      <p:sp>
        <p:nvSpPr>
          <p:cNvPr id="53"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nvPr>
        </p:nvSpPr>
        <p:spPr>
          <a:xfrm>
            <a:off x="642851"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nvPr>
        </p:nvSpPr>
        <p:spPr>
          <a:xfrm>
            <a:off x="6184669"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nvPr>
        </p:nvSpPr>
        <p:spPr>
          <a:xfrm>
            <a:off x="642851"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0" name="Content Placeholder 5"/>
          <p:cNvSpPr>
            <a:spLocks noGrp="1"/>
          </p:cNvSpPr>
          <p:nvPr>
            <p:ph sz="quarter" idx="27"/>
          </p:nvPr>
        </p:nvSpPr>
        <p:spPr>
          <a:xfrm>
            <a:off x="6184669"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1"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6"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7"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Report Date">
            <a:extLst>
              <a:ext uri="{FF2B5EF4-FFF2-40B4-BE49-F238E27FC236}">
                <a16:creationId xmlns:a16="http://schemas.microsoft.com/office/drawing/2014/main" id="{C9AC37EA-A51B-4D19-8AFD-D5550BB1DBD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2" name="Page Number">
            <a:extLst>
              <a:ext uri="{FF2B5EF4-FFF2-40B4-BE49-F238E27FC236}">
                <a16:creationId xmlns:a16="http://schemas.microsoft.com/office/drawing/2014/main" id="{D5E4965D-0DB2-40AB-8C54-A02F73111BD4}"/>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D5F1A31-F3C3-4E8D-8EE5-5D802CF63C9C}"/>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8" name="Section Footer">
            <a:extLst>
              <a:ext uri="{FF2B5EF4-FFF2-40B4-BE49-F238E27FC236}">
                <a16:creationId xmlns:a16="http://schemas.microsoft.com/office/drawing/2014/main" id="{386FB611-2223-4501-B9AF-3FF472560856}"/>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6337E43E-8B9E-4332-A613-62823857903C}"/>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B42FC379-8CCB-4D1B-B59F-CD6E374799E5}"/>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2F22AEF7-CCE6-447D-A2ED-AE17E661B936}"/>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560140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p:custDataLst>
              <p:tags r:id="rId1"/>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5"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36590102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ntent: Title Only ">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12"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8"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8180128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wo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0" y="1815353"/>
            <a:ext cx="5360787" cy="2084294"/>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42850" y="4042186"/>
            <a:ext cx="5360787"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custDataLst>
              <p:tags r:id="rId3"/>
            </p:custDataLst>
          </p:nvPr>
        </p:nvSpPr>
        <p:spPr>
          <a:xfrm>
            <a:off x="6188364"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4" name="HeaderTOCPlaceholder"/>
          <p:cNvSpPr txBox="1"/>
          <p:nvPr>
            <p:custDataLst>
              <p:tags r:id="rId4"/>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5"/>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5" name="Date/Filepath" hidden="1"/>
          <p:cNvSpPr txBox="1"/>
          <p:nvPr>
            <p:custDataLst>
              <p:tags r:id="rId6"/>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0" name="Slide Tags" hidden="1"/>
          <p:cNvSpPr txBox="1"/>
          <p:nvPr>
            <p:custDataLst>
              <p:tags r:id="rId7"/>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4" name="Draft stamp">
            <a:extLst>
              <a:ext uri="{FF2B5EF4-FFF2-40B4-BE49-F238E27FC236}">
                <a16:creationId xmlns:a16="http://schemas.microsoft.com/office/drawing/2014/main" id="{98F467DD-E508-4793-B8C1-41188C0178BC}"/>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19" name="Report Date">
            <a:extLst>
              <a:ext uri="{FF2B5EF4-FFF2-40B4-BE49-F238E27FC236}">
                <a16:creationId xmlns:a16="http://schemas.microsoft.com/office/drawing/2014/main" id="{BDC234B1-84B0-44C3-BE38-95CEC0CA133D}"/>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1" name="Page Number">
            <a:extLst>
              <a:ext uri="{FF2B5EF4-FFF2-40B4-BE49-F238E27FC236}">
                <a16:creationId xmlns:a16="http://schemas.microsoft.com/office/drawing/2014/main" id="{B4A20242-E44A-4263-95BA-D1D5664EE2C3}"/>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3" name="Presentation Disclaimer">
            <a:extLst>
              <a:ext uri="{FF2B5EF4-FFF2-40B4-BE49-F238E27FC236}">
                <a16:creationId xmlns:a16="http://schemas.microsoft.com/office/drawing/2014/main" id="{885D6D75-46D2-4F31-9186-3D5BFAC2EBA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880E68C9-26BA-4DB5-861B-DC433ABD5EC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FDB6D62A-63C1-496F-864F-F8EA90700F13}"/>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EFA8B007-F8F4-4D8B-B7BA-C35A62369B11}"/>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536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ntent: Header Footer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p>
        </p:txBody>
      </p:sp>
      <p:sp>
        <p:nvSpPr>
          <p:cNvPr id="6"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878B0EBC-141B-4C4F-A362-F528990FC2B7}"/>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5" name="Page Number">
            <a:extLst>
              <a:ext uri="{FF2B5EF4-FFF2-40B4-BE49-F238E27FC236}">
                <a16:creationId xmlns:a16="http://schemas.microsoft.com/office/drawing/2014/main" id="{C9163938-2785-4D1F-BF6D-38BF33DF9B97}"/>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6" name="Presentation Disclaimer">
            <a:extLst>
              <a:ext uri="{FF2B5EF4-FFF2-40B4-BE49-F238E27FC236}">
                <a16:creationId xmlns:a16="http://schemas.microsoft.com/office/drawing/2014/main" id="{C7F05687-DF8A-4343-AC91-BC2675AFB87E}"/>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3" name="Section Footer">
            <a:extLst>
              <a:ext uri="{FF2B5EF4-FFF2-40B4-BE49-F238E27FC236}">
                <a16:creationId xmlns:a16="http://schemas.microsoft.com/office/drawing/2014/main" id="{DED794C3-4383-43AC-902C-5A450186D193}"/>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4" name="TextBox 23">
            <a:extLst>
              <a:ext uri="{FF2B5EF4-FFF2-40B4-BE49-F238E27FC236}">
                <a16:creationId xmlns:a16="http://schemas.microsoft.com/office/drawing/2014/main" id="{964F52D2-7367-4B0E-9D2D-29AFCA9CD2C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5" name="Straight Connector 24">
            <a:extLst>
              <a:ext uri="{FF2B5EF4-FFF2-40B4-BE49-F238E27FC236}">
                <a16:creationId xmlns:a16="http://schemas.microsoft.com/office/drawing/2014/main" id="{9F7E5360-4F8D-4FCD-B7AC-F798EC35A7A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Draft stamp">
            <a:extLst>
              <a:ext uri="{FF2B5EF4-FFF2-40B4-BE49-F238E27FC236}">
                <a16:creationId xmlns:a16="http://schemas.microsoft.com/office/drawing/2014/main" id="{1DF6D7B6-5867-4B92-8FBA-C62AA2356B05}"/>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0222120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Intro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6"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EA7A290B-C63D-405E-8ACC-CE7A7042C432}"/>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8" name="Page Number">
            <a:extLst>
              <a:ext uri="{FF2B5EF4-FFF2-40B4-BE49-F238E27FC236}">
                <a16:creationId xmlns:a16="http://schemas.microsoft.com/office/drawing/2014/main" id="{A58703A6-1313-434F-9F41-5C0717B2C451}"/>
              </a:ext>
            </a:extLst>
          </p:cNvPr>
          <p:cNvSpPr txBox="1"/>
          <p:nvPr>
            <p:custDataLst>
              <p:tags r:id="rId5"/>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9" name="Presentation Disclaimer">
            <a:extLst>
              <a:ext uri="{FF2B5EF4-FFF2-40B4-BE49-F238E27FC236}">
                <a16:creationId xmlns:a16="http://schemas.microsoft.com/office/drawing/2014/main" id="{FEED1EAE-54DA-4BFE-B8AA-01FAFBE1ABE8}"/>
              </a:ext>
            </a:extLst>
          </p:cNvPr>
          <p:cNvSpPr txBox="1"/>
          <p:nvPr>
            <p:custDataLst>
              <p:tags r:id="rId6"/>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1" name="Section Footer">
            <a:extLst>
              <a:ext uri="{FF2B5EF4-FFF2-40B4-BE49-F238E27FC236}">
                <a16:creationId xmlns:a16="http://schemas.microsoft.com/office/drawing/2014/main" id="{F1847CC5-B1D1-4474-9C3E-39FBF238FC90}"/>
              </a:ext>
            </a:extLst>
          </p:cNvPr>
          <p:cNvSpPr txBox="1"/>
          <p:nvPr>
            <p:custDataLst>
              <p:tags r:id="rId7"/>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3" name="TextBox 22">
            <a:extLst>
              <a:ext uri="{FF2B5EF4-FFF2-40B4-BE49-F238E27FC236}">
                <a16:creationId xmlns:a16="http://schemas.microsoft.com/office/drawing/2014/main" id="{82891E66-7DDE-4707-BC15-833A2E60B93F}"/>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4" name="Straight Connector 23">
            <a:extLst>
              <a:ext uri="{FF2B5EF4-FFF2-40B4-BE49-F238E27FC236}">
                <a16:creationId xmlns:a16="http://schemas.microsoft.com/office/drawing/2014/main" id="{E939BE09-0D2C-4954-8138-608BE1226AD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Draft stamp">
            <a:extLst>
              <a:ext uri="{FF2B5EF4-FFF2-40B4-BE49-F238E27FC236}">
                <a16:creationId xmlns:a16="http://schemas.microsoft.com/office/drawing/2014/main" id="{6C4C93B2-A619-441E-B329-F1D1D1339EBD}"/>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7621590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t a Glance ">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3513513"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At a glanc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Content Placeholder 2">
            <a:extLst>
              <a:ext uri="{FF2B5EF4-FFF2-40B4-BE49-F238E27FC236}">
                <a16:creationId xmlns:a16="http://schemas.microsoft.com/office/drawing/2014/main" id="{3EFFD349-10E5-48CF-8A59-EF1555B521B2}"/>
              </a:ext>
            </a:extLst>
          </p:cNvPr>
          <p:cNvSpPr>
            <a:spLocks noGrp="1"/>
          </p:cNvSpPr>
          <p:nvPr>
            <p:ph sz="quarter" idx="27" hasCustomPrompt="1"/>
            <p:custDataLst>
              <p:tags r:id="rId8"/>
            </p:custDataLst>
          </p:nvPr>
        </p:nvSpPr>
        <p:spPr>
          <a:xfrm>
            <a:off x="4339244" y="949817"/>
            <a:ext cx="7209905" cy="742278"/>
          </a:xfrm>
        </p:spPr>
        <p:txBody>
          <a:bodyPr tIns="0" bIns="0"/>
          <a:lstStyle>
            <a:lvl1pPr>
              <a:defRPr sz="882" b="1" i="0">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25" name="Report Date">
            <a:extLst>
              <a:ext uri="{FF2B5EF4-FFF2-40B4-BE49-F238E27FC236}">
                <a16:creationId xmlns:a16="http://schemas.microsoft.com/office/drawing/2014/main" id="{0665A064-6277-415D-A60B-2C406E27F0A5}"/>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3E3BCC40-17E6-40CE-86FB-031964A7D935}"/>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E93B3E1C-A734-4BF7-8D8A-7ABE20B0541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EAB395CC-B6E8-411B-AD9B-E9D9855FB07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34D888D0-1439-411F-967C-CAA5F572B50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8D75FF6B-0198-42AD-B231-B2AA3F0AE8FC}"/>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Draft stamp">
            <a:extLst>
              <a:ext uri="{FF2B5EF4-FFF2-40B4-BE49-F238E27FC236}">
                <a16:creationId xmlns:a16="http://schemas.microsoft.com/office/drawing/2014/main" id="{E209326F-C152-4F60-A83B-88FAC2D99544}"/>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64293811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Glossary">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Glossary</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BCDE7FFC-7693-4723-B753-B6E41BB1B5EA}"/>
              </a:ext>
            </a:extLst>
          </p:cNvPr>
          <p:cNvSpPr txBox="1"/>
          <p:nvPr>
            <p:custDataLst>
              <p:tags r:id="rId6"/>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3" name="Page Number">
            <a:extLst>
              <a:ext uri="{FF2B5EF4-FFF2-40B4-BE49-F238E27FC236}">
                <a16:creationId xmlns:a16="http://schemas.microsoft.com/office/drawing/2014/main" id="{48686681-E6DE-42F4-A1DD-218D21E6C1AC}"/>
              </a:ext>
            </a:extLst>
          </p:cNvPr>
          <p:cNvSpPr txBox="1"/>
          <p:nvPr>
            <p:custDataLst>
              <p:tags r:id="rId7"/>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4" name="Presentation Disclaimer">
            <a:extLst>
              <a:ext uri="{FF2B5EF4-FFF2-40B4-BE49-F238E27FC236}">
                <a16:creationId xmlns:a16="http://schemas.microsoft.com/office/drawing/2014/main" id="{3DD43CF5-DB97-4C55-B532-40D00A448FDC}"/>
              </a:ext>
            </a:extLst>
          </p:cNvPr>
          <p:cNvSpPr txBox="1"/>
          <p:nvPr>
            <p:custDataLst>
              <p:tags r:id="rId8"/>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5" name="Section Footer">
            <a:extLst>
              <a:ext uri="{FF2B5EF4-FFF2-40B4-BE49-F238E27FC236}">
                <a16:creationId xmlns:a16="http://schemas.microsoft.com/office/drawing/2014/main" id="{21726509-E513-4245-AE69-0956E3B47115}"/>
              </a:ext>
            </a:extLst>
          </p:cNvPr>
          <p:cNvSpPr txBox="1"/>
          <p:nvPr>
            <p:custDataLst>
              <p:tags r:id="rId9"/>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6" name="TextBox 25">
            <a:extLst>
              <a:ext uri="{FF2B5EF4-FFF2-40B4-BE49-F238E27FC236}">
                <a16:creationId xmlns:a16="http://schemas.microsoft.com/office/drawing/2014/main" id="{A174265E-D6B4-4307-BBAE-41A376249A96}"/>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7" name="Straight Connector 26">
            <a:extLst>
              <a:ext uri="{FF2B5EF4-FFF2-40B4-BE49-F238E27FC236}">
                <a16:creationId xmlns:a16="http://schemas.microsoft.com/office/drawing/2014/main" id="{62174D3C-422F-4C24-91E7-4C14614D41BB}"/>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Draft stamp">
            <a:extLst>
              <a:ext uri="{FF2B5EF4-FFF2-40B4-BE49-F238E27FC236}">
                <a16:creationId xmlns:a16="http://schemas.microsoft.com/office/drawing/2014/main" id="{B9EC7613-0765-4C3E-A317-ECEF6A7225CE}"/>
              </a:ext>
            </a:extLst>
          </p:cNvPr>
          <p:cNvSpPr txBox="1"/>
          <p:nvPr>
            <p:custDataLst>
              <p:tags r:id="rId10"/>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5716152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accent1"/>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6"/>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4FBEF6FA-A0C7-46EC-AFF5-9AFA4782851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B864BC2B-A74D-467D-99EB-1EE062BBD3CF}"/>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272765455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Divider 1">
    <p:bg>
      <p:bgPr>
        <a:solidFill>
          <a:schemeClr val="accent6"/>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1"/>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0E108681-ED46-4FCD-AF9B-B0F12DB82361}"/>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9FB0E485-E0C8-4B7D-BB20-D326D12F239D}"/>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225458746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Appendix Divider">
    <p:bg>
      <p:bgPr>
        <a:solidFill>
          <a:schemeClr val="accent1"/>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6"/>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784D724-50E8-40C9-83D5-3D08BB1550D7}"/>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DB77E1-10C5-41A7-B534-2D41309DC8D7}"/>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26585221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Appendix Divider 1">
    <p:bg>
      <p:bgPr>
        <a:solidFill>
          <a:schemeClr val="accent6"/>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4"/>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2C19DD9-BA46-4527-91D3-9377718D0CB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1998C4-AD53-42B5-93F1-BC4AA20A5246}"/>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340813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09600" y="457200"/>
            <a:ext cx="5309062" cy="2517289"/>
          </a:xfrm>
        </p:spPr>
        <p:txBody>
          <a:bodyPr vert="horz" lIns="0" tIns="0" rIns="0" bIns="0" rtlCol="0" anchor="b" anchorCtr="0">
            <a:noAutofit/>
          </a:bodyPr>
          <a:lstStyle>
            <a:lvl1pPr algn="l" defTabSz="899010" rtl="0" eaLnBrk="1" latinLnBrk="0" hangingPunct="1">
              <a:spcBef>
                <a:spcPct val="0"/>
              </a:spcBef>
              <a:buNone/>
              <a:defRPr lang="en-GB" sz="4236"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Thank you</a:t>
            </a:r>
            <a:endParaRPr lang="en-GB"/>
          </a:p>
        </p:txBody>
      </p:sp>
      <p:sp>
        <p:nvSpPr>
          <p:cNvPr id="8" name="Slide Tags" hidden="1"/>
          <p:cNvSpPr txBox="1"/>
          <p:nvPr>
            <p:custDataLst>
              <p:tags r:id="rId1"/>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5" name="Rectangle 4">
            <a:extLst>
              <a:ext uri="{FF2B5EF4-FFF2-40B4-BE49-F238E27FC236}">
                <a16:creationId xmlns:a16="http://schemas.microsoft.com/office/drawing/2014/main" id="{AAF4687C-57A8-453A-A049-0D4DDFEA3263}"/>
              </a:ext>
            </a:extLst>
          </p:cNvPr>
          <p:cNvSpPr/>
          <p:nvPr/>
        </p:nvSpPr>
        <p:spPr bwMode="hidden">
          <a:xfrm>
            <a:off x="0" y="4940855"/>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10"/>
          </a:p>
        </p:txBody>
      </p:sp>
      <p:sp>
        <p:nvSpPr>
          <p:cNvPr id="3" name="Text Placeholder 2">
            <a:extLst>
              <a:ext uri="{FF2B5EF4-FFF2-40B4-BE49-F238E27FC236}">
                <a16:creationId xmlns:a16="http://schemas.microsoft.com/office/drawing/2014/main" id="{41C2BBAF-6A4B-47CB-BD75-5168D1A27556}"/>
              </a:ext>
            </a:extLst>
          </p:cNvPr>
          <p:cNvSpPr>
            <a:spLocks noGrp="1"/>
          </p:cNvSpPr>
          <p:nvPr>
            <p:ph type="body" sz="quarter" idx="10" hasCustomPrompt="1"/>
          </p:nvPr>
        </p:nvSpPr>
        <p:spPr>
          <a:xfrm>
            <a:off x="609600" y="5212080"/>
            <a:ext cx="10906298" cy="13716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gal]</a:t>
            </a:r>
          </a:p>
        </p:txBody>
      </p:sp>
    </p:spTree>
    <p:extLst>
      <p:ext uri="{BB962C8B-B14F-4D97-AF65-F5344CB8AC3E}">
        <p14:creationId xmlns:p14="http://schemas.microsoft.com/office/powerpoint/2010/main" val="12042286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15" name="Picture Placeholder 9">
            <a:extLst>
              <a:ext uri="{FF2B5EF4-FFF2-40B4-BE49-F238E27FC236}">
                <a16:creationId xmlns:a16="http://schemas.microsoft.com/office/drawing/2014/main" id="{88EEE73C-8877-43D1-86A9-69E953630E6B}"/>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2" name="Freeform: Shape 11">
            <a:extLst>
              <a:ext uri="{FF2B5EF4-FFF2-40B4-BE49-F238E27FC236}">
                <a16:creationId xmlns:a16="http://schemas.microsoft.com/office/drawing/2014/main" id="{12869856-6182-4B8D-938C-EBFCD02C87F2}"/>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36254741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tags" Target="../tags/tag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ags" Target="../tags/tag3.xml"/><Relationship Id="rId8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tags" Target="../tags/tag246.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tags" Target="../tags/tag245.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41" Type="http://schemas.openxmlformats.org/officeDocument/2006/relationships/image" Target="../media/image1.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tags" Target="../tags/tag244.xml"/><Relationship Id="rId40" Type="http://schemas.openxmlformats.org/officeDocument/2006/relationships/oleObject" Target="../embeddings/oleObject3.bin"/><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theme" Target="../theme/theme2.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oleObject" Target="../embeddings/oleObject8.bin"/><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tags" Target="../tags/tag48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tags" Target="../tags/tag486.xml"/><Relationship Id="rId40" Type="http://schemas.openxmlformats.org/officeDocument/2006/relationships/image" Target="../media/image1.emf"/><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tags" Target="../tags/tag485.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image" Target="../media/image1.emf"/><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theme" Target="../theme/theme4.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oleObject" Target="../embeddings/oleObject13.bin"/><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tags" Target="../tags/tag728.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tags" Target="../tags/tag727.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tags" Target="../tags/tag7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image" Target="../media/image9.emf"/><Relationship Id="rId2" Type="http://schemas.openxmlformats.org/officeDocument/2006/relationships/slideLayout" Target="../slideLayouts/slideLayout179.xml"/><Relationship Id="rId16" Type="http://schemas.openxmlformats.org/officeDocument/2006/relationships/oleObject" Target="../embeddings/oleObject18.bin"/><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tags" Target="../tags/tag967.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9" Type="http://schemas.openxmlformats.org/officeDocument/2006/relationships/slideLayout" Target="../slideLayouts/slideLayout229.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34" Type="http://schemas.openxmlformats.org/officeDocument/2006/relationships/slideLayout" Target="../slideLayouts/slideLayout224.xml"/><Relationship Id="rId42" Type="http://schemas.openxmlformats.org/officeDocument/2006/relationships/slideLayout" Target="../slideLayouts/slideLayout232.xml"/><Relationship Id="rId47" Type="http://schemas.openxmlformats.org/officeDocument/2006/relationships/slideLayout" Target="../slideLayouts/slideLayout237.xml"/><Relationship Id="rId50" Type="http://schemas.openxmlformats.org/officeDocument/2006/relationships/slideLayout" Target="../slideLayouts/slideLayout240.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33" Type="http://schemas.openxmlformats.org/officeDocument/2006/relationships/slideLayout" Target="../slideLayouts/slideLayout223.xml"/><Relationship Id="rId38" Type="http://schemas.openxmlformats.org/officeDocument/2006/relationships/slideLayout" Target="../slideLayouts/slideLayout228.xml"/><Relationship Id="rId46" Type="http://schemas.openxmlformats.org/officeDocument/2006/relationships/slideLayout" Target="../slideLayouts/slideLayout236.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41" Type="http://schemas.openxmlformats.org/officeDocument/2006/relationships/slideLayout" Target="../slideLayouts/slideLayout231.xml"/><Relationship Id="rId54" Type="http://schemas.openxmlformats.org/officeDocument/2006/relationships/image" Target="../media/image10.emf"/><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32" Type="http://schemas.openxmlformats.org/officeDocument/2006/relationships/slideLayout" Target="../slideLayouts/slideLayout222.xml"/><Relationship Id="rId37" Type="http://schemas.openxmlformats.org/officeDocument/2006/relationships/slideLayout" Target="../slideLayouts/slideLayout227.xml"/><Relationship Id="rId40" Type="http://schemas.openxmlformats.org/officeDocument/2006/relationships/slideLayout" Target="../slideLayouts/slideLayout230.xml"/><Relationship Id="rId45" Type="http://schemas.openxmlformats.org/officeDocument/2006/relationships/slideLayout" Target="../slideLayouts/slideLayout235.xml"/><Relationship Id="rId53" Type="http://schemas.openxmlformats.org/officeDocument/2006/relationships/oleObject" Target="../embeddings/oleObject19.bin"/><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36" Type="http://schemas.openxmlformats.org/officeDocument/2006/relationships/slideLayout" Target="../slideLayouts/slideLayout226.xml"/><Relationship Id="rId49" Type="http://schemas.openxmlformats.org/officeDocument/2006/relationships/slideLayout" Target="../slideLayouts/slideLayout239.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31" Type="http://schemas.openxmlformats.org/officeDocument/2006/relationships/slideLayout" Target="../slideLayouts/slideLayout221.xml"/><Relationship Id="rId44" Type="http://schemas.openxmlformats.org/officeDocument/2006/relationships/slideLayout" Target="../slideLayouts/slideLayout234.xml"/><Relationship Id="rId52" Type="http://schemas.openxmlformats.org/officeDocument/2006/relationships/tags" Target="../tags/tag968.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slideLayout" Target="../slideLayouts/slideLayout220.xml"/><Relationship Id="rId35" Type="http://schemas.openxmlformats.org/officeDocument/2006/relationships/slideLayout" Target="../slideLayouts/slideLayout225.xml"/><Relationship Id="rId43" Type="http://schemas.openxmlformats.org/officeDocument/2006/relationships/slideLayout" Target="../slideLayouts/slideLayout233.xml"/><Relationship Id="rId48" Type="http://schemas.openxmlformats.org/officeDocument/2006/relationships/slideLayout" Target="../slideLayouts/slideLayout238.xml"/><Relationship Id="rId8" Type="http://schemas.openxmlformats.org/officeDocument/2006/relationships/slideLayout" Target="../slideLayouts/slideLayout198.xml"/><Relationship Id="rId5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9" Type="http://schemas.openxmlformats.org/officeDocument/2006/relationships/slideLayout" Target="../slideLayouts/slideLayout279.xml"/><Relationship Id="rId21" Type="http://schemas.openxmlformats.org/officeDocument/2006/relationships/slideLayout" Target="../slideLayouts/slideLayout261.xml"/><Relationship Id="rId34" Type="http://schemas.openxmlformats.org/officeDocument/2006/relationships/slideLayout" Target="../slideLayouts/slideLayout274.xml"/><Relationship Id="rId42" Type="http://schemas.openxmlformats.org/officeDocument/2006/relationships/slideLayout" Target="../slideLayouts/slideLayout282.xml"/><Relationship Id="rId47" Type="http://schemas.openxmlformats.org/officeDocument/2006/relationships/slideLayout" Target="../slideLayouts/slideLayout287.xml"/><Relationship Id="rId50" Type="http://schemas.openxmlformats.org/officeDocument/2006/relationships/slideLayout" Target="../slideLayouts/slideLayout290.xml"/><Relationship Id="rId55" Type="http://schemas.openxmlformats.org/officeDocument/2006/relationships/slideLayout" Target="../slideLayouts/slideLayout295.xml"/><Relationship Id="rId63" Type="http://schemas.openxmlformats.org/officeDocument/2006/relationships/slideLayout" Target="../slideLayouts/slideLayout303.xml"/><Relationship Id="rId68" Type="http://schemas.openxmlformats.org/officeDocument/2006/relationships/theme" Target="../theme/theme7.xml"/><Relationship Id="rId7" Type="http://schemas.openxmlformats.org/officeDocument/2006/relationships/slideLayout" Target="../slideLayouts/slideLayout247.xml"/><Relationship Id="rId71" Type="http://schemas.openxmlformats.org/officeDocument/2006/relationships/image" Target="../media/image9.emf"/><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9" Type="http://schemas.openxmlformats.org/officeDocument/2006/relationships/slideLayout" Target="../slideLayouts/slideLayout269.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32" Type="http://schemas.openxmlformats.org/officeDocument/2006/relationships/slideLayout" Target="../slideLayouts/slideLayout272.xml"/><Relationship Id="rId37" Type="http://schemas.openxmlformats.org/officeDocument/2006/relationships/slideLayout" Target="../slideLayouts/slideLayout277.xml"/><Relationship Id="rId40" Type="http://schemas.openxmlformats.org/officeDocument/2006/relationships/slideLayout" Target="../slideLayouts/slideLayout280.xml"/><Relationship Id="rId45" Type="http://schemas.openxmlformats.org/officeDocument/2006/relationships/slideLayout" Target="../slideLayouts/slideLayout285.xml"/><Relationship Id="rId53" Type="http://schemas.openxmlformats.org/officeDocument/2006/relationships/slideLayout" Target="../slideLayouts/slideLayout293.xml"/><Relationship Id="rId58" Type="http://schemas.openxmlformats.org/officeDocument/2006/relationships/slideLayout" Target="../slideLayouts/slideLayout298.xml"/><Relationship Id="rId66" Type="http://schemas.openxmlformats.org/officeDocument/2006/relationships/slideLayout" Target="../slideLayouts/slideLayout306.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slideLayout" Target="../slideLayouts/slideLayout268.xml"/><Relationship Id="rId36" Type="http://schemas.openxmlformats.org/officeDocument/2006/relationships/slideLayout" Target="../slideLayouts/slideLayout276.xml"/><Relationship Id="rId49" Type="http://schemas.openxmlformats.org/officeDocument/2006/relationships/slideLayout" Target="../slideLayouts/slideLayout289.xml"/><Relationship Id="rId57" Type="http://schemas.openxmlformats.org/officeDocument/2006/relationships/slideLayout" Target="../slideLayouts/slideLayout297.xml"/><Relationship Id="rId61" Type="http://schemas.openxmlformats.org/officeDocument/2006/relationships/slideLayout" Target="../slideLayouts/slideLayout301.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31" Type="http://schemas.openxmlformats.org/officeDocument/2006/relationships/slideLayout" Target="../slideLayouts/slideLayout271.xml"/><Relationship Id="rId44" Type="http://schemas.openxmlformats.org/officeDocument/2006/relationships/slideLayout" Target="../slideLayouts/slideLayout284.xml"/><Relationship Id="rId52" Type="http://schemas.openxmlformats.org/officeDocument/2006/relationships/slideLayout" Target="../slideLayouts/slideLayout292.xml"/><Relationship Id="rId60" Type="http://schemas.openxmlformats.org/officeDocument/2006/relationships/slideLayout" Target="../slideLayouts/slideLayout300.xml"/><Relationship Id="rId65" Type="http://schemas.openxmlformats.org/officeDocument/2006/relationships/slideLayout" Target="../slideLayouts/slideLayout305.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 Id="rId30" Type="http://schemas.openxmlformats.org/officeDocument/2006/relationships/slideLayout" Target="../slideLayouts/slideLayout270.xml"/><Relationship Id="rId35" Type="http://schemas.openxmlformats.org/officeDocument/2006/relationships/slideLayout" Target="../slideLayouts/slideLayout275.xml"/><Relationship Id="rId43" Type="http://schemas.openxmlformats.org/officeDocument/2006/relationships/slideLayout" Target="../slideLayouts/slideLayout283.xml"/><Relationship Id="rId48" Type="http://schemas.openxmlformats.org/officeDocument/2006/relationships/slideLayout" Target="../slideLayouts/slideLayout288.xml"/><Relationship Id="rId56" Type="http://schemas.openxmlformats.org/officeDocument/2006/relationships/slideLayout" Target="../slideLayouts/slideLayout296.xml"/><Relationship Id="rId64" Type="http://schemas.openxmlformats.org/officeDocument/2006/relationships/slideLayout" Target="../slideLayouts/slideLayout304.xml"/><Relationship Id="rId69" Type="http://schemas.openxmlformats.org/officeDocument/2006/relationships/tags" Target="../tags/tag969.xml"/><Relationship Id="rId8" Type="http://schemas.openxmlformats.org/officeDocument/2006/relationships/slideLayout" Target="../slideLayouts/slideLayout248.xml"/><Relationship Id="rId51" Type="http://schemas.openxmlformats.org/officeDocument/2006/relationships/slideLayout" Target="../slideLayouts/slideLayout291.xml"/><Relationship Id="rId3" Type="http://schemas.openxmlformats.org/officeDocument/2006/relationships/slideLayout" Target="../slideLayouts/slideLayout243.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33" Type="http://schemas.openxmlformats.org/officeDocument/2006/relationships/slideLayout" Target="../slideLayouts/slideLayout273.xml"/><Relationship Id="rId38" Type="http://schemas.openxmlformats.org/officeDocument/2006/relationships/slideLayout" Target="../slideLayouts/slideLayout278.xml"/><Relationship Id="rId46" Type="http://schemas.openxmlformats.org/officeDocument/2006/relationships/slideLayout" Target="../slideLayouts/slideLayout286.xml"/><Relationship Id="rId59" Type="http://schemas.openxmlformats.org/officeDocument/2006/relationships/slideLayout" Target="../slideLayouts/slideLayout299.xml"/><Relationship Id="rId67" Type="http://schemas.openxmlformats.org/officeDocument/2006/relationships/slideLayout" Target="../slideLayouts/slideLayout307.xml"/><Relationship Id="rId20" Type="http://schemas.openxmlformats.org/officeDocument/2006/relationships/slideLayout" Target="../slideLayouts/slideLayout260.xml"/><Relationship Id="rId41" Type="http://schemas.openxmlformats.org/officeDocument/2006/relationships/slideLayout" Target="../slideLayouts/slideLayout281.xml"/><Relationship Id="rId54" Type="http://schemas.openxmlformats.org/officeDocument/2006/relationships/slideLayout" Target="../slideLayouts/slideLayout294.xml"/><Relationship Id="rId62" Type="http://schemas.openxmlformats.org/officeDocument/2006/relationships/slideLayout" Target="../slideLayouts/slideLayout302.xml"/><Relationship Id="rId70"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7"/>
            </p:custDataLst>
            <p:extLst>
              <p:ext uri="{D42A27DB-BD31-4B8C-83A1-F6EECF244321}">
                <p14:modId xmlns:p14="http://schemas.microsoft.com/office/powerpoint/2010/main" val="1929318432"/>
              </p:ext>
            </p:ext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80" imgW="415" imgH="416" progId="TCLayout.ActiveDocument.1">
                  <p:embed/>
                </p:oleObj>
              </mc:Choice>
              <mc:Fallback>
                <p:oleObj name="think-cell Slide" r:id="rId80" imgW="415" imgH="416" progId="TCLayout.ActiveDocument.1">
                  <p:embed/>
                  <p:pic>
                    <p:nvPicPr>
                      <p:cNvPr id="8" name="Object 7" hidden="1"/>
                      <p:cNvPicPr/>
                      <p:nvPr/>
                    </p:nvPicPr>
                    <p:blipFill>
                      <a:blip r:embed="rId81"/>
                      <a:stretch>
                        <a:fillRect/>
                      </a:stretch>
                    </p:blipFill>
                    <p:spPr>
                      <a:xfrm>
                        <a:off x="1925" y="1401"/>
                        <a:ext cx="1925" cy="1401"/>
                      </a:xfrm>
                      <a:prstGeom prst="rect">
                        <a:avLst/>
                      </a:prstGeom>
                    </p:spPr>
                  </p:pic>
                </p:oleObj>
              </mc:Fallback>
            </mc:AlternateContent>
          </a:graphicData>
        </a:graphic>
      </p:graphicFrame>
      <p:sp>
        <p:nvSpPr>
          <p:cNvPr id="7" name="Rectangle 6" hidden="1"/>
          <p:cNvSpPr/>
          <p:nvPr>
            <p:custDataLst>
              <p:tags r:id="rId78"/>
            </p:custDataLst>
          </p:nvPr>
        </p:nvSpPr>
        <p:spPr>
          <a:xfrm>
            <a:off x="0" y="0"/>
            <a:ext cx="192424" cy="140074"/>
          </a:xfrm>
          <a:prstGeom prst="rect">
            <a:avLst/>
          </a:prstGeom>
          <a:solidFill>
            <a:srgbClr val="FFFFFF"/>
          </a:solidFill>
          <a:ln w="6350">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GB" sz="2471" b="1" i="0" baseline="0">
              <a:latin typeface="Georgia" panose="02040502050405020303" pitchFamily="18" charset="0"/>
              <a:ea typeface="+mj-ea"/>
              <a:cs typeface="+mj-cs"/>
              <a:sym typeface="Georgia" panose="02040502050405020303" pitchFamily="18" charset="0"/>
            </a:endParaRPr>
          </a:p>
        </p:txBody>
      </p:sp>
      <p:grpSp>
        <p:nvGrpSpPr>
          <p:cNvPr id="110" name="Grid" hidden="1"/>
          <p:cNvGrpSpPr/>
          <p:nvPr>
            <p:custDataLst>
              <p:tags r:id="rId79"/>
            </p:custDataLst>
          </p:nvPr>
        </p:nvGrpSpPr>
        <p:grpSpPr>
          <a:xfrm>
            <a:off x="642851" y="540572"/>
            <a:ext cx="10906298" cy="6043108"/>
            <a:chOff x="530352" y="612648"/>
            <a:chExt cx="8997696" cy="6848856"/>
          </a:xfrm>
        </p:grpSpPr>
        <p:grpSp>
          <p:nvGrpSpPr>
            <p:cNvPr id="108" name="Group 107" hidden="1"/>
            <p:cNvGrpSpPr/>
            <p:nvPr/>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7" name="Group 106" hidden="1"/>
            <p:cNvGrpSpPr/>
            <p:nvPr/>
          </p:nvGrpSpPr>
          <p:grpSpPr>
            <a:xfrm>
              <a:off x="530352" y="1066800"/>
              <a:ext cx="8997696" cy="835152"/>
              <a:chOff x="530352" y="1066800"/>
              <a:chExt cx="8997696" cy="835152"/>
            </a:xfrm>
          </p:grpSpPr>
          <p:sp>
            <p:nvSpPr>
              <p:cNvPr id="45"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grpSp>
        <p:sp>
          <p:nvSpPr>
            <p:cNvPr id="57"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a:solidFill>
                  <a:schemeClr val="folHlink"/>
                </a:solidFill>
                <a:cs typeface="Arial" charset="0"/>
              </a:endParaRPr>
            </a:p>
          </p:txBody>
        </p:sp>
        <p:grpSp>
          <p:nvGrpSpPr>
            <p:cNvPr id="106" name="Group 600" hidden="1"/>
            <p:cNvGrpSpPr/>
            <p:nvPr/>
          </p:nvGrpSpPr>
          <p:grpSpPr>
            <a:xfrm>
              <a:off x="533400" y="6245352"/>
              <a:ext cx="8994648" cy="688848"/>
              <a:chOff x="533400" y="6013704"/>
              <a:chExt cx="8994648" cy="688848"/>
            </a:xfrm>
          </p:grpSpPr>
          <p:sp>
            <p:nvSpPr>
              <p:cNvPr id="50"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1"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5" name="Group 500" hidden="1"/>
            <p:cNvGrpSpPr/>
            <p:nvPr/>
          </p:nvGrpSpPr>
          <p:grpSpPr>
            <a:xfrm>
              <a:off x="533400" y="5407152"/>
              <a:ext cx="8994648" cy="688848"/>
              <a:chOff x="533400" y="5026152"/>
              <a:chExt cx="8994648" cy="688848"/>
            </a:xfrm>
          </p:grpSpPr>
          <p:sp>
            <p:nvSpPr>
              <p:cNvPr id="52"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3"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4" name="Group 400" hidden="1"/>
            <p:cNvGrpSpPr/>
            <p:nvPr/>
          </p:nvGrpSpPr>
          <p:grpSpPr>
            <a:xfrm>
              <a:off x="533400" y="4568952"/>
              <a:ext cx="8994648" cy="688848"/>
              <a:chOff x="533400" y="4038600"/>
              <a:chExt cx="8994648" cy="688848"/>
            </a:xfrm>
          </p:grpSpPr>
          <p:sp>
            <p:nvSpPr>
              <p:cNvPr id="54"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4"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3" name="Group 300" hidden="1"/>
            <p:cNvGrpSpPr/>
            <p:nvPr/>
          </p:nvGrpSpPr>
          <p:grpSpPr>
            <a:xfrm>
              <a:off x="533400" y="3730752"/>
              <a:ext cx="8994648" cy="688848"/>
              <a:chOff x="533400" y="3041904"/>
              <a:chExt cx="8994648" cy="688848"/>
            </a:xfrm>
          </p:grpSpPr>
          <p:sp>
            <p:nvSpPr>
              <p:cNvPr id="65"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0"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1" name="Group 200" hidden="1"/>
            <p:cNvGrpSpPr/>
            <p:nvPr/>
          </p:nvGrpSpPr>
          <p:grpSpPr>
            <a:xfrm>
              <a:off x="533400" y="2892552"/>
              <a:ext cx="8994648" cy="688848"/>
              <a:chOff x="533400" y="1066800"/>
              <a:chExt cx="8994648" cy="688848"/>
            </a:xfrm>
          </p:grpSpPr>
          <p:sp>
            <p:nvSpPr>
              <p:cNvPr id="77"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2"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2" name="Group 100" hidden="1"/>
            <p:cNvGrpSpPr/>
            <p:nvPr/>
          </p:nvGrpSpPr>
          <p:grpSpPr>
            <a:xfrm>
              <a:off x="533400" y="2054352"/>
              <a:ext cx="8994648" cy="688848"/>
              <a:chOff x="533400" y="2054352"/>
              <a:chExt cx="8994648" cy="688848"/>
            </a:xfrm>
          </p:grpSpPr>
          <p:sp>
            <p:nvSpPr>
              <p:cNvPr id="71"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6"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sp>
        <p:nvSpPr>
          <p:cNvPr id="2" name="Title Placeholder 1"/>
          <p:cNvSpPr>
            <a:spLocks noGrp="1"/>
          </p:cNvSpPr>
          <p:nvPr>
            <p:ph type="title"/>
          </p:nvPr>
        </p:nvSpPr>
        <p:spPr>
          <a:xfrm>
            <a:off x="642851" y="943983"/>
            <a:ext cx="10906298" cy="742278"/>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642851" y="1815353"/>
            <a:ext cx="10906298" cy="430729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a:xfrm>
            <a:off x="9509760" y="625288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r>
              <a:rPr lang="en-US"/>
              <a:t>Sep 23</a:t>
            </a:r>
          </a:p>
        </p:txBody>
      </p:sp>
      <p:sp>
        <p:nvSpPr>
          <p:cNvPr id="5" name="Footer Placeholder 4"/>
          <p:cNvSpPr>
            <a:spLocks noGrp="1"/>
          </p:cNvSpPr>
          <p:nvPr>
            <p:ph type="ftr" sz="quarter" idx="3"/>
          </p:nvPr>
        </p:nvSpPr>
        <p:spPr>
          <a:xfrm>
            <a:off x="642851" y="6252882"/>
            <a:ext cx="7004858" cy="137160"/>
          </a:xfrm>
          <a:prstGeom prst="rect">
            <a:avLst/>
          </a:prstGeom>
        </p:spPr>
        <p:txBody>
          <a:bodyPr vert="horz" lIns="101882" tIns="50941" rIns="101882" bIns="50941" rtlCol="0" anchor="ctr"/>
          <a:lstStyle>
            <a:lvl1pPr algn="l">
              <a:defRPr sz="794">
                <a:solidFill>
                  <a:schemeClr val="tx1">
                    <a:tint val="75000"/>
                  </a:schemeClr>
                </a:solidFill>
                <a:latin typeface="Arial" pitchFamily="34" charset="0"/>
                <a:cs typeface="Arial" pitchFamily="34" charset="0"/>
              </a:defRPr>
            </a:lvl1pPr>
          </a:lstStyle>
          <a:p>
            <a:r>
              <a:rPr lang="en-US"/>
              <a:t>Prefeasibility study for establishment of ICIC under STKEC</a:t>
            </a:r>
          </a:p>
        </p:txBody>
      </p:sp>
      <p:sp>
        <p:nvSpPr>
          <p:cNvPr id="6" name="Slide Number Placeholder 5"/>
          <p:cNvSpPr>
            <a:spLocks noGrp="1"/>
          </p:cNvSpPr>
          <p:nvPr>
            <p:ph type="sldNum" sz="quarter" idx="4"/>
          </p:nvPr>
        </p:nvSpPr>
        <p:spPr>
          <a:xfrm>
            <a:off x="9509760" y="639004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fld id="{4E5DE389-0731-4629-82FF-0C9E450FC10D}" type="slidenum">
              <a:rPr lang="en-US" smtClean="0"/>
              <a:t>‹#›</a:t>
            </a:fld>
            <a:endParaRPr lang="en-US"/>
          </a:p>
        </p:txBody>
      </p:sp>
    </p:spTree>
    <p:extLst>
      <p:ext uri="{BB962C8B-B14F-4D97-AF65-F5344CB8AC3E}">
        <p14:creationId xmlns:p14="http://schemas.microsoft.com/office/powerpoint/2010/main" val="276385046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824" r:id="rId30"/>
    <p:sldLayoutId id="2147483825" r:id="rId31"/>
    <p:sldLayoutId id="2147483826" r:id="rId32"/>
    <p:sldLayoutId id="2147483827" r:id="rId33"/>
    <p:sldLayoutId id="2147483828" r:id="rId34"/>
    <p:sldLayoutId id="2147483829" r:id="rId35"/>
    <p:sldLayoutId id="2147483830" r:id="rId36"/>
    <p:sldLayoutId id="2147483831" r:id="rId37"/>
    <p:sldLayoutId id="2147483832" r:id="rId38"/>
    <p:sldLayoutId id="2147483833" r:id="rId39"/>
    <p:sldLayoutId id="2147483834" r:id="rId40"/>
    <p:sldLayoutId id="2147483835" r:id="rId41"/>
    <p:sldLayoutId id="2147483836" r:id="rId42"/>
    <p:sldLayoutId id="2147483837" r:id="rId43"/>
    <p:sldLayoutId id="2147483838" r:id="rId44"/>
    <p:sldLayoutId id="2147483839" r:id="rId45"/>
    <p:sldLayoutId id="2147483840" r:id="rId46"/>
    <p:sldLayoutId id="2147483841" r:id="rId47"/>
    <p:sldLayoutId id="2147483842" r:id="rId48"/>
    <p:sldLayoutId id="2147483843" r:id="rId49"/>
    <p:sldLayoutId id="2147483844" r:id="rId50"/>
    <p:sldLayoutId id="2147483845" r:id="rId51"/>
    <p:sldLayoutId id="2147483846" r:id="rId52"/>
    <p:sldLayoutId id="2147483847" r:id="rId53"/>
    <p:sldLayoutId id="2147483851" r:id="rId54"/>
    <p:sldLayoutId id="2147483852" r:id="rId55"/>
    <p:sldLayoutId id="2147483853" r:id="rId56"/>
    <p:sldLayoutId id="2147483854" r:id="rId57"/>
    <p:sldLayoutId id="2147483855" r:id="rId58"/>
    <p:sldLayoutId id="2147483856" r:id="rId59"/>
    <p:sldLayoutId id="2147483857" r:id="rId60"/>
    <p:sldLayoutId id="2147483858" r:id="rId61"/>
    <p:sldLayoutId id="2147483859" r:id="rId62"/>
    <p:sldLayoutId id="2147483860" r:id="rId63"/>
    <p:sldLayoutId id="2147483861" r:id="rId64"/>
    <p:sldLayoutId id="2147483862" r:id="rId65"/>
    <p:sldLayoutId id="2147483863" r:id="rId66"/>
    <p:sldLayoutId id="2147483864" r:id="rId67"/>
    <p:sldLayoutId id="2147483865" r:id="rId68"/>
    <p:sldLayoutId id="2147483866" r:id="rId69"/>
    <p:sldLayoutId id="2147483867" r:id="rId70"/>
    <p:sldLayoutId id="2147483868" r:id="rId71"/>
    <p:sldLayoutId id="2147483869" r:id="rId72"/>
    <p:sldLayoutId id="2147483870" r:id="rId73"/>
    <p:sldLayoutId id="2147483871" r:id="rId74"/>
    <p:sldLayoutId id="2147483872" r:id="rId75"/>
  </p:sldLayoutIdLst>
  <p:hf hdr="0"/>
  <p:txStyles>
    <p:titleStyle>
      <a:lvl1pPr algn="l" defTabSz="899010" rtl="0" eaLnBrk="1" latinLnBrk="0" hangingPunct="1">
        <a:spcBef>
          <a:spcPct val="0"/>
        </a:spcBef>
        <a:buNone/>
        <a:defRPr sz="2471" b="1" i="0" kern="1200" baseline="0">
          <a:solidFill>
            <a:schemeClr val="tx1"/>
          </a:solidFill>
          <a:latin typeface="+mj-lt"/>
          <a:ea typeface="+mj-ea"/>
          <a:cs typeface="+mj-cs"/>
        </a:defRPr>
      </a:lvl1pPr>
    </p:titleStyle>
    <p:body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7"/>
            </p:custDataLst>
            <p:extLst>
              <p:ext uri="{D42A27DB-BD31-4B8C-83A1-F6EECF244321}">
                <p14:modId xmlns:p14="http://schemas.microsoft.com/office/powerpoint/2010/main" val="2672454571"/>
              </p:ext>
            </p:ext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40" imgW="415" imgH="416" progId="TCLayout.ActiveDocument.1">
                  <p:embed/>
                </p:oleObj>
              </mc:Choice>
              <mc:Fallback>
                <p:oleObj name="think-cell Slide" r:id="rId40" imgW="415" imgH="416" progId="TCLayout.ActiveDocument.1">
                  <p:embed/>
                  <p:pic>
                    <p:nvPicPr>
                      <p:cNvPr id="8" name="Object 7" hidden="1"/>
                      <p:cNvPicPr/>
                      <p:nvPr/>
                    </p:nvPicPr>
                    <p:blipFill>
                      <a:blip r:embed="rId41"/>
                      <a:stretch>
                        <a:fillRect/>
                      </a:stretch>
                    </p:blipFill>
                    <p:spPr>
                      <a:xfrm>
                        <a:off x="1925" y="1401"/>
                        <a:ext cx="1925" cy="1401"/>
                      </a:xfrm>
                      <a:prstGeom prst="rect">
                        <a:avLst/>
                      </a:prstGeom>
                    </p:spPr>
                  </p:pic>
                </p:oleObj>
              </mc:Fallback>
            </mc:AlternateContent>
          </a:graphicData>
        </a:graphic>
      </p:graphicFrame>
      <p:sp>
        <p:nvSpPr>
          <p:cNvPr id="7" name="Rectangle 6" hidden="1"/>
          <p:cNvSpPr/>
          <p:nvPr>
            <p:custDataLst>
              <p:tags r:id="rId38"/>
            </p:custDataLst>
          </p:nvPr>
        </p:nvSpPr>
        <p:spPr>
          <a:xfrm>
            <a:off x="0" y="0"/>
            <a:ext cx="192424" cy="140074"/>
          </a:xfrm>
          <a:prstGeom prst="rect">
            <a:avLst/>
          </a:prstGeom>
          <a:solidFill>
            <a:srgbClr val="FFFFFF"/>
          </a:solidFill>
          <a:ln w="6350">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GB" sz="2471" b="1" i="0" baseline="0">
              <a:latin typeface="Georgia" panose="02040502050405020303" pitchFamily="18" charset="0"/>
              <a:ea typeface="+mj-ea"/>
              <a:cs typeface="+mj-cs"/>
              <a:sym typeface="Georgia" panose="02040502050405020303" pitchFamily="18" charset="0"/>
            </a:endParaRPr>
          </a:p>
        </p:txBody>
      </p:sp>
      <p:grpSp>
        <p:nvGrpSpPr>
          <p:cNvPr id="110" name="Grid" hidden="1"/>
          <p:cNvGrpSpPr/>
          <p:nvPr>
            <p:custDataLst>
              <p:tags r:id="rId39"/>
            </p:custDataLst>
          </p:nvPr>
        </p:nvGrpSpPr>
        <p:grpSpPr>
          <a:xfrm>
            <a:off x="642851" y="540572"/>
            <a:ext cx="10906298" cy="6043108"/>
            <a:chOff x="530352" y="612648"/>
            <a:chExt cx="8997696" cy="6848856"/>
          </a:xfrm>
        </p:grpSpPr>
        <p:grpSp>
          <p:nvGrpSpPr>
            <p:cNvPr id="108" name="Group 107" hidden="1"/>
            <p:cNvGrpSpPr/>
            <p:nvPr/>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7" name="Group 106" hidden="1"/>
            <p:cNvGrpSpPr/>
            <p:nvPr/>
          </p:nvGrpSpPr>
          <p:grpSpPr>
            <a:xfrm>
              <a:off x="530352" y="1066800"/>
              <a:ext cx="8997696" cy="835152"/>
              <a:chOff x="530352" y="1066800"/>
              <a:chExt cx="8997696" cy="835152"/>
            </a:xfrm>
          </p:grpSpPr>
          <p:sp>
            <p:nvSpPr>
              <p:cNvPr id="45"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grpSp>
        <p:sp>
          <p:nvSpPr>
            <p:cNvPr id="57"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a:solidFill>
                  <a:schemeClr val="folHlink"/>
                </a:solidFill>
                <a:cs typeface="Arial" charset="0"/>
              </a:endParaRPr>
            </a:p>
          </p:txBody>
        </p:sp>
        <p:grpSp>
          <p:nvGrpSpPr>
            <p:cNvPr id="106" name="Group 600" hidden="1"/>
            <p:cNvGrpSpPr/>
            <p:nvPr/>
          </p:nvGrpSpPr>
          <p:grpSpPr>
            <a:xfrm>
              <a:off x="533400" y="6245352"/>
              <a:ext cx="8994648" cy="688848"/>
              <a:chOff x="533400" y="6013704"/>
              <a:chExt cx="8994648" cy="688848"/>
            </a:xfrm>
          </p:grpSpPr>
          <p:sp>
            <p:nvSpPr>
              <p:cNvPr id="50"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1"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5" name="Group 500" hidden="1"/>
            <p:cNvGrpSpPr/>
            <p:nvPr/>
          </p:nvGrpSpPr>
          <p:grpSpPr>
            <a:xfrm>
              <a:off x="533400" y="5407152"/>
              <a:ext cx="8994648" cy="688848"/>
              <a:chOff x="533400" y="5026152"/>
              <a:chExt cx="8994648" cy="688848"/>
            </a:xfrm>
          </p:grpSpPr>
          <p:sp>
            <p:nvSpPr>
              <p:cNvPr id="52"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3"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4" name="Group 400" hidden="1"/>
            <p:cNvGrpSpPr/>
            <p:nvPr/>
          </p:nvGrpSpPr>
          <p:grpSpPr>
            <a:xfrm>
              <a:off x="533400" y="4568952"/>
              <a:ext cx="8994648" cy="688848"/>
              <a:chOff x="533400" y="4038600"/>
              <a:chExt cx="8994648" cy="688848"/>
            </a:xfrm>
          </p:grpSpPr>
          <p:sp>
            <p:nvSpPr>
              <p:cNvPr id="54"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4"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3" name="Group 300" hidden="1"/>
            <p:cNvGrpSpPr/>
            <p:nvPr/>
          </p:nvGrpSpPr>
          <p:grpSpPr>
            <a:xfrm>
              <a:off x="533400" y="3730752"/>
              <a:ext cx="8994648" cy="688848"/>
              <a:chOff x="533400" y="3041904"/>
              <a:chExt cx="8994648" cy="688848"/>
            </a:xfrm>
          </p:grpSpPr>
          <p:sp>
            <p:nvSpPr>
              <p:cNvPr id="65"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0"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1" name="Group 200" hidden="1"/>
            <p:cNvGrpSpPr/>
            <p:nvPr/>
          </p:nvGrpSpPr>
          <p:grpSpPr>
            <a:xfrm>
              <a:off x="533400" y="2892552"/>
              <a:ext cx="8994648" cy="688848"/>
              <a:chOff x="533400" y="1066800"/>
              <a:chExt cx="8994648" cy="688848"/>
            </a:xfrm>
          </p:grpSpPr>
          <p:sp>
            <p:nvSpPr>
              <p:cNvPr id="77"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2"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2" name="Group 100" hidden="1"/>
            <p:cNvGrpSpPr/>
            <p:nvPr/>
          </p:nvGrpSpPr>
          <p:grpSpPr>
            <a:xfrm>
              <a:off x="533400" y="2054352"/>
              <a:ext cx="8994648" cy="688848"/>
              <a:chOff x="533400" y="2054352"/>
              <a:chExt cx="8994648" cy="688848"/>
            </a:xfrm>
          </p:grpSpPr>
          <p:sp>
            <p:nvSpPr>
              <p:cNvPr id="71"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6"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sp>
        <p:nvSpPr>
          <p:cNvPr id="2" name="Title Placeholder 1"/>
          <p:cNvSpPr>
            <a:spLocks noGrp="1"/>
          </p:cNvSpPr>
          <p:nvPr>
            <p:ph type="title"/>
          </p:nvPr>
        </p:nvSpPr>
        <p:spPr>
          <a:xfrm>
            <a:off x="642851" y="943983"/>
            <a:ext cx="10906298" cy="742278"/>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642851" y="1815353"/>
            <a:ext cx="10906298" cy="430729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a:xfrm>
            <a:off x="9509760" y="625288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r>
              <a:rPr lang="en-US"/>
              <a:t>Sep 23</a:t>
            </a:r>
          </a:p>
        </p:txBody>
      </p:sp>
      <p:sp>
        <p:nvSpPr>
          <p:cNvPr id="5" name="Footer Placeholder 4"/>
          <p:cNvSpPr>
            <a:spLocks noGrp="1"/>
          </p:cNvSpPr>
          <p:nvPr>
            <p:ph type="ftr" sz="quarter" idx="3"/>
          </p:nvPr>
        </p:nvSpPr>
        <p:spPr>
          <a:xfrm>
            <a:off x="642851" y="6252882"/>
            <a:ext cx="7004858" cy="137160"/>
          </a:xfrm>
          <a:prstGeom prst="rect">
            <a:avLst/>
          </a:prstGeom>
        </p:spPr>
        <p:txBody>
          <a:bodyPr vert="horz" lIns="101882" tIns="50941" rIns="101882" bIns="50941" rtlCol="0" anchor="ctr"/>
          <a:lstStyle>
            <a:lvl1pPr algn="l">
              <a:defRPr sz="794">
                <a:solidFill>
                  <a:schemeClr val="tx1">
                    <a:tint val="75000"/>
                  </a:schemeClr>
                </a:solidFill>
                <a:latin typeface="Arial" pitchFamily="34" charset="0"/>
                <a:cs typeface="Arial" pitchFamily="34" charset="0"/>
              </a:defRPr>
            </a:lvl1pPr>
          </a:lstStyle>
          <a:p>
            <a:r>
              <a:rPr lang="en-US"/>
              <a:t>Prefeasibility study for establishment of ICIC under STKEC</a:t>
            </a:r>
            <a:endParaRPr lang="en-GB"/>
          </a:p>
        </p:txBody>
      </p:sp>
      <p:sp>
        <p:nvSpPr>
          <p:cNvPr id="6" name="Slide Number Placeholder 5"/>
          <p:cNvSpPr>
            <a:spLocks noGrp="1"/>
          </p:cNvSpPr>
          <p:nvPr>
            <p:ph type="sldNum" sz="quarter" idx="4"/>
          </p:nvPr>
        </p:nvSpPr>
        <p:spPr>
          <a:xfrm>
            <a:off x="9509760" y="639004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14264563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662" r:id="rId32"/>
    <p:sldLayoutId id="2147483663" r:id="rId33"/>
    <p:sldLayoutId id="2147483669" r:id="rId34"/>
    <p:sldLayoutId id="2147483671" r:id="rId35"/>
  </p:sldLayoutIdLst>
  <p:hf hdr="0"/>
  <p:txStyles>
    <p:titleStyle>
      <a:lvl1pPr algn="l" defTabSz="899010" rtl="0" eaLnBrk="1" latinLnBrk="0" hangingPunct="1">
        <a:spcBef>
          <a:spcPct val="0"/>
        </a:spcBef>
        <a:buNone/>
        <a:defRPr sz="2471" b="1" i="0" kern="1200" baseline="0">
          <a:solidFill>
            <a:schemeClr val="tx1"/>
          </a:solidFill>
          <a:latin typeface="+mj-lt"/>
          <a:ea typeface="+mj-ea"/>
          <a:cs typeface="+mj-cs"/>
        </a:defRPr>
      </a:lvl1pPr>
    </p:titleStyle>
    <p:body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6"/>
            </p:custDataLst>
            <p:extLst>
              <p:ext uri="{D42A27DB-BD31-4B8C-83A1-F6EECF244321}">
                <p14:modId xmlns:p14="http://schemas.microsoft.com/office/powerpoint/2010/main" val="1831603149"/>
              </p:ext>
            </p:ext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39" imgW="415" imgH="416" progId="TCLayout.ActiveDocument.1">
                  <p:embed/>
                </p:oleObj>
              </mc:Choice>
              <mc:Fallback>
                <p:oleObj name="think-cell Slide" r:id="rId39" imgW="415" imgH="416" progId="TCLayout.ActiveDocument.1">
                  <p:embed/>
                  <p:pic>
                    <p:nvPicPr>
                      <p:cNvPr id="8" name="Object 7" hidden="1"/>
                      <p:cNvPicPr/>
                      <p:nvPr/>
                    </p:nvPicPr>
                    <p:blipFill>
                      <a:blip r:embed="rId40"/>
                      <a:stretch>
                        <a:fillRect/>
                      </a:stretch>
                    </p:blipFill>
                    <p:spPr>
                      <a:xfrm>
                        <a:off x="1925" y="1401"/>
                        <a:ext cx="1925" cy="1401"/>
                      </a:xfrm>
                      <a:prstGeom prst="rect">
                        <a:avLst/>
                      </a:prstGeom>
                    </p:spPr>
                  </p:pic>
                </p:oleObj>
              </mc:Fallback>
            </mc:AlternateContent>
          </a:graphicData>
        </a:graphic>
      </p:graphicFrame>
      <p:sp>
        <p:nvSpPr>
          <p:cNvPr id="7" name="Rectangle 6" hidden="1"/>
          <p:cNvSpPr/>
          <p:nvPr>
            <p:custDataLst>
              <p:tags r:id="rId37"/>
            </p:custDataLst>
          </p:nvPr>
        </p:nvSpPr>
        <p:spPr>
          <a:xfrm>
            <a:off x="0" y="0"/>
            <a:ext cx="192424" cy="140074"/>
          </a:xfrm>
          <a:prstGeom prst="rect">
            <a:avLst/>
          </a:prstGeom>
          <a:solidFill>
            <a:srgbClr val="FFFFFF"/>
          </a:solidFill>
          <a:ln w="6350">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GB" sz="2471" b="1" i="0" baseline="0">
              <a:latin typeface="Georgia" panose="02040502050405020303" pitchFamily="18" charset="0"/>
              <a:ea typeface="+mj-ea"/>
              <a:cs typeface="+mj-cs"/>
              <a:sym typeface="Georgia" panose="02040502050405020303" pitchFamily="18" charset="0"/>
            </a:endParaRPr>
          </a:p>
        </p:txBody>
      </p:sp>
      <p:grpSp>
        <p:nvGrpSpPr>
          <p:cNvPr id="110" name="Grid" hidden="1"/>
          <p:cNvGrpSpPr/>
          <p:nvPr>
            <p:custDataLst>
              <p:tags r:id="rId38"/>
            </p:custDataLst>
          </p:nvPr>
        </p:nvGrpSpPr>
        <p:grpSpPr>
          <a:xfrm>
            <a:off x="642851" y="540572"/>
            <a:ext cx="10906298" cy="6043108"/>
            <a:chOff x="530352" y="612648"/>
            <a:chExt cx="8997696" cy="6848856"/>
          </a:xfrm>
        </p:grpSpPr>
        <p:grpSp>
          <p:nvGrpSpPr>
            <p:cNvPr id="108" name="Group 107" hidden="1"/>
            <p:cNvGrpSpPr/>
            <p:nvPr/>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7" name="Group 106" hidden="1"/>
            <p:cNvGrpSpPr/>
            <p:nvPr/>
          </p:nvGrpSpPr>
          <p:grpSpPr>
            <a:xfrm>
              <a:off x="530352" y="1066800"/>
              <a:ext cx="8997696" cy="835152"/>
              <a:chOff x="530352" y="1066800"/>
              <a:chExt cx="8997696" cy="835152"/>
            </a:xfrm>
          </p:grpSpPr>
          <p:sp>
            <p:nvSpPr>
              <p:cNvPr id="45"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grpSp>
        <p:sp>
          <p:nvSpPr>
            <p:cNvPr id="57"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a:solidFill>
                  <a:schemeClr val="folHlink"/>
                </a:solidFill>
                <a:cs typeface="Arial" charset="0"/>
              </a:endParaRPr>
            </a:p>
          </p:txBody>
        </p:sp>
        <p:grpSp>
          <p:nvGrpSpPr>
            <p:cNvPr id="106" name="Group 600" hidden="1"/>
            <p:cNvGrpSpPr/>
            <p:nvPr/>
          </p:nvGrpSpPr>
          <p:grpSpPr>
            <a:xfrm>
              <a:off x="533400" y="6245352"/>
              <a:ext cx="8994648" cy="688848"/>
              <a:chOff x="533400" y="6013704"/>
              <a:chExt cx="8994648" cy="688848"/>
            </a:xfrm>
          </p:grpSpPr>
          <p:sp>
            <p:nvSpPr>
              <p:cNvPr id="50"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1"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5" name="Group 500" hidden="1"/>
            <p:cNvGrpSpPr/>
            <p:nvPr/>
          </p:nvGrpSpPr>
          <p:grpSpPr>
            <a:xfrm>
              <a:off x="533400" y="5407152"/>
              <a:ext cx="8994648" cy="688848"/>
              <a:chOff x="533400" y="5026152"/>
              <a:chExt cx="8994648" cy="688848"/>
            </a:xfrm>
          </p:grpSpPr>
          <p:sp>
            <p:nvSpPr>
              <p:cNvPr id="52"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3"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4" name="Group 400" hidden="1"/>
            <p:cNvGrpSpPr/>
            <p:nvPr/>
          </p:nvGrpSpPr>
          <p:grpSpPr>
            <a:xfrm>
              <a:off x="533400" y="4568952"/>
              <a:ext cx="8994648" cy="688848"/>
              <a:chOff x="533400" y="4038600"/>
              <a:chExt cx="8994648" cy="688848"/>
            </a:xfrm>
          </p:grpSpPr>
          <p:sp>
            <p:nvSpPr>
              <p:cNvPr id="54"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4"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3" name="Group 300" hidden="1"/>
            <p:cNvGrpSpPr/>
            <p:nvPr/>
          </p:nvGrpSpPr>
          <p:grpSpPr>
            <a:xfrm>
              <a:off x="533400" y="3730752"/>
              <a:ext cx="8994648" cy="688848"/>
              <a:chOff x="533400" y="3041904"/>
              <a:chExt cx="8994648" cy="688848"/>
            </a:xfrm>
          </p:grpSpPr>
          <p:sp>
            <p:nvSpPr>
              <p:cNvPr id="65"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0"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1" name="Group 200" hidden="1"/>
            <p:cNvGrpSpPr/>
            <p:nvPr/>
          </p:nvGrpSpPr>
          <p:grpSpPr>
            <a:xfrm>
              <a:off x="533400" y="2892552"/>
              <a:ext cx="8994648" cy="688848"/>
              <a:chOff x="533400" y="1066800"/>
              <a:chExt cx="8994648" cy="688848"/>
            </a:xfrm>
          </p:grpSpPr>
          <p:sp>
            <p:nvSpPr>
              <p:cNvPr id="77"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2"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2" name="Group 100" hidden="1"/>
            <p:cNvGrpSpPr/>
            <p:nvPr/>
          </p:nvGrpSpPr>
          <p:grpSpPr>
            <a:xfrm>
              <a:off x="533400" y="2054352"/>
              <a:ext cx="8994648" cy="688848"/>
              <a:chOff x="533400" y="2054352"/>
              <a:chExt cx="8994648" cy="688848"/>
            </a:xfrm>
          </p:grpSpPr>
          <p:sp>
            <p:nvSpPr>
              <p:cNvPr id="71"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6"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sp>
        <p:nvSpPr>
          <p:cNvPr id="2" name="Title Placeholder 1"/>
          <p:cNvSpPr>
            <a:spLocks noGrp="1"/>
          </p:cNvSpPr>
          <p:nvPr>
            <p:ph type="title"/>
          </p:nvPr>
        </p:nvSpPr>
        <p:spPr>
          <a:xfrm>
            <a:off x="642851" y="943983"/>
            <a:ext cx="10906298" cy="742278"/>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642851" y="1815353"/>
            <a:ext cx="10906298" cy="430729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a:xfrm>
            <a:off x="9509760" y="625288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r>
              <a:rPr lang="en-US"/>
              <a:t>Sep 23</a:t>
            </a:r>
          </a:p>
        </p:txBody>
      </p:sp>
      <p:sp>
        <p:nvSpPr>
          <p:cNvPr id="5" name="Footer Placeholder 4"/>
          <p:cNvSpPr>
            <a:spLocks noGrp="1"/>
          </p:cNvSpPr>
          <p:nvPr>
            <p:ph type="ftr" sz="quarter" idx="3"/>
          </p:nvPr>
        </p:nvSpPr>
        <p:spPr>
          <a:xfrm>
            <a:off x="642851" y="6252882"/>
            <a:ext cx="7004858" cy="137160"/>
          </a:xfrm>
          <a:prstGeom prst="rect">
            <a:avLst/>
          </a:prstGeom>
        </p:spPr>
        <p:txBody>
          <a:bodyPr vert="horz" lIns="101882" tIns="50941" rIns="101882" bIns="50941" rtlCol="0" anchor="ctr"/>
          <a:lstStyle>
            <a:lvl1pPr algn="l">
              <a:defRPr sz="794">
                <a:solidFill>
                  <a:schemeClr val="tx1">
                    <a:tint val="75000"/>
                  </a:schemeClr>
                </a:solidFill>
                <a:latin typeface="Arial" pitchFamily="34" charset="0"/>
                <a:cs typeface="Arial" pitchFamily="34" charset="0"/>
              </a:defRPr>
            </a:lvl1pPr>
          </a:lstStyle>
          <a:p>
            <a:r>
              <a:rPr lang="en-US"/>
              <a:t>Prefeasibility study for establishment of ICIC under STKEC</a:t>
            </a:r>
            <a:endParaRPr lang="en-GB"/>
          </a:p>
        </p:txBody>
      </p:sp>
      <p:sp>
        <p:nvSpPr>
          <p:cNvPr id="6" name="Slide Number Placeholder 5"/>
          <p:cNvSpPr>
            <a:spLocks noGrp="1"/>
          </p:cNvSpPr>
          <p:nvPr>
            <p:ph type="sldNum" sz="quarter" idx="4"/>
          </p:nvPr>
        </p:nvSpPr>
        <p:spPr>
          <a:xfrm>
            <a:off x="9509760" y="639004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844402975"/>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9" r:id="rId31"/>
    <p:sldLayoutId id="2147483770" r:id="rId32"/>
    <p:sldLayoutId id="2147483771" r:id="rId33"/>
    <p:sldLayoutId id="2147483772" r:id="rId34"/>
  </p:sldLayoutIdLst>
  <p:hf hdr="0"/>
  <p:txStyles>
    <p:titleStyle>
      <a:lvl1pPr algn="l" defTabSz="899010" rtl="0" eaLnBrk="1" latinLnBrk="0" hangingPunct="1">
        <a:spcBef>
          <a:spcPct val="0"/>
        </a:spcBef>
        <a:buNone/>
        <a:defRPr sz="2471" b="1" i="0" kern="1200" baseline="0">
          <a:solidFill>
            <a:schemeClr val="tx1"/>
          </a:solidFill>
          <a:latin typeface="+mj-lt"/>
          <a:ea typeface="+mj-ea"/>
          <a:cs typeface="+mj-cs"/>
        </a:defRPr>
      </a:lvl1pPr>
    </p:titleStyle>
    <p:body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5"/>
            </p:custDataLst>
            <p:extLst>
              <p:ext uri="{D42A27DB-BD31-4B8C-83A1-F6EECF244321}">
                <p14:modId xmlns:p14="http://schemas.microsoft.com/office/powerpoint/2010/main" val="645476451"/>
              </p:ext>
            </p:ext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38" imgW="415" imgH="416" progId="TCLayout.ActiveDocument.1">
                  <p:embed/>
                </p:oleObj>
              </mc:Choice>
              <mc:Fallback>
                <p:oleObj name="think-cell Slide" r:id="rId38" imgW="415" imgH="416" progId="TCLayout.ActiveDocument.1">
                  <p:embed/>
                  <p:pic>
                    <p:nvPicPr>
                      <p:cNvPr id="8" name="Object 7" hidden="1"/>
                      <p:cNvPicPr/>
                      <p:nvPr/>
                    </p:nvPicPr>
                    <p:blipFill>
                      <a:blip r:embed="rId39"/>
                      <a:stretch>
                        <a:fillRect/>
                      </a:stretch>
                    </p:blipFill>
                    <p:spPr>
                      <a:xfrm>
                        <a:off x="1925" y="1401"/>
                        <a:ext cx="1925" cy="1401"/>
                      </a:xfrm>
                      <a:prstGeom prst="rect">
                        <a:avLst/>
                      </a:prstGeom>
                    </p:spPr>
                  </p:pic>
                </p:oleObj>
              </mc:Fallback>
            </mc:AlternateContent>
          </a:graphicData>
        </a:graphic>
      </p:graphicFrame>
      <p:sp>
        <p:nvSpPr>
          <p:cNvPr id="7" name="Rectangle 6" hidden="1"/>
          <p:cNvSpPr/>
          <p:nvPr>
            <p:custDataLst>
              <p:tags r:id="rId36"/>
            </p:custDataLst>
          </p:nvPr>
        </p:nvSpPr>
        <p:spPr>
          <a:xfrm>
            <a:off x="0" y="0"/>
            <a:ext cx="192424" cy="140074"/>
          </a:xfrm>
          <a:prstGeom prst="rect">
            <a:avLst/>
          </a:prstGeom>
          <a:solidFill>
            <a:srgbClr val="FFFFFF"/>
          </a:solidFill>
          <a:ln w="6350">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GB" sz="2471" b="1" i="0" baseline="0">
              <a:latin typeface="Georgia" panose="02040502050405020303" pitchFamily="18" charset="0"/>
              <a:ea typeface="+mj-ea"/>
              <a:cs typeface="+mj-cs"/>
              <a:sym typeface="Georgia" panose="02040502050405020303" pitchFamily="18" charset="0"/>
            </a:endParaRPr>
          </a:p>
        </p:txBody>
      </p:sp>
      <p:grpSp>
        <p:nvGrpSpPr>
          <p:cNvPr id="110" name="Grid" hidden="1"/>
          <p:cNvGrpSpPr/>
          <p:nvPr>
            <p:custDataLst>
              <p:tags r:id="rId37"/>
            </p:custDataLst>
          </p:nvPr>
        </p:nvGrpSpPr>
        <p:grpSpPr>
          <a:xfrm>
            <a:off x="642851" y="540572"/>
            <a:ext cx="10906298" cy="6043108"/>
            <a:chOff x="530352" y="612648"/>
            <a:chExt cx="8997696" cy="6848856"/>
          </a:xfrm>
        </p:grpSpPr>
        <p:grpSp>
          <p:nvGrpSpPr>
            <p:cNvPr id="108" name="Group 107" hidden="1"/>
            <p:cNvGrpSpPr/>
            <p:nvPr/>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7" name="Group 106" hidden="1"/>
            <p:cNvGrpSpPr/>
            <p:nvPr/>
          </p:nvGrpSpPr>
          <p:grpSpPr>
            <a:xfrm>
              <a:off x="530352" y="1066800"/>
              <a:ext cx="8997696" cy="835152"/>
              <a:chOff x="530352" y="1066800"/>
              <a:chExt cx="8997696" cy="835152"/>
            </a:xfrm>
          </p:grpSpPr>
          <p:sp>
            <p:nvSpPr>
              <p:cNvPr id="45"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grpSp>
        <p:sp>
          <p:nvSpPr>
            <p:cNvPr id="57"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a:solidFill>
                  <a:schemeClr val="folHlink"/>
                </a:solidFill>
                <a:cs typeface="Arial" charset="0"/>
              </a:endParaRPr>
            </a:p>
          </p:txBody>
        </p:sp>
        <p:grpSp>
          <p:nvGrpSpPr>
            <p:cNvPr id="106" name="Group 600" hidden="1"/>
            <p:cNvGrpSpPr/>
            <p:nvPr/>
          </p:nvGrpSpPr>
          <p:grpSpPr>
            <a:xfrm>
              <a:off x="533400" y="6245352"/>
              <a:ext cx="8994648" cy="688848"/>
              <a:chOff x="533400" y="6013704"/>
              <a:chExt cx="8994648" cy="688848"/>
            </a:xfrm>
          </p:grpSpPr>
          <p:sp>
            <p:nvSpPr>
              <p:cNvPr id="50"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1"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5" name="Group 500" hidden="1"/>
            <p:cNvGrpSpPr/>
            <p:nvPr/>
          </p:nvGrpSpPr>
          <p:grpSpPr>
            <a:xfrm>
              <a:off x="533400" y="5407152"/>
              <a:ext cx="8994648" cy="688848"/>
              <a:chOff x="533400" y="5026152"/>
              <a:chExt cx="8994648" cy="688848"/>
            </a:xfrm>
          </p:grpSpPr>
          <p:sp>
            <p:nvSpPr>
              <p:cNvPr id="52"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3"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4" name="Group 400" hidden="1"/>
            <p:cNvGrpSpPr/>
            <p:nvPr/>
          </p:nvGrpSpPr>
          <p:grpSpPr>
            <a:xfrm>
              <a:off x="533400" y="4568952"/>
              <a:ext cx="8994648" cy="688848"/>
              <a:chOff x="533400" y="4038600"/>
              <a:chExt cx="8994648" cy="688848"/>
            </a:xfrm>
          </p:grpSpPr>
          <p:sp>
            <p:nvSpPr>
              <p:cNvPr id="54"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4"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3" name="Group 300" hidden="1"/>
            <p:cNvGrpSpPr/>
            <p:nvPr/>
          </p:nvGrpSpPr>
          <p:grpSpPr>
            <a:xfrm>
              <a:off x="533400" y="3730752"/>
              <a:ext cx="8994648" cy="688848"/>
              <a:chOff x="533400" y="3041904"/>
              <a:chExt cx="8994648" cy="688848"/>
            </a:xfrm>
          </p:grpSpPr>
          <p:sp>
            <p:nvSpPr>
              <p:cNvPr id="65"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0"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1" name="Group 200" hidden="1"/>
            <p:cNvGrpSpPr/>
            <p:nvPr/>
          </p:nvGrpSpPr>
          <p:grpSpPr>
            <a:xfrm>
              <a:off x="533400" y="2892552"/>
              <a:ext cx="8994648" cy="688848"/>
              <a:chOff x="533400" y="1066800"/>
              <a:chExt cx="8994648" cy="688848"/>
            </a:xfrm>
          </p:grpSpPr>
          <p:sp>
            <p:nvSpPr>
              <p:cNvPr id="77"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2"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2" name="Group 100" hidden="1"/>
            <p:cNvGrpSpPr/>
            <p:nvPr/>
          </p:nvGrpSpPr>
          <p:grpSpPr>
            <a:xfrm>
              <a:off x="533400" y="2054352"/>
              <a:ext cx="8994648" cy="688848"/>
              <a:chOff x="533400" y="2054352"/>
              <a:chExt cx="8994648" cy="688848"/>
            </a:xfrm>
          </p:grpSpPr>
          <p:sp>
            <p:nvSpPr>
              <p:cNvPr id="71"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6"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sp>
        <p:nvSpPr>
          <p:cNvPr id="2" name="Title Placeholder 1"/>
          <p:cNvSpPr>
            <a:spLocks noGrp="1"/>
          </p:cNvSpPr>
          <p:nvPr>
            <p:ph type="title"/>
          </p:nvPr>
        </p:nvSpPr>
        <p:spPr>
          <a:xfrm>
            <a:off x="642851" y="943983"/>
            <a:ext cx="10906298" cy="742278"/>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642851" y="1815353"/>
            <a:ext cx="10906298" cy="430729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a:xfrm>
            <a:off x="9509760" y="625288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r>
              <a:rPr lang="en-US"/>
              <a:t>Sep 23</a:t>
            </a:r>
          </a:p>
        </p:txBody>
      </p:sp>
      <p:sp>
        <p:nvSpPr>
          <p:cNvPr id="5" name="Footer Placeholder 4"/>
          <p:cNvSpPr>
            <a:spLocks noGrp="1"/>
          </p:cNvSpPr>
          <p:nvPr>
            <p:ph type="ftr" sz="quarter" idx="3"/>
          </p:nvPr>
        </p:nvSpPr>
        <p:spPr>
          <a:xfrm>
            <a:off x="642851" y="6252882"/>
            <a:ext cx="7004858" cy="137160"/>
          </a:xfrm>
          <a:prstGeom prst="rect">
            <a:avLst/>
          </a:prstGeom>
        </p:spPr>
        <p:txBody>
          <a:bodyPr vert="horz" lIns="101882" tIns="50941" rIns="101882" bIns="50941" rtlCol="0" anchor="ctr"/>
          <a:lstStyle>
            <a:lvl1pPr algn="l">
              <a:defRPr sz="794">
                <a:solidFill>
                  <a:schemeClr val="tx1">
                    <a:tint val="75000"/>
                  </a:schemeClr>
                </a:solidFill>
                <a:latin typeface="Arial" pitchFamily="34" charset="0"/>
                <a:cs typeface="Arial" pitchFamily="34" charset="0"/>
              </a:defRPr>
            </a:lvl1pPr>
          </a:lstStyle>
          <a:p>
            <a:r>
              <a:rPr lang="en-US"/>
              <a:t>Prefeasibility study for establishment of ICIC under STKEC</a:t>
            </a:r>
            <a:endParaRPr lang="en-GB"/>
          </a:p>
        </p:txBody>
      </p:sp>
      <p:sp>
        <p:nvSpPr>
          <p:cNvPr id="6" name="Slide Number Placeholder 5"/>
          <p:cNvSpPr>
            <a:spLocks noGrp="1"/>
          </p:cNvSpPr>
          <p:nvPr>
            <p:ph type="sldNum" sz="quarter" idx="4"/>
          </p:nvPr>
        </p:nvSpPr>
        <p:spPr>
          <a:xfrm>
            <a:off x="9509760" y="639004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82110283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Lst>
  <p:hf hdr="0"/>
  <p:txStyles>
    <p:titleStyle>
      <a:lvl1pPr algn="l" defTabSz="899010" rtl="0" eaLnBrk="1" latinLnBrk="0" hangingPunct="1">
        <a:spcBef>
          <a:spcPct val="0"/>
        </a:spcBef>
        <a:buNone/>
        <a:defRPr sz="2471" b="1" i="0" kern="1200" baseline="0">
          <a:solidFill>
            <a:schemeClr val="tx1"/>
          </a:solidFill>
          <a:latin typeface="+mj-lt"/>
          <a:ea typeface="+mj-ea"/>
          <a:cs typeface="+mj-cs"/>
        </a:defRPr>
      </a:lvl1pPr>
    </p:titleStyle>
    <p:body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D548036-6212-47F3-8604-A2000C53AEF1}"/>
              </a:ext>
            </a:extLst>
          </p:cNvPr>
          <p:cNvGraphicFramePr>
            <a:graphicFrameLocks noChangeAspect="1"/>
          </p:cNvGraphicFramePr>
          <p:nvPr userDrawn="1">
            <p:custDataLst>
              <p:tags r:id="rId15"/>
            </p:custDataLst>
            <p:extLst>
              <p:ext uri="{D42A27DB-BD31-4B8C-83A1-F6EECF244321}">
                <p14:modId xmlns:p14="http://schemas.microsoft.com/office/powerpoint/2010/main" val="95208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think-cell data - do not delete" hidden="1">
                        <a:extLst>
                          <a:ext uri="{FF2B5EF4-FFF2-40B4-BE49-F238E27FC236}">
                            <a16:creationId xmlns:a16="http://schemas.microsoft.com/office/drawing/2014/main" id="{BD548036-6212-47F3-8604-A2000C53AEF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C164969-F962-4BE8-8093-9DE8A581763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CDCDA16-54B5-412A-B1D7-19974FEFFE9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2CA37D-F5FC-4855-882E-9D59A8683E8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Sep 23</a:t>
            </a:r>
          </a:p>
        </p:txBody>
      </p:sp>
      <p:sp>
        <p:nvSpPr>
          <p:cNvPr id="5" name="Footer Placeholder 4">
            <a:extLst>
              <a:ext uri="{FF2B5EF4-FFF2-40B4-BE49-F238E27FC236}">
                <a16:creationId xmlns:a16="http://schemas.microsoft.com/office/drawing/2014/main" id="{464F3DDA-F672-4711-A07D-9FF043A1970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Prefeasibility study for establishment of ICIC under STKEC</a:t>
            </a:r>
          </a:p>
        </p:txBody>
      </p:sp>
      <p:sp>
        <p:nvSpPr>
          <p:cNvPr id="6" name="Slide Number Placeholder 5">
            <a:extLst>
              <a:ext uri="{FF2B5EF4-FFF2-40B4-BE49-F238E27FC236}">
                <a16:creationId xmlns:a16="http://schemas.microsoft.com/office/drawing/2014/main" id="{D43F064A-3484-4543-8FAD-ACA0143810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8D16D4-4374-44A1-ACAE-D6690F2E1178}" type="slidenum">
              <a:rPr lang="en-US" smtClean="0"/>
              <a:t>‹#›</a:t>
            </a:fld>
            <a:endParaRPr lang="en-US"/>
          </a:p>
        </p:txBody>
      </p:sp>
    </p:spTree>
    <p:extLst>
      <p:ext uri="{BB962C8B-B14F-4D97-AF65-F5344CB8AC3E}">
        <p14:creationId xmlns:p14="http://schemas.microsoft.com/office/powerpoint/2010/main" val="3347422480"/>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3BE5C85-52F7-40C3-85A3-2FBD0B7D7670}"/>
              </a:ext>
            </a:extLst>
          </p:cNvPr>
          <p:cNvGraphicFramePr>
            <a:graphicFrameLocks noChangeAspect="1"/>
          </p:cNvGraphicFramePr>
          <p:nvPr userDrawn="1">
            <p:custDataLst>
              <p:tags r:id="rId52"/>
            </p:custDataLst>
            <p:extLst>
              <p:ext uri="{D42A27DB-BD31-4B8C-83A1-F6EECF244321}">
                <p14:modId xmlns:p14="http://schemas.microsoft.com/office/powerpoint/2010/main" val="1704085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395" imgH="396" progId="TCLayout.ActiveDocument.1">
                  <p:embed/>
                </p:oleObj>
              </mc:Choice>
              <mc:Fallback>
                <p:oleObj name="think-cell Slide" r:id="rId53" imgW="395" imgH="396" progId="TCLayout.ActiveDocument.1">
                  <p:embed/>
                  <p:pic>
                    <p:nvPicPr>
                      <p:cNvPr id="9" name="think-cell data - do not delete" hidden="1">
                        <a:extLst>
                          <a:ext uri="{FF2B5EF4-FFF2-40B4-BE49-F238E27FC236}">
                            <a16:creationId xmlns:a16="http://schemas.microsoft.com/office/drawing/2014/main" id="{13BE5C85-52F7-40C3-85A3-2FBD0B7D7670}"/>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resentation Footer">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lang="en-US" sz="750" smtClean="0"/>
            </a:lvl1pPr>
          </a:lstStyle>
          <a:p>
            <a:r>
              <a:rPr lang="en-US"/>
              <a:t>Prefeasibility study for establishment of ICIC under STKEC</a:t>
            </a:r>
          </a:p>
        </p:txBody>
      </p:sp>
      <p:sp>
        <p:nvSpPr>
          <p:cNvPr id="4" name="Date">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lang="en-US" sz="750" smtClean="0"/>
            </a:lvl1pPr>
          </a:lstStyle>
          <a:p>
            <a:r>
              <a:rPr lang="en-US"/>
              <a:t>Sep 23</a:t>
            </a:r>
          </a:p>
        </p:txBody>
      </p:sp>
      <p:sp>
        <p:nvSpPr>
          <p:cNvPr id="8" name="PwCFirm"/>
          <p:cNvSpPr txBox="1"/>
          <p:nvPr/>
        </p:nvSpPr>
        <p:spPr>
          <a:xfrm>
            <a:off x="442913" y="6492240"/>
            <a:ext cx="5473700" cy="137160"/>
          </a:xfrm>
          <a:prstGeom prst="rect">
            <a:avLst/>
          </a:prstGeom>
          <a:noFill/>
        </p:spPr>
        <p:txBody>
          <a:bodyPr wrap="square" lIns="0" tIns="0" rIns="0" bIns="0" rtlCol="0" anchor="b" anchorCtr="0">
            <a:noAutofit/>
          </a:bodyPr>
          <a:lstStyle>
            <a:defPPr>
              <a:defRPr lang="en-US"/>
            </a:defPPr>
            <a:lvl1pPr>
              <a:defRPr sz="750" b="0"/>
            </a:lvl1pPr>
          </a:lstStyle>
          <a:p>
            <a:pPr lvl="0" algn="l"/>
            <a:r>
              <a:rPr lang="en-US"/>
              <a:t>PwC</a:t>
            </a:r>
          </a:p>
        </p:txBody>
      </p:sp>
      <p:sp>
        <p:nvSpPr>
          <p:cNvPr id="6" name="Slide Numbe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lang="en-US" sz="750" smtClean="0"/>
            </a:lvl1pPr>
          </a:lstStyle>
          <a:p>
            <a:fld id="{ACBD2930-EFD4-4280-8F4E-B2EEA6131EE9}" type="slidenum">
              <a:rPr lang="en-US" smtClean="0"/>
              <a:pPr/>
              <a:t>‹#›</a:t>
            </a:fld>
            <a:endParaRPr lang="en-US"/>
          </a:p>
        </p:txBody>
      </p:sp>
    </p:spTree>
    <p:extLst>
      <p:ext uri="{BB962C8B-B14F-4D97-AF65-F5344CB8AC3E}">
        <p14:creationId xmlns:p14="http://schemas.microsoft.com/office/powerpoint/2010/main" val="4196341525"/>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7" r:id="rId14"/>
    <p:sldLayoutId id="2147483888" r:id="rId15"/>
    <p:sldLayoutId id="2147483889" r:id="rId16"/>
    <p:sldLayoutId id="2147483890" r:id="rId17"/>
    <p:sldLayoutId id="2147483891" r:id="rId18"/>
    <p:sldLayoutId id="2147483892" r:id="rId19"/>
    <p:sldLayoutId id="2147483893" r:id="rId20"/>
    <p:sldLayoutId id="2147483894" r:id="rId21"/>
    <p:sldLayoutId id="2147483895" r:id="rId22"/>
    <p:sldLayoutId id="2147483896" r:id="rId23"/>
    <p:sldLayoutId id="2147483897" r:id="rId24"/>
    <p:sldLayoutId id="2147483898" r:id="rId25"/>
    <p:sldLayoutId id="2147483899" r:id="rId26"/>
    <p:sldLayoutId id="2147483900" r:id="rId27"/>
    <p:sldLayoutId id="2147483901" r:id="rId28"/>
    <p:sldLayoutId id="2147483902" r:id="rId29"/>
    <p:sldLayoutId id="2147483903" r:id="rId30"/>
    <p:sldLayoutId id="2147483904" r:id="rId31"/>
    <p:sldLayoutId id="2147483905" r:id="rId32"/>
    <p:sldLayoutId id="2147483906" r:id="rId33"/>
    <p:sldLayoutId id="2147483907" r:id="rId34"/>
    <p:sldLayoutId id="2147483908" r:id="rId35"/>
    <p:sldLayoutId id="2147483909" r:id="rId36"/>
    <p:sldLayoutId id="2147483910" r:id="rId37"/>
    <p:sldLayoutId id="2147483911" r:id="rId38"/>
    <p:sldLayoutId id="2147483912" r:id="rId39"/>
    <p:sldLayoutId id="2147483913" r:id="rId40"/>
    <p:sldLayoutId id="2147483914" r:id="rId41"/>
    <p:sldLayoutId id="2147483915" r:id="rId42"/>
    <p:sldLayoutId id="2147483916" r:id="rId43"/>
    <p:sldLayoutId id="2147483917" r:id="rId44"/>
    <p:sldLayoutId id="2147483918" r:id="rId45"/>
    <p:sldLayoutId id="2147483919" r:id="rId46"/>
    <p:sldLayoutId id="2147483920" r:id="rId47"/>
    <p:sldLayoutId id="2147483921" r:id="rId48"/>
    <p:sldLayoutId id="2147483922" r:id="rId49"/>
    <p:sldLayoutId id="2147483923" r:id="rId50"/>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1325">
          <p15:clr>
            <a:srgbClr val="F26B43"/>
          </p15:clr>
        </p15:guide>
        <p15:guide id="12" orient="horz" pos="1146">
          <p15:clr>
            <a:srgbClr val="F26B43"/>
          </p15:clr>
        </p15:guide>
        <p15:guide id="13" orient="horz" pos="2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01C5C8D-E61D-459A-8046-1374E2D0A339}"/>
              </a:ext>
            </a:extLst>
          </p:cNvPr>
          <p:cNvGraphicFramePr>
            <a:graphicFrameLocks noChangeAspect="1"/>
          </p:cNvGraphicFramePr>
          <p:nvPr userDrawn="1">
            <p:custDataLst>
              <p:tags r:id="rId69"/>
            </p:custDataLst>
            <p:extLst>
              <p:ext uri="{D42A27DB-BD31-4B8C-83A1-F6EECF244321}">
                <p14:modId xmlns:p14="http://schemas.microsoft.com/office/powerpoint/2010/main" val="70593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0" imgW="473" imgH="473" progId="TCLayout.ActiveDocument.1">
                  <p:embed/>
                </p:oleObj>
              </mc:Choice>
              <mc:Fallback>
                <p:oleObj name="think-cell Slide" r:id="rId70" imgW="473" imgH="473" progId="TCLayout.ActiveDocument.1">
                  <p:embed/>
                  <p:pic>
                    <p:nvPicPr>
                      <p:cNvPr id="9" name="think-cell data - do not delete" hidden="1">
                        <a:extLst>
                          <a:ext uri="{FF2B5EF4-FFF2-40B4-BE49-F238E27FC236}">
                            <a16:creationId xmlns:a16="http://schemas.microsoft.com/office/drawing/2014/main" id="{601C5C8D-E61D-459A-8046-1374E2D0A339}"/>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8" name="TextBox 7"/>
          <p:cNvSpPr txBox="1"/>
          <p:nvPr/>
        </p:nvSpPr>
        <p:spPr>
          <a:xfrm>
            <a:off x="442913" y="6492240"/>
            <a:ext cx="5473700" cy="137160"/>
          </a:xfrm>
          <a:prstGeom prst="rect">
            <a:avLst/>
          </a:prstGeom>
          <a:noFill/>
        </p:spPr>
        <p:txBody>
          <a:bodyPr wrap="square" lIns="0" tIns="0" rIns="0" bIns="0" rtlCol="0" anchor="b" anchorCtr="0">
            <a:noAutofit/>
          </a:bodyPr>
          <a:lstStyle/>
          <a:p>
            <a:pPr algn="l"/>
            <a:r>
              <a:rPr lang="en-GB" sz="750" b="0">
                <a:solidFill>
                  <a:schemeClr val="tx1"/>
                </a:solidFill>
              </a:rPr>
              <a:t>PwC</a:t>
            </a:r>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Sep 23</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feasibility study for establishment of ICIC under STKEC</a:t>
            </a:r>
          </a:p>
        </p:txBody>
      </p:sp>
    </p:spTree>
    <p:extLst>
      <p:ext uri="{BB962C8B-B14F-4D97-AF65-F5344CB8AC3E}">
        <p14:creationId xmlns:p14="http://schemas.microsoft.com/office/powerpoint/2010/main" val="133684588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 id="2147483946" r:id="rId22"/>
    <p:sldLayoutId id="2147483947" r:id="rId23"/>
    <p:sldLayoutId id="2147483948" r:id="rId24"/>
    <p:sldLayoutId id="2147483949" r:id="rId25"/>
    <p:sldLayoutId id="2147483950" r:id="rId26"/>
    <p:sldLayoutId id="2147483951" r:id="rId27"/>
    <p:sldLayoutId id="2147483952" r:id="rId28"/>
    <p:sldLayoutId id="2147483953" r:id="rId29"/>
    <p:sldLayoutId id="2147483954" r:id="rId30"/>
    <p:sldLayoutId id="2147483955" r:id="rId31"/>
    <p:sldLayoutId id="2147483956" r:id="rId32"/>
    <p:sldLayoutId id="2147483957" r:id="rId33"/>
    <p:sldLayoutId id="2147483958" r:id="rId34"/>
    <p:sldLayoutId id="2147483959" r:id="rId35"/>
    <p:sldLayoutId id="2147483960" r:id="rId36"/>
    <p:sldLayoutId id="2147483961" r:id="rId37"/>
    <p:sldLayoutId id="2147483962" r:id="rId38"/>
    <p:sldLayoutId id="2147483963" r:id="rId39"/>
    <p:sldLayoutId id="2147483964" r:id="rId40"/>
    <p:sldLayoutId id="2147483965" r:id="rId41"/>
    <p:sldLayoutId id="2147483966" r:id="rId42"/>
    <p:sldLayoutId id="2147483967" r:id="rId43"/>
    <p:sldLayoutId id="2147483968" r:id="rId44"/>
    <p:sldLayoutId id="2147483969" r:id="rId45"/>
    <p:sldLayoutId id="2147483970" r:id="rId46"/>
    <p:sldLayoutId id="2147483971" r:id="rId47"/>
    <p:sldLayoutId id="2147483972" r:id="rId48"/>
    <p:sldLayoutId id="2147483973" r:id="rId49"/>
    <p:sldLayoutId id="2147483974" r:id="rId50"/>
    <p:sldLayoutId id="2147483975" r:id="rId51"/>
    <p:sldLayoutId id="2147483976" r:id="rId52"/>
    <p:sldLayoutId id="2147483977" r:id="rId53"/>
    <p:sldLayoutId id="2147483978" r:id="rId54"/>
    <p:sldLayoutId id="2147483979" r:id="rId55"/>
    <p:sldLayoutId id="2147483980" r:id="rId56"/>
    <p:sldLayoutId id="2147483981" r:id="rId57"/>
    <p:sldLayoutId id="2147483982" r:id="rId58"/>
    <p:sldLayoutId id="2147483983" r:id="rId59"/>
    <p:sldLayoutId id="2147483984" r:id="rId60"/>
    <p:sldLayoutId id="2147483985" r:id="rId61"/>
    <p:sldLayoutId id="2147483986" r:id="rId62"/>
    <p:sldLayoutId id="2147483987" r:id="rId63"/>
    <p:sldLayoutId id="2147483988" r:id="rId64"/>
    <p:sldLayoutId id="2147483989" r:id="rId65"/>
    <p:sldLayoutId id="2147483990" r:id="rId66"/>
    <p:sldLayoutId id="2147483991" r:id="rId67"/>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1325">
          <p15:clr>
            <a:srgbClr val="F26B43"/>
          </p15:clr>
        </p15:guide>
        <p15:guide id="12" orient="horz" pos="1146">
          <p15:clr>
            <a:srgbClr val="F26B43"/>
          </p15:clr>
        </p15:guide>
        <p15:guide id="13" orient="horz" pos="27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39.xml"/><Relationship Id="rId7" Type="http://schemas.openxmlformats.org/officeDocument/2006/relationships/image" Target="../media/image11.jpeg"/><Relationship Id="rId2" Type="http://schemas.openxmlformats.org/officeDocument/2006/relationships/tags" Target="../tags/tag970.xml"/><Relationship Id="rId1" Type="http://schemas.openxmlformats.org/officeDocument/2006/relationships/customXml" Target="../../customXml/item12.x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140.xml"/><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tags" Target="../tags/tag989.xml"/><Relationship Id="rId1" Type="http://schemas.openxmlformats.org/officeDocument/2006/relationships/customXml" Target="../../customXml/item21.xml"/><Relationship Id="rId6" Type="http://schemas.openxmlformats.org/officeDocument/2006/relationships/image" Target="../media/image8.emf"/><Relationship Id="rId11" Type="http://schemas.openxmlformats.org/officeDocument/2006/relationships/image" Target="../media/image31.png"/><Relationship Id="rId5" Type="http://schemas.openxmlformats.org/officeDocument/2006/relationships/oleObject" Target="../embeddings/oleObject27.bin"/><Relationship Id="rId10" Type="http://schemas.openxmlformats.org/officeDocument/2006/relationships/image" Target="../media/image30.svg"/><Relationship Id="rId4" Type="http://schemas.openxmlformats.org/officeDocument/2006/relationships/notesSlide" Target="../notesSlides/notesSlide8.xml"/><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3.xml"/><Relationship Id="rId1" Type="http://schemas.openxmlformats.org/officeDocument/2006/relationships/customXml" Target="../../customXml/item22.xml"/><Relationship Id="rId4" Type="http://schemas.openxmlformats.org/officeDocument/2006/relationships/hyperlink" Target="https://www.flickr.com/photos/peigov/15898994173" TargetMode="Externa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73.xml"/><Relationship Id="rId2" Type="http://schemas.openxmlformats.org/officeDocument/2006/relationships/tags" Target="../tags/tag990.xml"/><Relationship Id="rId1" Type="http://schemas.openxmlformats.org/officeDocument/2006/relationships/customXml" Target="../../customXml/item23.x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34.svg"/><Relationship Id="rId18" Type="http://schemas.openxmlformats.org/officeDocument/2006/relationships/image" Target="../media/image39.png"/><Relationship Id="rId3" Type="http://schemas.openxmlformats.org/officeDocument/2006/relationships/slideLayout" Target="../slideLayouts/slideLayout173.xml"/><Relationship Id="rId21" Type="http://schemas.openxmlformats.org/officeDocument/2006/relationships/image" Target="../media/image42.png"/><Relationship Id="rId7" Type="http://schemas.openxmlformats.org/officeDocument/2006/relationships/diagramData" Target="../diagrams/data1.xml"/><Relationship Id="rId12" Type="http://schemas.openxmlformats.org/officeDocument/2006/relationships/image" Target="../media/image33.png"/><Relationship Id="rId17" Type="http://schemas.openxmlformats.org/officeDocument/2006/relationships/image" Target="../media/image38.svg"/><Relationship Id="rId2" Type="http://schemas.openxmlformats.org/officeDocument/2006/relationships/tags" Target="../tags/tag991.xml"/><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customXml" Target="../../customXml/item24.xml"/><Relationship Id="rId6" Type="http://schemas.openxmlformats.org/officeDocument/2006/relationships/image" Target="../media/image8.emf"/><Relationship Id="rId11" Type="http://schemas.microsoft.com/office/2007/relationships/diagramDrawing" Target="../diagrams/drawing1.xml"/><Relationship Id="rId5" Type="http://schemas.openxmlformats.org/officeDocument/2006/relationships/oleObject" Target="../embeddings/oleObject29.bin"/><Relationship Id="rId15" Type="http://schemas.openxmlformats.org/officeDocument/2006/relationships/image" Target="../media/image36.svg"/><Relationship Id="rId10" Type="http://schemas.openxmlformats.org/officeDocument/2006/relationships/diagramColors" Target="../diagrams/colors1.xml"/><Relationship Id="rId19" Type="http://schemas.openxmlformats.org/officeDocument/2006/relationships/image" Target="../media/image40.png"/><Relationship Id="rId4" Type="http://schemas.openxmlformats.org/officeDocument/2006/relationships/notesSlide" Target="../notesSlides/notesSlide10.xml"/><Relationship Id="rId9" Type="http://schemas.openxmlformats.org/officeDocument/2006/relationships/diagramQuickStyle" Target="../diagrams/quickStyle1.xml"/><Relationship Id="rId14" Type="http://schemas.openxmlformats.org/officeDocument/2006/relationships/image" Target="../media/image35.png"/><Relationship Id="rId22" Type="http://schemas.openxmlformats.org/officeDocument/2006/relationships/image" Target="../media/image43.png"/></Relationships>
</file>

<file path=ppt/slides/_rels/slide14.xml.rels><?xml version="1.0" encoding="UTF-8" standalone="yes"?>
<Relationships xmlns="http://schemas.openxmlformats.org/package/2006/relationships"><Relationship Id="rId8" Type="http://schemas.openxmlformats.org/officeDocument/2006/relationships/tags" Target="../tags/tag998.xml"/><Relationship Id="rId13" Type="http://schemas.openxmlformats.org/officeDocument/2006/relationships/tags" Target="../tags/tag1003.xml"/><Relationship Id="rId18" Type="http://schemas.openxmlformats.org/officeDocument/2006/relationships/tags" Target="../tags/tag1008.xml"/><Relationship Id="rId26" Type="http://schemas.openxmlformats.org/officeDocument/2006/relationships/slideLayout" Target="../slideLayouts/slideLayout140.xml"/><Relationship Id="rId39" Type="http://schemas.openxmlformats.org/officeDocument/2006/relationships/diagramData" Target="../diagrams/data2.xml"/><Relationship Id="rId3" Type="http://schemas.openxmlformats.org/officeDocument/2006/relationships/tags" Target="../tags/tag993.xml"/><Relationship Id="rId21" Type="http://schemas.openxmlformats.org/officeDocument/2006/relationships/tags" Target="../tags/tag1011.xml"/><Relationship Id="rId34" Type="http://schemas.openxmlformats.org/officeDocument/2006/relationships/image" Target="../media/image47.svg"/><Relationship Id="rId42" Type="http://schemas.openxmlformats.org/officeDocument/2006/relationships/diagramColors" Target="../diagrams/colors2.xml"/><Relationship Id="rId7" Type="http://schemas.openxmlformats.org/officeDocument/2006/relationships/tags" Target="../tags/tag997.xml"/><Relationship Id="rId12" Type="http://schemas.openxmlformats.org/officeDocument/2006/relationships/tags" Target="../tags/tag1002.xml"/><Relationship Id="rId17" Type="http://schemas.openxmlformats.org/officeDocument/2006/relationships/tags" Target="../tags/tag1007.xml"/><Relationship Id="rId25" Type="http://schemas.openxmlformats.org/officeDocument/2006/relationships/tags" Target="../tags/tag1015.xml"/><Relationship Id="rId33" Type="http://schemas.openxmlformats.org/officeDocument/2006/relationships/image" Target="../media/image46.png"/><Relationship Id="rId38" Type="http://schemas.openxmlformats.org/officeDocument/2006/relationships/image" Target="../media/image51.svg"/><Relationship Id="rId2" Type="http://schemas.openxmlformats.org/officeDocument/2006/relationships/tags" Target="../tags/tag992.xml"/><Relationship Id="rId16" Type="http://schemas.openxmlformats.org/officeDocument/2006/relationships/tags" Target="../tags/tag1006.xml"/><Relationship Id="rId20" Type="http://schemas.openxmlformats.org/officeDocument/2006/relationships/tags" Target="../tags/tag1010.xml"/><Relationship Id="rId29" Type="http://schemas.openxmlformats.org/officeDocument/2006/relationships/image" Target="../media/image8.emf"/><Relationship Id="rId41" Type="http://schemas.openxmlformats.org/officeDocument/2006/relationships/diagramQuickStyle" Target="../diagrams/quickStyle2.xml"/><Relationship Id="rId1" Type="http://schemas.openxmlformats.org/officeDocument/2006/relationships/customXml" Target="../../customXml/item25.xml"/><Relationship Id="rId6" Type="http://schemas.openxmlformats.org/officeDocument/2006/relationships/tags" Target="../tags/tag996.xml"/><Relationship Id="rId11" Type="http://schemas.openxmlformats.org/officeDocument/2006/relationships/tags" Target="../tags/tag1001.xml"/><Relationship Id="rId24" Type="http://schemas.openxmlformats.org/officeDocument/2006/relationships/tags" Target="../tags/tag1014.xml"/><Relationship Id="rId32" Type="http://schemas.openxmlformats.org/officeDocument/2006/relationships/image" Target="../media/image45.svg"/><Relationship Id="rId37" Type="http://schemas.openxmlformats.org/officeDocument/2006/relationships/image" Target="../media/image50.png"/><Relationship Id="rId40" Type="http://schemas.openxmlformats.org/officeDocument/2006/relationships/diagramLayout" Target="../diagrams/layout2.xml"/><Relationship Id="rId5" Type="http://schemas.openxmlformats.org/officeDocument/2006/relationships/tags" Target="../tags/tag995.xml"/><Relationship Id="rId15" Type="http://schemas.openxmlformats.org/officeDocument/2006/relationships/tags" Target="../tags/tag1005.xml"/><Relationship Id="rId23" Type="http://schemas.openxmlformats.org/officeDocument/2006/relationships/tags" Target="../tags/tag1013.xml"/><Relationship Id="rId28" Type="http://schemas.openxmlformats.org/officeDocument/2006/relationships/oleObject" Target="../embeddings/oleObject30.bin"/><Relationship Id="rId36" Type="http://schemas.openxmlformats.org/officeDocument/2006/relationships/image" Target="../media/image49.svg"/><Relationship Id="rId10" Type="http://schemas.openxmlformats.org/officeDocument/2006/relationships/tags" Target="../tags/tag1000.xml"/><Relationship Id="rId19" Type="http://schemas.openxmlformats.org/officeDocument/2006/relationships/tags" Target="../tags/tag1009.xml"/><Relationship Id="rId31" Type="http://schemas.openxmlformats.org/officeDocument/2006/relationships/image" Target="../media/image44.png"/><Relationship Id="rId4" Type="http://schemas.openxmlformats.org/officeDocument/2006/relationships/tags" Target="../tags/tag994.xml"/><Relationship Id="rId9" Type="http://schemas.openxmlformats.org/officeDocument/2006/relationships/tags" Target="../tags/tag999.xml"/><Relationship Id="rId14" Type="http://schemas.openxmlformats.org/officeDocument/2006/relationships/tags" Target="../tags/tag1004.xml"/><Relationship Id="rId22" Type="http://schemas.openxmlformats.org/officeDocument/2006/relationships/tags" Target="../tags/tag1012.xml"/><Relationship Id="rId27" Type="http://schemas.openxmlformats.org/officeDocument/2006/relationships/notesSlide" Target="../notesSlides/notesSlide11.xml"/><Relationship Id="rId30" Type="http://schemas.openxmlformats.org/officeDocument/2006/relationships/chart" Target="../charts/chart4.xml"/><Relationship Id="rId35" Type="http://schemas.openxmlformats.org/officeDocument/2006/relationships/image" Target="../media/image48.png"/><Relationship Id="rId43" Type="http://schemas.microsoft.com/office/2007/relationships/diagramDrawing" Target="../diagrams/drawing2.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40.xml"/><Relationship Id="rId7" Type="http://schemas.openxmlformats.org/officeDocument/2006/relationships/diagramData" Target="../diagrams/data3.xml"/><Relationship Id="rId2" Type="http://schemas.openxmlformats.org/officeDocument/2006/relationships/tags" Target="../tags/tag1016.xml"/><Relationship Id="rId1" Type="http://schemas.openxmlformats.org/officeDocument/2006/relationships/customXml" Target="../../customXml/item26.xml"/><Relationship Id="rId6" Type="http://schemas.openxmlformats.org/officeDocument/2006/relationships/image" Target="../media/image8.emf"/><Relationship Id="rId11" Type="http://schemas.microsoft.com/office/2007/relationships/diagramDrawing" Target="../diagrams/drawing3.xml"/><Relationship Id="rId5" Type="http://schemas.openxmlformats.org/officeDocument/2006/relationships/oleObject" Target="../embeddings/oleObject31.bin"/><Relationship Id="rId10" Type="http://schemas.openxmlformats.org/officeDocument/2006/relationships/diagramColors" Target="../diagrams/colors3.xml"/><Relationship Id="rId4" Type="http://schemas.openxmlformats.org/officeDocument/2006/relationships/notesSlide" Target="../notesSlides/notesSlide12.xml"/><Relationship Id="rId9"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40.xml"/><Relationship Id="rId7" Type="http://schemas.openxmlformats.org/officeDocument/2006/relationships/diagramData" Target="../diagrams/data4.xml"/><Relationship Id="rId2" Type="http://schemas.openxmlformats.org/officeDocument/2006/relationships/tags" Target="../tags/tag1017.xml"/><Relationship Id="rId1" Type="http://schemas.openxmlformats.org/officeDocument/2006/relationships/customXml" Target="../../customXml/item27.xml"/><Relationship Id="rId6" Type="http://schemas.openxmlformats.org/officeDocument/2006/relationships/image" Target="../media/image8.emf"/><Relationship Id="rId11" Type="http://schemas.microsoft.com/office/2007/relationships/diagramDrawing" Target="../diagrams/drawing4.xml"/><Relationship Id="rId5" Type="http://schemas.openxmlformats.org/officeDocument/2006/relationships/oleObject" Target="../embeddings/oleObject32.bin"/><Relationship Id="rId10" Type="http://schemas.openxmlformats.org/officeDocument/2006/relationships/diagramColors" Target="../diagrams/colors4.xml"/><Relationship Id="rId4" Type="http://schemas.openxmlformats.org/officeDocument/2006/relationships/notesSlide" Target="../notesSlides/notesSlide13.xml"/><Relationship Id="rId9"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58.png"/><Relationship Id="rId18" Type="http://schemas.openxmlformats.org/officeDocument/2006/relationships/image" Target="../media/image63.svg"/><Relationship Id="rId26" Type="http://schemas.openxmlformats.org/officeDocument/2006/relationships/diagramColors" Target="../diagrams/colors5.xml"/><Relationship Id="rId3" Type="http://schemas.openxmlformats.org/officeDocument/2006/relationships/slideLayout" Target="../slideLayouts/slideLayout140.xml"/><Relationship Id="rId21" Type="http://schemas.openxmlformats.org/officeDocument/2006/relationships/image" Target="../media/image66.png"/><Relationship Id="rId7" Type="http://schemas.openxmlformats.org/officeDocument/2006/relationships/image" Target="../media/image52.jpeg"/><Relationship Id="rId12" Type="http://schemas.openxmlformats.org/officeDocument/2006/relationships/image" Target="../media/image57.svg"/><Relationship Id="rId17" Type="http://schemas.openxmlformats.org/officeDocument/2006/relationships/image" Target="../media/image62.png"/><Relationship Id="rId25" Type="http://schemas.openxmlformats.org/officeDocument/2006/relationships/diagramQuickStyle" Target="../diagrams/quickStyle5.xml"/><Relationship Id="rId2" Type="http://schemas.openxmlformats.org/officeDocument/2006/relationships/tags" Target="../tags/tag1018.xml"/><Relationship Id="rId16" Type="http://schemas.openxmlformats.org/officeDocument/2006/relationships/image" Target="../media/image61.svg"/><Relationship Id="rId20" Type="http://schemas.openxmlformats.org/officeDocument/2006/relationships/image" Target="../media/image65.svg"/><Relationship Id="rId1" Type="http://schemas.openxmlformats.org/officeDocument/2006/relationships/customXml" Target="../../customXml/item28.xml"/><Relationship Id="rId6" Type="http://schemas.openxmlformats.org/officeDocument/2006/relationships/image" Target="../media/image8.emf"/><Relationship Id="rId11" Type="http://schemas.openxmlformats.org/officeDocument/2006/relationships/image" Target="../media/image56.png"/><Relationship Id="rId24" Type="http://schemas.openxmlformats.org/officeDocument/2006/relationships/diagramLayout" Target="../diagrams/layout5.xml"/><Relationship Id="rId5" Type="http://schemas.openxmlformats.org/officeDocument/2006/relationships/oleObject" Target="../embeddings/oleObject33.bin"/><Relationship Id="rId15" Type="http://schemas.openxmlformats.org/officeDocument/2006/relationships/image" Target="../media/image60.png"/><Relationship Id="rId23" Type="http://schemas.openxmlformats.org/officeDocument/2006/relationships/diagramData" Target="../diagrams/data5.xml"/><Relationship Id="rId10" Type="http://schemas.openxmlformats.org/officeDocument/2006/relationships/image" Target="../media/image55.jpeg"/><Relationship Id="rId19" Type="http://schemas.openxmlformats.org/officeDocument/2006/relationships/image" Target="../media/image64.png"/><Relationship Id="rId4" Type="http://schemas.openxmlformats.org/officeDocument/2006/relationships/notesSlide" Target="../notesSlides/notesSlide14.xml"/><Relationship Id="rId9" Type="http://schemas.openxmlformats.org/officeDocument/2006/relationships/image" Target="../media/image54.jpeg"/><Relationship Id="rId14" Type="http://schemas.openxmlformats.org/officeDocument/2006/relationships/image" Target="../media/image59.svg"/><Relationship Id="rId22" Type="http://schemas.openxmlformats.org/officeDocument/2006/relationships/image" Target="../media/image67.svg"/><Relationship Id="rId27" Type="http://schemas.microsoft.com/office/2007/relationships/diagramDrawing" Target="../diagrams/drawing5.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40.xml"/><Relationship Id="rId7" Type="http://schemas.openxmlformats.org/officeDocument/2006/relationships/diagramData" Target="../diagrams/data6.xml"/><Relationship Id="rId12" Type="http://schemas.openxmlformats.org/officeDocument/2006/relationships/image" Target="../media/image68.jpeg"/><Relationship Id="rId2" Type="http://schemas.openxmlformats.org/officeDocument/2006/relationships/tags" Target="../tags/tag1019.xml"/><Relationship Id="rId1" Type="http://schemas.openxmlformats.org/officeDocument/2006/relationships/customXml" Target="../../customXml/item29.xml"/><Relationship Id="rId6" Type="http://schemas.openxmlformats.org/officeDocument/2006/relationships/image" Target="../media/image8.emf"/><Relationship Id="rId11" Type="http://schemas.microsoft.com/office/2007/relationships/diagramDrawing" Target="../diagrams/drawing6.xml"/><Relationship Id="rId5" Type="http://schemas.openxmlformats.org/officeDocument/2006/relationships/oleObject" Target="../embeddings/oleObject34.bin"/><Relationship Id="rId10" Type="http://schemas.openxmlformats.org/officeDocument/2006/relationships/diagramColors" Target="../diagrams/colors6.xml"/><Relationship Id="rId4" Type="http://schemas.openxmlformats.org/officeDocument/2006/relationships/notesSlide" Target="../notesSlides/notesSlide15.xml"/><Relationship Id="rId9" Type="http://schemas.openxmlformats.org/officeDocument/2006/relationships/diagramQuickStyle" Target="../diagrams/quickStyle6.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3.xml"/><Relationship Id="rId1" Type="http://schemas.openxmlformats.org/officeDocument/2006/relationships/customXml" Target="../../customXml/item30.xml"/><Relationship Id="rId4" Type="http://schemas.openxmlformats.org/officeDocument/2006/relationships/hyperlink" Target="https://www.flickr.com/photos/peigov/15898994173"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57.xml"/><Relationship Id="rId7" Type="http://schemas.openxmlformats.org/officeDocument/2006/relationships/image" Target="../media/image13.png"/><Relationship Id="rId2" Type="http://schemas.openxmlformats.org/officeDocument/2006/relationships/tags" Target="../tags/tag971.xml"/><Relationship Id="rId1" Type="http://schemas.openxmlformats.org/officeDocument/2006/relationships/customXml" Target="../../customXml/item13.xml"/><Relationship Id="rId6" Type="http://schemas.openxmlformats.org/officeDocument/2006/relationships/image" Target="../media/image9.emf"/><Relationship Id="rId5" Type="http://schemas.openxmlformats.org/officeDocument/2006/relationships/oleObject" Target="../embeddings/oleObject22.bin"/><Relationship Id="rId10"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png"/></Relationships>
</file>

<file path=ppt/slides/_rels/slide20.xml.rels><?xml version="1.0" encoding="UTF-8" standalone="yes"?>
<Relationships xmlns="http://schemas.openxmlformats.org/package/2006/relationships"><Relationship Id="rId8" Type="http://schemas.openxmlformats.org/officeDocument/2006/relationships/tags" Target="../tags/tag1026.xml"/><Relationship Id="rId13" Type="http://schemas.openxmlformats.org/officeDocument/2006/relationships/tags" Target="../tags/tag1031.xml"/><Relationship Id="rId18" Type="http://schemas.openxmlformats.org/officeDocument/2006/relationships/tags" Target="../tags/tag1036.xml"/><Relationship Id="rId26" Type="http://schemas.openxmlformats.org/officeDocument/2006/relationships/notesSlide" Target="../notesSlides/notesSlide16.xml"/><Relationship Id="rId3" Type="http://schemas.openxmlformats.org/officeDocument/2006/relationships/tags" Target="../tags/tag1021.xml"/><Relationship Id="rId21" Type="http://schemas.openxmlformats.org/officeDocument/2006/relationships/tags" Target="../tags/tag1039.xml"/><Relationship Id="rId7" Type="http://schemas.openxmlformats.org/officeDocument/2006/relationships/tags" Target="../tags/tag1025.xml"/><Relationship Id="rId12" Type="http://schemas.openxmlformats.org/officeDocument/2006/relationships/tags" Target="../tags/tag1030.xml"/><Relationship Id="rId17" Type="http://schemas.openxmlformats.org/officeDocument/2006/relationships/tags" Target="../tags/tag1035.xml"/><Relationship Id="rId25" Type="http://schemas.openxmlformats.org/officeDocument/2006/relationships/slideLayout" Target="../slideLayouts/slideLayout140.xml"/><Relationship Id="rId2" Type="http://schemas.openxmlformats.org/officeDocument/2006/relationships/tags" Target="../tags/tag1020.xml"/><Relationship Id="rId16" Type="http://schemas.openxmlformats.org/officeDocument/2006/relationships/tags" Target="../tags/tag1034.xml"/><Relationship Id="rId20" Type="http://schemas.openxmlformats.org/officeDocument/2006/relationships/tags" Target="../tags/tag1038.xml"/><Relationship Id="rId29" Type="http://schemas.openxmlformats.org/officeDocument/2006/relationships/chart" Target="../charts/chart5.xml"/><Relationship Id="rId1" Type="http://schemas.openxmlformats.org/officeDocument/2006/relationships/customXml" Target="../../customXml/item31.xml"/><Relationship Id="rId6" Type="http://schemas.openxmlformats.org/officeDocument/2006/relationships/tags" Target="../tags/tag1024.xml"/><Relationship Id="rId11" Type="http://schemas.openxmlformats.org/officeDocument/2006/relationships/tags" Target="../tags/tag1029.xml"/><Relationship Id="rId24" Type="http://schemas.openxmlformats.org/officeDocument/2006/relationships/tags" Target="../tags/tag1042.xml"/><Relationship Id="rId5" Type="http://schemas.openxmlformats.org/officeDocument/2006/relationships/tags" Target="../tags/tag1023.xml"/><Relationship Id="rId15" Type="http://schemas.openxmlformats.org/officeDocument/2006/relationships/tags" Target="../tags/tag1033.xml"/><Relationship Id="rId23" Type="http://schemas.openxmlformats.org/officeDocument/2006/relationships/tags" Target="../tags/tag1041.xml"/><Relationship Id="rId28" Type="http://schemas.openxmlformats.org/officeDocument/2006/relationships/image" Target="../media/image8.emf"/><Relationship Id="rId10" Type="http://schemas.openxmlformats.org/officeDocument/2006/relationships/tags" Target="../tags/tag1028.xml"/><Relationship Id="rId19" Type="http://schemas.openxmlformats.org/officeDocument/2006/relationships/tags" Target="../tags/tag1037.xml"/><Relationship Id="rId31" Type="http://schemas.openxmlformats.org/officeDocument/2006/relationships/chart" Target="../charts/chart7.xml"/><Relationship Id="rId4" Type="http://schemas.openxmlformats.org/officeDocument/2006/relationships/tags" Target="../tags/tag1022.xml"/><Relationship Id="rId9" Type="http://schemas.openxmlformats.org/officeDocument/2006/relationships/tags" Target="../tags/tag1027.xml"/><Relationship Id="rId14" Type="http://schemas.openxmlformats.org/officeDocument/2006/relationships/tags" Target="../tags/tag1032.xml"/><Relationship Id="rId22" Type="http://schemas.openxmlformats.org/officeDocument/2006/relationships/tags" Target="../tags/tag1040.xml"/><Relationship Id="rId27" Type="http://schemas.openxmlformats.org/officeDocument/2006/relationships/oleObject" Target="../embeddings/oleObject35.bin"/><Relationship Id="rId30" Type="http://schemas.openxmlformats.org/officeDocument/2006/relationships/chart" Target="../charts/chart6.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3.xml"/><Relationship Id="rId1" Type="http://schemas.openxmlformats.org/officeDocument/2006/relationships/customXml" Target="../../customXml/item32.xml"/><Relationship Id="rId4" Type="http://schemas.openxmlformats.org/officeDocument/2006/relationships/hyperlink" Target="https://www.flickr.com/photos/peigov/15898994173"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svg"/><Relationship Id="rId3" Type="http://schemas.openxmlformats.org/officeDocument/2006/relationships/slideLayout" Target="../slideLayouts/slideLayout140.xml"/><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tags" Target="../tags/tag1043.xml"/><Relationship Id="rId1" Type="http://schemas.openxmlformats.org/officeDocument/2006/relationships/customXml" Target="../../customXml/item33.xml"/><Relationship Id="rId6" Type="http://schemas.openxmlformats.org/officeDocument/2006/relationships/image" Target="../media/image8.emf"/><Relationship Id="rId11" Type="http://schemas.openxmlformats.org/officeDocument/2006/relationships/image" Target="../media/image73.svg"/><Relationship Id="rId5" Type="http://schemas.openxmlformats.org/officeDocument/2006/relationships/oleObject" Target="../embeddings/oleObject36.bin"/><Relationship Id="rId10" Type="http://schemas.openxmlformats.org/officeDocument/2006/relationships/image" Target="../media/image72.png"/><Relationship Id="rId4" Type="http://schemas.openxmlformats.org/officeDocument/2006/relationships/notesSlide" Target="../notesSlides/notesSlide17.xml"/><Relationship Id="rId9" Type="http://schemas.openxmlformats.org/officeDocument/2006/relationships/image" Target="../media/image71.sv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tags" Target="../tags/tag1044.xml"/><Relationship Id="rId1" Type="http://schemas.openxmlformats.org/officeDocument/2006/relationships/customXml" Target="../../customXml/item34.xml"/><Relationship Id="rId6" Type="http://schemas.openxmlformats.org/officeDocument/2006/relationships/image" Target="../media/image8.emf"/><Relationship Id="rId5" Type="http://schemas.openxmlformats.org/officeDocument/2006/relationships/oleObject" Target="../embeddings/oleObject37.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3.xml"/><Relationship Id="rId1" Type="http://schemas.openxmlformats.org/officeDocument/2006/relationships/customXml" Target="../../customXml/item35.xml"/><Relationship Id="rId4" Type="http://schemas.openxmlformats.org/officeDocument/2006/relationships/hyperlink" Target="https://www.flickr.com/photos/peigov/15898994173" TargetMode="Externa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23.xml"/><Relationship Id="rId1" Type="http://schemas.openxmlformats.org/officeDocument/2006/relationships/customXml" Target="../../customXml/item3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9.xml"/><Relationship Id="rId1" Type="http://schemas.openxmlformats.org/officeDocument/2006/relationships/customXml" Target="../../customXml/item14.xml"/><Relationship Id="rId4" Type="http://schemas.openxmlformats.org/officeDocument/2006/relationships/image" Target="../media/image17.jpe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3.xml"/><Relationship Id="rId1" Type="http://schemas.openxmlformats.org/officeDocument/2006/relationships/customXml" Target="../../customXml/item15.xml"/><Relationship Id="rId4" Type="http://schemas.openxmlformats.org/officeDocument/2006/relationships/hyperlink" Target="https://www.flickr.com/photos/peigov/15898994173"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tags" Target="../tags/tag972.xml"/><Relationship Id="rId1" Type="http://schemas.openxmlformats.org/officeDocument/2006/relationships/customXml" Target="../../customXml/item16.xml"/><Relationship Id="rId6" Type="http://schemas.openxmlformats.org/officeDocument/2006/relationships/image" Target="../media/image8.emf"/><Relationship Id="rId5" Type="http://schemas.openxmlformats.org/officeDocument/2006/relationships/oleObject" Target="../embeddings/oleObject2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4.svg"/><Relationship Id="rId3" Type="http://schemas.openxmlformats.org/officeDocument/2006/relationships/slideLayout" Target="../slideLayouts/slideLayout140.xml"/><Relationship Id="rId7" Type="http://schemas.openxmlformats.org/officeDocument/2006/relationships/image" Target="../media/image19.png"/><Relationship Id="rId12" Type="http://schemas.openxmlformats.org/officeDocument/2006/relationships/image" Target="../media/image23.png"/><Relationship Id="rId2" Type="http://schemas.openxmlformats.org/officeDocument/2006/relationships/tags" Target="../tags/tag973.xml"/><Relationship Id="rId1" Type="http://schemas.openxmlformats.org/officeDocument/2006/relationships/customXml" Target="../../customXml/item17.xml"/><Relationship Id="rId6" Type="http://schemas.openxmlformats.org/officeDocument/2006/relationships/image" Target="../media/image8.emf"/><Relationship Id="rId11" Type="http://schemas.openxmlformats.org/officeDocument/2006/relationships/image" Target="../media/image14.png"/><Relationship Id="rId5" Type="http://schemas.openxmlformats.org/officeDocument/2006/relationships/oleObject" Target="../embeddings/oleObject24.bin"/><Relationship Id="rId15" Type="http://schemas.openxmlformats.org/officeDocument/2006/relationships/image" Target="../media/image26.svg"/><Relationship Id="rId10" Type="http://schemas.openxmlformats.org/officeDocument/2006/relationships/image" Target="../media/image22.svg"/><Relationship Id="rId4" Type="http://schemas.openxmlformats.org/officeDocument/2006/relationships/notesSlide" Target="../notesSlides/notesSlide5.xml"/><Relationship Id="rId9" Type="http://schemas.openxmlformats.org/officeDocument/2006/relationships/image" Target="../media/image21.png"/><Relationship Id="rId1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13.xml"/><Relationship Id="rId1" Type="http://schemas.openxmlformats.org/officeDocument/2006/relationships/customXml" Target="../../customXml/item18.xml"/><Relationship Id="rId4" Type="http://schemas.openxmlformats.org/officeDocument/2006/relationships/hyperlink" Target="https://www.flickr.com/photos/peigov/15898994173"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980.xml"/><Relationship Id="rId13" Type="http://schemas.openxmlformats.org/officeDocument/2006/relationships/tags" Target="../tags/tag985.xml"/><Relationship Id="rId18" Type="http://schemas.openxmlformats.org/officeDocument/2006/relationships/oleObject" Target="../embeddings/oleObject25.bin"/><Relationship Id="rId3" Type="http://schemas.openxmlformats.org/officeDocument/2006/relationships/tags" Target="../tags/tag975.xml"/><Relationship Id="rId21" Type="http://schemas.openxmlformats.org/officeDocument/2006/relationships/chart" Target="../charts/chart2.xml"/><Relationship Id="rId7" Type="http://schemas.openxmlformats.org/officeDocument/2006/relationships/tags" Target="../tags/tag979.xml"/><Relationship Id="rId12" Type="http://schemas.openxmlformats.org/officeDocument/2006/relationships/tags" Target="../tags/tag984.xml"/><Relationship Id="rId17" Type="http://schemas.openxmlformats.org/officeDocument/2006/relationships/notesSlide" Target="../notesSlides/notesSlide6.xml"/><Relationship Id="rId2" Type="http://schemas.openxmlformats.org/officeDocument/2006/relationships/tags" Target="../tags/tag974.xml"/><Relationship Id="rId16" Type="http://schemas.openxmlformats.org/officeDocument/2006/relationships/slideLayout" Target="../slideLayouts/slideLayout140.xml"/><Relationship Id="rId20" Type="http://schemas.openxmlformats.org/officeDocument/2006/relationships/chart" Target="../charts/chart1.xml"/><Relationship Id="rId1" Type="http://schemas.openxmlformats.org/officeDocument/2006/relationships/customXml" Target="../../customXml/item19.xml"/><Relationship Id="rId6" Type="http://schemas.openxmlformats.org/officeDocument/2006/relationships/tags" Target="../tags/tag978.xml"/><Relationship Id="rId11" Type="http://schemas.openxmlformats.org/officeDocument/2006/relationships/tags" Target="../tags/tag983.xml"/><Relationship Id="rId5" Type="http://schemas.openxmlformats.org/officeDocument/2006/relationships/tags" Target="../tags/tag977.xml"/><Relationship Id="rId15" Type="http://schemas.openxmlformats.org/officeDocument/2006/relationships/tags" Target="../tags/tag987.xml"/><Relationship Id="rId10" Type="http://schemas.openxmlformats.org/officeDocument/2006/relationships/tags" Target="../tags/tag982.xml"/><Relationship Id="rId19" Type="http://schemas.openxmlformats.org/officeDocument/2006/relationships/image" Target="../media/image8.emf"/><Relationship Id="rId4" Type="http://schemas.openxmlformats.org/officeDocument/2006/relationships/tags" Target="../tags/tag976.xml"/><Relationship Id="rId9" Type="http://schemas.openxmlformats.org/officeDocument/2006/relationships/tags" Target="../tags/tag981.xml"/><Relationship Id="rId14" Type="http://schemas.openxmlformats.org/officeDocument/2006/relationships/tags" Target="../tags/tag986.xml"/><Relationship Id="rId22"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tags" Target="../tags/tag988.xml"/><Relationship Id="rId1" Type="http://schemas.openxmlformats.org/officeDocument/2006/relationships/customXml" Target="../../customXml/item20.xml"/><Relationship Id="rId6" Type="http://schemas.openxmlformats.org/officeDocument/2006/relationships/image" Target="../media/image8.emf"/><Relationship Id="rId5" Type="http://schemas.openxmlformats.org/officeDocument/2006/relationships/oleObject" Target="../embeddings/oleObject26.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20A3DF-6E5E-477E-981C-7B9C4A6123D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8" name="Object 7" hidden="1">
                        <a:extLst>
                          <a:ext uri="{FF2B5EF4-FFF2-40B4-BE49-F238E27FC236}">
                            <a16:creationId xmlns:a16="http://schemas.microsoft.com/office/drawing/2014/main" id="{7D20A3DF-6E5E-477E-981C-7B9C4A6123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5" name="Picture Placeholder 44" descr="A picture containing text&#10;&#10;Description automatically generated">
            <a:extLst>
              <a:ext uri="{FF2B5EF4-FFF2-40B4-BE49-F238E27FC236}">
                <a16:creationId xmlns:a16="http://schemas.microsoft.com/office/drawing/2014/main" id="{743558C7-8073-49AD-B99F-D5F41A557AAC}"/>
              </a:ext>
            </a:extLst>
          </p:cNvPr>
          <p:cNvPicPr>
            <a:picLocks noGrp="1" noChangeAspect="1"/>
          </p:cNvPicPr>
          <p:nvPr>
            <p:ph type="pic" sz="quarter" idx="10"/>
          </p:nvPr>
        </p:nvPicPr>
        <p:blipFill rotWithShape="1">
          <a:blip r:embed="rId7" cstate="screen">
            <a:extLst>
              <a:ext uri="{28A0092B-C50C-407E-A947-70E740481C1C}">
                <a14:useLocalDpi xmlns:a14="http://schemas.microsoft.com/office/drawing/2010/main"/>
              </a:ext>
            </a:extLst>
          </a:blip>
          <a:srcRect t="7868" b="7868"/>
          <a:stretch/>
        </p:blipFill>
        <p:spPr>
          <a:xfrm>
            <a:off x="0" y="0"/>
            <a:ext cx="12192000" cy="6858000"/>
          </a:xfrm>
        </p:spPr>
      </p:pic>
      <p:grpSp>
        <p:nvGrpSpPr>
          <p:cNvPr id="33" name="Group 32">
            <a:extLst>
              <a:ext uri="{FF2B5EF4-FFF2-40B4-BE49-F238E27FC236}">
                <a16:creationId xmlns:a16="http://schemas.microsoft.com/office/drawing/2014/main" id="{9F5C2403-4C9F-4771-A1BB-905177EB800F}"/>
              </a:ext>
            </a:extLst>
          </p:cNvPr>
          <p:cNvGrpSpPr/>
          <p:nvPr/>
        </p:nvGrpSpPr>
        <p:grpSpPr>
          <a:xfrm>
            <a:off x="462885" y="650804"/>
            <a:ext cx="5823616" cy="6207196"/>
            <a:chOff x="564482" y="650804"/>
            <a:chExt cx="6428718" cy="6207196"/>
          </a:xfrm>
        </p:grpSpPr>
        <p:sp>
          <p:nvSpPr>
            <p:cNvPr id="16" name="Rectangle 15">
              <a:extLst>
                <a:ext uri="{FF2B5EF4-FFF2-40B4-BE49-F238E27FC236}">
                  <a16:creationId xmlns:a16="http://schemas.microsoft.com/office/drawing/2014/main" id="{233DA98E-B872-5144-99B2-AC98AB21DA35}"/>
                </a:ext>
              </a:extLst>
            </p:cNvPr>
            <p:cNvSpPr/>
            <p:nvPr/>
          </p:nvSpPr>
          <p:spPr>
            <a:xfrm>
              <a:off x="615616" y="650804"/>
              <a:ext cx="6377584" cy="4237244"/>
            </a:xfrm>
            <a:prstGeom prst="rect">
              <a:avLst/>
            </a:prstGeom>
            <a:solidFill>
              <a:schemeClr val="accent3"/>
            </a:solidFill>
          </p:spPr>
          <p:txBody>
            <a:bodyPr wrap="square" lIns="216000" tIns="144000" bIns="144000">
              <a:noAutofit/>
            </a:bodyPr>
            <a:lstStyle/>
            <a:p>
              <a:pPr>
                <a:lnSpc>
                  <a:spcPct val="100000"/>
                </a:lnSpc>
                <a:spcAft>
                  <a:spcPts val="600"/>
                </a:spcAft>
              </a:pPr>
              <a:endParaRPr lang="en-IN" sz="1600">
                <a:cs typeface="Arial"/>
              </a:endParaRPr>
            </a:p>
          </p:txBody>
        </p:sp>
        <p:sp>
          <p:nvSpPr>
            <p:cNvPr id="22" name="Rectangle 21">
              <a:extLst>
                <a:ext uri="{FF2B5EF4-FFF2-40B4-BE49-F238E27FC236}">
                  <a16:creationId xmlns:a16="http://schemas.microsoft.com/office/drawing/2014/main" id="{2C4A6510-5CE1-6E42-9670-BDE31B77417D}"/>
                </a:ext>
              </a:extLst>
            </p:cNvPr>
            <p:cNvSpPr/>
            <p:nvPr/>
          </p:nvSpPr>
          <p:spPr>
            <a:xfrm>
              <a:off x="564482" y="4888048"/>
              <a:ext cx="6414348" cy="1969952"/>
            </a:xfrm>
            <a:prstGeom prst="rect">
              <a:avLst/>
            </a:prstGeom>
            <a:solidFill>
              <a:schemeClr val="tx1">
                <a:alpha val="85000"/>
              </a:schemeClr>
            </a:solidFill>
          </p:spPr>
          <p:txBody>
            <a:bodyPr wrap="square" lIns="324000" tIns="251999" rIns="0" bIns="2015999">
              <a:noAutofit/>
            </a:bodyPr>
            <a:lstStyle/>
            <a:p>
              <a:pPr marL="12700">
                <a:spcBef>
                  <a:spcPts val="400"/>
                </a:spcBef>
              </a:pPr>
              <a:br>
                <a:rPr lang="en-IN" sz="1400" spc="-10">
                  <a:solidFill>
                    <a:srgbClr val="FFFFFF"/>
                  </a:solidFill>
                  <a:cs typeface="Arial"/>
                </a:rPr>
              </a:br>
              <a:endParaRPr lang="en-IN" sz="1400">
                <a:cs typeface="Arial"/>
              </a:endParaRPr>
            </a:p>
          </p:txBody>
        </p:sp>
      </p:grpSp>
      <p:cxnSp>
        <p:nvCxnSpPr>
          <p:cNvPr id="27" name="Straight Connector 26">
            <a:extLst>
              <a:ext uri="{FF2B5EF4-FFF2-40B4-BE49-F238E27FC236}">
                <a16:creationId xmlns:a16="http://schemas.microsoft.com/office/drawing/2014/main" id="{BE32DBCF-5C67-AD41-8C8C-04F9F3DF8FC3}"/>
              </a:ext>
            </a:extLst>
          </p:cNvPr>
          <p:cNvCxnSpPr>
            <a:cxnSpLocks/>
          </p:cNvCxnSpPr>
          <p:nvPr/>
        </p:nvCxnSpPr>
        <p:spPr>
          <a:xfrm>
            <a:off x="0" y="4889269"/>
            <a:ext cx="12192000" cy="1220"/>
          </a:xfrm>
          <a:prstGeom prst="line">
            <a:avLst/>
          </a:prstGeom>
          <a:ln w="152400" cap="sq">
            <a:solidFill>
              <a:schemeClr val="bg1"/>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70AAE824-913B-8347-9166-22543BDB5A8D}"/>
              </a:ext>
            </a:extLst>
          </p:cNvPr>
          <p:cNvCxnSpPr>
            <a:cxnSpLocks/>
          </p:cNvCxnSpPr>
          <p:nvPr/>
        </p:nvCxnSpPr>
        <p:spPr>
          <a:xfrm>
            <a:off x="6251160" y="0"/>
            <a:ext cx="0" cy="6776029"/>
          </a:xfrm>
          <a:prstGeom prst="line">
            <a:avLst/>
          </a:prstGeom>
          <a:ln w="152400" cap="sq">
            <a:solidFill>
              <a:schemeClr val="bg1"/>
            </a:solidFill>
          </a:ln>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A3148E66-9009-BB44-85E8-8149B9C93D25}"/>
              </a:ext>
            </a:extLst>
          </p:cNvPr>
          <p:cNvCxnSpPr>
            <a:cxnSpLocks/>
          </p:cNvCxnSpPr>
          <p:nvPr/>
        </p:nvCxnSpPr>
        <p:spPr>
          <a:xfrm>
            <a:off x="425455" y="650804"/>
            <a:ext cx="0" cy="6125225"/>
          </a:xfrm>
          <a:prstGeom prst="line">
            <a:avLst/>
          </a:prstGeom>
          <a:ln w="152400" cap="sq">
            <a:solidFill>
              <a:schemeClr val="bg1"/>
            </a:solidFill>
          </a:ln>
        </p:spPr>
        <p:style>
          <a:lnRef idx="1">
            <a:schemeClr val="accent1"/>
          </a:lnRef>
          <a:fillRef idx="0">
            <a:schemeClr val="accent1"/>
          </a:fillRef>
          <a:effectRef idx="0">
            <a:schemeClr val="dk1"/>
          </a:effectRef>
          <a:fontRef idx="minor">
            <a:schemeClr val="lt1"/>
          </a:fontRef>
        </p:style>
      </p:cxnSp>
      <p:sp>
        <p:nvSpPr>
          <p:cNvPr id="17" name="Title 1">
            <a:extLst>
              <a:ext uri="{FF2B5EF4-FFF2-40B4-BE49-F238E27FC236}">
                <a16:creationId xmlns:a16="http://schemas.microsoft.com/office/drawing/2014/main" id="{4F5E5FD1-9618-45C8-9F3C-3D95C943D5BC}"/>
              </a:ext>
            </a:extLst>
          </p:cNvPr>
          <p:cNvSpPr txBox="1">
            <a:spLocks/>
          </p:cNvSpPr>
          <p:nvPr/>
        </p:nvSpPr>
        <p:spPr>
          <a:xfrm>
            <a:off x="690354" y="1269457"/>
            <a:ext cx="5596147" cy="1547941"/>
          </a:xfrm>
          <a:prstGeom prst="rect">
            <a:avLst/>
          </a:prstGeom>
        </p:spPr>
        <p:txBody>
          <a:bodyPr vert="horz" lIns="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sz="2600">
              <a:solidFill>
                <a:schemeClr val="bg1"/>
              </a:solidFill>
              <a:latin typeface="Georgia" panose="02040502050405020303" pitchFamily="18" charset="0"/>
            </a:endParaRPr>
          </a:p>
        </p:txBody>
      </p:sp>
      <p:sp>
        <p:nvSpPr>
          <p:cNvPr id="14" name="Subtitle 5">
            <a:extLst>
              <a:ext uri="{FF2B5EF4-FFF2-40B4-BE49-F238E27FC236}">
                <a16:creationId xmlns:a16="http://schemas.microsoft.com/office/drawing/2014/main" id="{BB65B3AF-9360-4A21-8442-77419874BEB0}"/>
              </a:ext>
            </a:extLst>
          </p:cNvPr>
          <p:cNvSpPr txBox="1">
            <a:spLocks/>
          </p:cNvSpPr>
          <p:nvPr/>
        </p:nvSpPr>
        <p:spPr>
          <a:xfrm>
            <a:off x="633237" y="4105208"/>
            <a:ext cx="5952549" cy="594360"/>
          </a:xfrm>
          <a:prstGeom prst="rect">
            <a:avLst/>
          </a:prstGeom>
          <a:noFill/>
          <a:ln>
            <a:noFill/>
          </a:ln>
        </p:spPr>
        <p:txBody>
          <a:bodyPr spcFirstLastPara="1" wrap="square" lIns="90000" tIns="90000" rIns="90000" bIns="90000" anchor="ctr"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accent1"/>
              </a:buClr>
              <a:buSzPts val="1800"/>
              <a:buFont typeface="Arial"/>
              <a:buNone/>
              <a:defRPr sz="1600" b="0" i="0" u="none" strike="noStrike" cap="none">
                <a:solidFill>
                  <a:schemeClr val="tx1"/>
                </a:solidFill>
                <a:latin typeface="Arial"/>
                <a:ea typeface="Arial"/>
                <a:cs typeface="Arial"/>
                <a:sym typeface="Arial"/>
              </a:defRPr>
            </a:lvl1pPr>
            <a:lvl2pPr marL="0" marR="0" lvl="1"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0" marR="0" lvl="2"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0" marR="0" lvl="3"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0" marR="0" lvl="4"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0" marR="0" lvl="5"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0" marR="0" lvl="6"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0" marR="0" lvl="7"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0" marR="0" lvl="8"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pPr>
              <a:spcAft>
                <a:spcPts val="1200"/>
              </a:spcAft>
            </a:pPr>
            <a:r>
              <a:rPr lang="en-US" sz="1400" b="1">
                <a:solidFill>
                  <a:schemeClr val="bg1"/>
                </a:solidFill>
              </a:rPr>
              <a:t>Draft Final Report Discussion</a:t>
            </a:r>
          </a:p>
          <a:p>
            <a:pPr>
              <a:spcAft>
                <a:spcPts val="1200"/>
              </a:spcAft>
            </a:pPr>
            <a:r>
              <a:rPr lang="en-US" sz="1400" b="1">
                <a:solidFill>
                  <a:schemeClr val="bg1"/>
                </a:solidFill>
              </a:rPr>
              <a:t>September 2023</a:t>
            </a:r>
            <a:endParaRPr lang="en-US" sz="1400">
              <a:solidFill>
                <a:schemeClr val="bg1"/>
              </a:solidFill>
            </a:endParaRPr>
          </a:p>
        </p:txBody>
      </p:sp>
      <p:sp>
        <p:nvSpPr>
          <p:cNvPr id="15" name="Subtitle 5">
            <a:extLst>
              <a:ext uri="{FF2B5EF4-FFF2-40B4-BE49-F238E27FC236}">
                <a16:creationId xmlns:a16="http://schemas.microsoft.com/office/drawing/2014/main" id="{27C4FECD-BD2F-411A-A938-A28C02AC8906}"/>
              </a:ext>
            </a:extLst>
          </p:cNvPr>
          <p:cNvSpPr txBox="1">
            <a:spLocks/>
          </p:cNvSpPr>
          <p:nvPr/>
        </p:nvSpPr>
        <p:spPr>
          <a:xfrm>
            <a:off x="664260" y="1301609"/>
            <a:ext cx="5252352" cy="2557701"/>
          </a:xfrm>
          <a:prstGeom prst="rect">
            <a:avLst/>
          </a:prstGeom>
          <a:noFill/>
          <a:ln>
            <a:noFill/>
          </a:ln>
        </p:spPr>
        <p:txBody>
          <a:bodyPr spcFirstLastPara="1" wrap="square" lIns="90000" tIns="90000" rIns="90000" bIns="90000" anchor="ctr"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accent1"/>
              </a:buClr>
              <a:buSzPts val="1800"/>
              <a:buFont typeface="Arial"/>
              <a:buNone/>
              <a:defRPr sz="1600" b="0" i="0" u="none" strike="noStrike" cap="none">
                <a:solidFill>
                  <a:schemeClr val="tx1"/>
                </a:solidFill>
                <a:latin typeface="Arial"/>
                <a:ea typeface="Arial"/>
                <a:cs typeface="Arial"/>
                <a:sym typeface="Arial"/>
              </a:defRPr>
            </a:lvl1pPr>
            <a:lvl2pPr marL="0" marR="0" lvl="1"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0" marR="0" lvl="2"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0" marR="0" lvl="3"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L="0" marR="0" lvl="4"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L="0" marR="0" lvl="5"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L="0" marR="0" lvl="6"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L="0" marR="0" lvl="7"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L="0" marR="0" lvl="8" indent="0" algn="l" rtl="0">
              <a:lnSpc>
                <a:spcPct val="100000"/>
              </a:lnSpc>
              <a:spcBef>
                <a:spcPts val="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r>
              <a:rPr lang="en-US" sz="2400" b="1" dirty="0">
                <a:solidFill>
                  <a:schemeClr val="bg1"/>
                </a:solidFill>
              </a:rPr>
              <a:t>Prefeasibility study for establishment of International Center for Industrial Cooperation (ICIC) at Kazakhstan-Uzbekistan Border under Shymkent-Tashkent-Khujand Economic Corridor (STKEC)</a:t>
            </a:r>
          </a:p>
        </p:txBody>
      </p:sp>
      <p:pic>
        <p:nvPicPr>
          <p:cNvPr id="21" name="Google Shape;95;p3">
            <a:extLst>
              <a:ext uri="{FF2B5EF4-FFF2-40B4-BE49-F238E27FC236}">
                <a16:creationId xmlns:a16="http://schemas.microsoft.com/office/drawing/2014/main" id="{0D071196-1C55-4B57-94AD-20682787795A}"/>
              </a:ext>
            </a:extLst>
          </p:cNvPr>
          <p:cNvPicPr preferRelativeResize="0"/>
          <p:nvPr/>
        </p:nvPicPr>
        <p:blipFill rotWithShape="1">
          <a:blip r:embed="rId8">
            <a:alphaModFix/>
          </a:blip>
          <a:srcRect/>
          <a:stretch/>
        </p:blipFill>
        <p:spPr>
          <a:xfrm>
            <a:off x="526494" y="5136387"/>
            <a:ext cx="1636776" cy="1351184"/>
          </a:xfrm>
          <a:prstGeom prst="rect">
            <a:avLst/>
          </a:prstGeom>
          <a:noFill/>
          <a:ln>
            <a:noFill/>
          </a:ln>
        </p:spPr>
      </p:pic>
      <p:cxnSp>
        <p:nvCxnSpPr>
          <p:cNvPr id="19" name="Straight Connector 18">
            <a:extLst>
              <a:ext uri="{FF2B5EF4-FFF2-40B4-BE49-F238E27FC236}">
                <a16:creationId xmlns:a16="http://schemas.microsoft.com/office/drawing/2014/main" id="{855ABF08-A76A-0142-8C07-F994198C1C32}"/>
              </a:ext>
            </a:extLst>
          </p:cNvPr>
          <p:cNvCxnSpPr>
            <a:cxnSpLocks/>
          </p:cNvCxnSpPr>
          <p:nvPr/>
        </p:nvCxnSpPr>
        <p:spPr>
          <a:xfrm>
            <a:off x="476254" y="650804"/>
            <a:ext cx="5774906" cy="0"/>
          </a:xfrm>
          <a:prstGeom prst="line">
            <a:avLst/>
          </a:prstGeom>
          <a:ln w="152400" cap="sq">
            <a:solidFill>
              <a:schemeClr val="bg1"/>
            </a:solidFill>
          </a:ln>
        </p:spPr>
        <p:style>
          <a:lnRef idx="1">
            <a:schemeClr val="accent1"/>
          </a:lnRef>
          <a:fillRef idx="0">
            <a:schemeClr val="accent1"/>
          </a:fillRef>
          <a:effectRef idx="0">
            <a:schemeClr val="dk1"/>
          </a:effectRef>
          <a:fontRef idx="minor">
            <a:schemeClr val="lt1"/>
          </a:fontRef>
        </p:style>
      </p:cxnSp>
    </p:spTree>
    <p:custDataLst>
      <p:custData r:id="rId1"/>
    </p:custDataLst>
    <p:extLst>
      <p:ext uri="{BB962C8B-B14F-4D97-AF65-F5344CB8AC3E}">
        <p14:creationId xmlns:p14="http://schemas.microsoft.com/office/powerpoint/2010/main" val="14632290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38160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pPr lvl="0"/>
            <a:r>
              <a:rPr lang="en-US" sz="2400" b="0" dirty="0">
                <a:latin typeface="Georgia" panose="02040502050405020303" pitchFamily="18" charset="0"/>
              </a:rPr>
              <a:t>Rationale for ICIC Development</a:t>
            </a:r>
          </a:p>
        </p:txBody>
      </p:sp>
      <p:sp>
        <p:nvSpPr>
          <p:cNvPr id="7" name="Google Shape;1631;g114e5dc4418_1_0">
            <a:extLst>
              <a:ext uri="{FF2B5EF4-FFF2-40B4-BE49-F238E27FC236}">
                <a16:creationId xmlns:a16="http://schemas.microsoft.com/office/drawing/2014/main" id="{7433582D-A57B-4F5E-AD4D-771F4E551EFA}"/>
              </a:ext>
            </a:extLst>
          </p:cNvPr>
          <p:cNvSpPr/>
          <p:nvPr/>
        </p:nvSpPr>
        <p:spPr>
          <a:xfrm flipH="1">
            <a:off x="485843" y="1199174"/>
            <a:ext cx="11494587" cy="327210"/>
          </a:xfrm>
          <a:prstGeom prst="rect">
            <a:avLst/>
          </a:prstGeom>
          <a:solidFill>
            <a:srgbClr val="C00000"/>
          </a:solidFill>
          <a:ln w="9525" cap="flat" cmpd="sng">
            <a:noFill/>
            <a:prstDash val="solid"/>
            <a:round/>
            <a:headEnd type="none" w="sm" len="sm"/>
            <a:tailEnd type="none" w="sm" len="sm"/>
          </a:ln>
          <a:effectLst>
            <a:outerShdw blurRad="50800" dist="38100" algn="l" rotWithShape="0">
              <a:prstClr val="black">
                <a:alpha val="40000"/>
              </a:prstClr>
            </a:outerShdw>
          </a:effectLst>
        </p:spPr>
        <p:txBody>
          <a:bodyPr spcFirstLastPara="1" wrap="square" lIns="98375" tIns="98375" rIns="98375" bIns="983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79"/>
              <a:buFont typeface="Arial"/>
              <a:buNone/>
              <a:tabLst/>
              <a:defRPr/>
            </a:pPr>
            <a:r>
              <a:rPr lang="en-US" sz="1400" b="1" i="1" kern="0" dirty="0">
                <a:solidFill>
                  <a:srgbClr val="FFFFFF"/>
                </a:solidFill>
                <a:latin typeface="Arial" panose="020B0604020202020204" pitchFamily="34" charset="0"/>
                <a:ea typeface="Arial"/>
                <a:cs typeface="Arial" panose="020B0604020202020204" pitchFamily="34" charset="0"/>
                <a:sym typeface="Arial"/>
              </a:rPr>
              <a:t>How ICIC can help?</a:t>
            </a:r>
            <a:endParaRPr kumimoji="0" lang="en-US" sz="1400" b="1" i="1"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grpSp>
        <p:nvGrpSpPr>
          <p:cNvPr id="12" name="Group 11">
            <a:extLst>
              <a:ext uri="{FF2B5EF4-FFF2-40B4-BE49-F238E27FC236}">
                <a16:creationId xmlns:a16="http://schemas.microsoft.com/office/drawing/2014/main" id="{249A0EE9-32E1-45C4-994D-D6010964D2D4}"/>
              </a:ext>
            </a:extLst>
          </p:cNvPr>
          <p:cNvGrpSpPr/>
          <p:nvPr/>
        </p:nvGrpSpPr>
        <p:grpSpPr>
          <a:xfrm>
            <a:off x="483243" y="4959554"/>
            <a:ext cx="11456855" cy="1208453"/>
            <a:chOff x="483243" y="5092904"/>
            <a:chExt cx="11456855" cy="1208453"/>
          </a:xfrm>
        </p:grpSpPr>
        <p:pic>
          <p:nvPicPr>
            <p:cNvPr id="20" name="Graphic 19" descr="Connected with solid fill">
              <a:extLst>
                <a:ext uri="{FF2B5EF4-FFF2-40B4-BE49-F238E27FC236}">
                  <a16:creationId xmlns:a16="http://schemas.microsoft.com/office/drawing/2014/main" id="{7B317105-7277-4C78-BB09-97EB72EFD6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3243" y="5092904"/>
              <a:ext cx="386476" cy="363840"/>
            </a:xfrm>
            <a:prstGeom prst="rect">
              <a:avLst/>
            </a:prstGeom>
          </p:spPr>
        </p:pic>
        <p:sp>
          <p:nvSpPr>
            <p:cNvPr id="65" name="TextBox 64">
              <a:extLst>
                <a:ext uri="{FF2B5EF4-FFF2-40B4-BE49-F238E27FC236}">
                  <a16:creationId xmlns:a16="http://schemas.microsoft.com/office/drawing/2014/main" id="{F782AD23-F6F8-47EA-92DF-D212CC3A19E6}"/>
                </a:ext>
              </a:extLst>
            </p:cNvPr>
            <p:cNvSpPr txBox="1"/>
            <p:nvPr/>
          </p:nvSpPr>
          <p:spPr>
            <a:xfrm>
              <a:off x="869719" y="5159324"/>
              <a:ext cx="3561140" cy="215444"/>
            </a:xfrm>
            <a:prstGeom prst="rect">
              <a:avLst/>
            </a:prstGeom>
            <a:noFill/>
          </p:spPr>
          <p:txBody>
            <a:bodyPr wrap="square" lIns="0" tIns="0" rIns="0" bIns="0" rtlCol="0">
              <a:spAutoFit/>
            </a:bodyPr>
            <a:lstStyle/>
            <a:p>
              <a:pPr>
                <a:spcAft>
                  <a:spcPts val="600"/>
                </a:spcAft>
                <a:buSzPct val="100000"/>
              </a:pPr>
              <a:r>
                <a:rPr lang="en-US" sz="1400" b="1" i="1" dirty="0">
                  <a:solidFill>
                    <a:schemeClr val="accent5">
                      <a:lumMod val="75000"/>
                    </a:schemeClr>
                  </a:solidFill>
                  <a:highlight>
                    <a:srgbClr val="F1D4D9"/>
                  </a:highlight>
                  <a:latin typeface="Arial" panose="020B0604020202020204" pitchFamily="34" charset="0"/>
                  <a:cs typeface="Arial" panose="020B0604020202020204" pitchFamily="34" charset="0"/>
                </a:rPr>
                <a:t>Manage Supply Chain Risks</a:t>
              </a:r>
            </a:p>
          </p:txBody>
        </p:sp>
        <p:sp>
          <p:nvSpPr>
            <p:cNvPr id="66" name="Google Shape;3236;g138ac581a49_8_2581">
              <a:extLst>
                <a:ext uri="{FF2B5EF4-FFF2-40B4-BE49-F238E27FC236}">
                  <a16:creationId xmlns:a16="http://schemas.microsoft.com/office/drawing/2014/main" id="{543933AA-C010-45CD-BE27-A57881A45B1F}"/>
                </a:ext>
              </a:extLst>
            </p:cNvPr>
            <p:cNvSpPr/>
            <p:nvPr/>
          </p:nvSpPr>
          <p:spPr>
            <a:xfrm>
              <a:off x="485846" y="5458354"/>
              <a:ext cx="11454252" cy="843003"/>
            </a:xfrm>
            <a:prstGeom prst="rect">
              <a:avLst/>
            </a:prstGeom>
            <a:gradFill>
              <a:gsLst>
                <a:gs pos="0">
                  <a:srgbClr val="F2F2F2">
                    <a:alpha val="45490"/>
                  </a:srgbClr>
                </a:gs>
                <a:gs pos="23000">
                  <a:srgbClr val="F2F2F2">
                    <a:alpha val="45490"/>
                  </a:srgbClr>
                </a:gs>
                <a:gs pos="100000">
                  <a:srgbClr val="DEDEDE">
                    <a:alpha val="37647"/>
                  </a:srgbClr>
                </a:gs>
              </a:gsLst>
              <a:lin ang="5400012" scaled="0"/>
            </a:gradFill>
            <a:ln>
              <a:solidFill>
                <a:schemeClr val="tx1"/>
              </a:solidFill>
              <a:prstDash val="dash"/>
            </a:ln>
          </p:spPr>
          <p:txBody>
            <a:bodyPr spcFirstLastPara="1" wrap="square" lIns="91425" tIns="45700" rIns="91425" bIns="45700" anchor="ctr" anchorCtr="0">
              <a:no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Arial"/>
                  <a:ea typeface="+mn-ea"/>
                  <a:cs typeface="+mn-cs"/>
                </a:rPr>
                <a:t>Creation of storage capacity at ICIC, can mitigate the potential impact of temporary supply chain disruption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400" dirty="0">
                  <a:latin typeface="Arial"/>
                </a:rPr>
                <a:t>Development of temperature- controlled logistics can reduce reliance of imported goods during off harvest seasons</a:t>
              </a:r>
              <a:endParaRPr kumimoji="0" lang="en-US" sz="1400" i="0" u="none" strike="noStrike" kern="1200" cap="none" spc="0" normalizeH="0" baseline="0" noProof="0" dirty="0">
                <a:ln>
                  <a:noFill/>
                </a:ln>
                <a:effectLst/>
                <a:uLnTx/>
                <a:uFillTx/>
                <a:latin typeface="Arial"/>
                <a:ea typeface="+mn-ea"/>
                <a:cs typeface="+mn-cs"/>
              </a:endParaRPr>
            </a:p>
          </p:txBody>
        </p:sp>
      </p:grpSp>
      <p:grpSp>
        <p:nvGrpSpPr>
          <p:cNvPr id="14" name="Group 13">
            <a:extLst>
              <a:ext uri="{FF2B5EF4-FFF2-40B4-BE49-F238E27FC236}">
                <a16:creationId xmlns:a16="http://schemas.microsoft.com/office/drawing/2014/main" id="{8AEEBD7F-5328-46FE-AA90-CFD86ACFDCEF}"/>
              </a:ext>
            </a:extLst>
          </p:cNvPr>
          <p:cNvGrpSpPr/>
          <p:nvPr/>
        </p:nvGrpSpPr>
        <p:grpSpPr>
          <a:xfrm>
            <a:off x="382171" y="3205581"/>
            <a:ext cx="11638594" cy="1617987"/>
            <a:chOff x="382171" y="2874130"/>
            <a:chExt cx="11638594" cy="1617987"/>
          </a:xfrm>
        </p:grpSpPr>
        <p:pic>
          <p:nvPicPr>
            <p:cNvPr id="45" name="Graphic 44" descr="Priorities with solid fill">
              <a:extLst>
                <a:ext uri="{FF2B5EF4-FFF2-40B4-BE49-F238E27FC236}">
                  <a16:creationId xmlns:a16="http://schemas.microsoft.com/office/drawing/2014/main" id="{4FFED05C-ECC1-4DBF-8D2E-B34CEEFF79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2171" y="2874130"/>
              <a:ext cx="378923" cy="356729"/>
            </a:xfrm>
            <a:prstGeom prst="rect">
              <a:avLst/>
            </a:prstGeom>
          </p:spPr>
        </p:pic>
        <p:sp>
          <p:nvSpPr>
            <p:cNvPr id="63" name="TextBox 62">
              <a:extLst>
                <a:ext uri="{FF2B5EF4-FFF2-40B4-BE49-F238E27FC236}">
                  <a16:creationId xmlns:a16="http://schemas.microsoft.com/office/drawing/2014/main" id="{1FC5BBD4-3C30-4E11-BF43-53969ACB9EFE}"/>
                </a:ext>
              </a:extLst>
            </p:cNvPr>
            <p:cNvSpPr txBox="1"/>
            <p:nvPr/>
          </p:nvSpPr>
          <p:spPr>
            <a:xfrm>
              <a:off x="761093" y="2933002"/>
              <a:ext cx="4830081" cy="215444"/>
            </a:xfrm>
            <a:prstGeom prst="rect">
              <a:avLst/>
            </a:prstGeom>
            <a:noFill/>
          </p:spPr>
          <p:txBody>
            <a:bodyPr wrap="square" lIns="0" tIns="0" rIns="0" bIns="0" rtlCol="0">
              <a:spAutoFit/>
            </a:bodyPr>
            <a:lstStyle/>
            <a:p>
              <a:pPr>
                <a:spcAft>
                  <a:spcPts val="600"/>
                </a:spcAft>
                <a:buSzPct val="100000"/>
              </a:pPr>
              <a:r>
                <a:rPr lang="en-US" sz="1400" b="1" i="1" dirty="0">
                  <a:solidFill>
                    <a:schemeClr val="accent5">
                      <a:lumMod val="75000"/>
                    </a:schemeClr>
                  </a:solidFill>
                  <a:highlight>
                    <a:srgbClr val="F1D4D9"/>
                  </a:highlight>
                  <a:latin typeface="Arial" panose="020B0604020202020204" pitchFamily="34" charset="0"/>
                  <a:cs typeface="Arial" panose="020B0604020202020204" pitchFamily="34" charset="0"/>
                </a:rPr>
                <a:t>Enhance Competitiveness and increase trade</a:t>
              </a:r>
            </a:p>
          </p:txBody>
        </p:sp>
        <p:sp>
          <p:nvSpPr>
            <p:cNvPr id="68" name="Google Shape;3236;g138ac581a49_8_2581">
              <a:extLst>
                <a:ext uri="{FF2B5EF4-FFF2-40B4-BE49-F238E27FC236}">
                  <a16:creationId xmlns:a16="http://schemas.microsoft.com/office/drawing/2014/main" id="{01E86F04-BE3A-4308-974D-51D63518FE0C}"/>
                </a:ext>
              </a:extLst>
            </p:cNvPr>
            <p:cNvSpPr/>
            <p:nvPr/>
          </p:nvSpPr>
          <p:spPr>
            <a:xfrm>
              <a:off x="483243" y="3225789"/>
              <a:ext cx="11537522" cy="1266328"/>
            </a:xfrm>
            <a:prstGeom prst="rect">
              <a:avLst/>
            </a:prstGeom>
            <a:gradFill>
              <a:gsLst>
                <a:gs pos="0">
                  <a:srgbClr val="F2F2F2">
                    <a:alpha val="45490"/>
                  </a:srgbClr>
                </a:gs>
                <a:gs pos="23000">
                  <a:srgbClr val="F2F2F2">
                    <a:alpha val="45490"/>
                  </a:srgbClr>
                </a:gs>
                <a:gs pos="100000">
                  <a:srgbClr val="DEDEDE">
                    <a:alpha val="37647"/>
                  </a:srgbClr>
                </a:gs>
              </a:gsLst>
              <a:lin ang="5400012" scaled="0"/>
            </a:gradFill>
            <a:ln>
              <a:solidFill>
                <a:schemeClr val="tx1"/>
              </a:solidFill>
              <a:prstDash val="dash"/>
            </a:ln>
          </p:spPr>
          <p:txBody>
            <a:bodyPr spcFirstLastPara="1" wrap="square" lIns="91425" tIns="45700" rIns="91425" bIns="45700" anchor="ctr" anchorCtr="0">
              <a:no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400" dirty="0">
                  <a:latin typeface="Arial"/>
                </a:rPr>
                <a:t>Reduce trade and transportation cost</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400" dirty="0">
                  <a:latin typeface="Arial"/>
                </a:rPr>
                <a:t>High industrial co-operation and provision of training centers to enhance skills and capacity building</a:t>
              </a:r>
            </a:p>
            <a:p>
              <a:pPr marL="171450" indent="-171450">
                <a:spcBef>
                  <a:spcPts val="200"/>
                </a:spcBef>
                <a:spcAft>
                  <a:spcPts val="200"/>
                </a:spcAft>
                <a:buFont typeface="Arial" panose="020B0604020202020204" pitchFamily="34" charset="0"/>
                <a:buChar char="•"/>
                <a:defRPr/>
              </a:pPr>
              <a:r>
                <a:rPr lang="en-US" sz="1400" dirty="0">
                  <a:latin typeface="Arial"/>
                </a:rPr>
                <a:t>ICIC may facilitate harmonized customs rules to expedite cross border movements</a:t>
              </a:r>
            </a:p>
            <a:p>
              <a:pPr marL="171450" indent="-171450">
                <a:spcBef>
                  <a:spcPts val="200"/>
                </a:spcBef>
                <a:spcAft>
                  <a:spcPts val="200"/>
                </a:spcAft>
                <a:buFont typeface="Arial" panose="020B0604020202020204" pitchFamily="34" charset="0"/>
                <a:buChar char="•"/>
                <a:defRPr/>
              </a:pPr>
              <a:r>
                <a:rPr kumimoji="0" lang="en-US" sz="1400" i="0" u="none" strike="noStrike" kern="1200" cap="none" spc="0" normalizeH="0" baseline="0" noProof="0" dirty="0">
                  <a:ln>
                    <a:noFill/>
                  </a:ln>
                  <a:effectLst/>
                  <a:uLnTx/>
                  <a:uFillTx/>
                  <a:latin typeface="Arial"/>
                  <a:ea typeface="+mn-ea"/>
                  <a:cs typeface="+mn-cs"/>
                </a:rPr>
                <a:t>Shorten the Border Crossing Time</a:t>
              </a:r>
              <a:endParaRPr lang="en-US" sz="1400" dirty="0">
                <a:latin typeface="Arial"/>
              </a:endParaRPr>
            </a:p>
          </p:txBody>
        </p:sp>
      </p:grpSp>
      <p:grpSp>
        <p:nvGrpSpPr>
          <p:cNvPr id="16" name="Group 15">
            <a:extLst>
              <a:ext uri="{FF2B5EF4-FFF2-40B4-BE49-F238E27FC236}">
                <a16:creationId xmlns:a16="http://schemas.microsoft.com/office/drawing/2014/main" id="{50909425-9E7D-4B89-B5EA-A7EDC7056393}"/>
              </a:ext>
            </a:extLst>
          </p:cNvPr>
          <p:cNvGrpSpPr/>
          <p:nvPr/>
        </p:nvGrpSpPr>
        <p:grpSpPr>
          <a:xfrm>
            <a:off x="483243" y="1662369"/>
            <a:ext cx="11537522" cy="1407227"/>
            <a:chOff x="483243" y="1448989"/>
            <a:chExt cx="11537522" cy="1407227"/>
          </a:xfrm>
        </p:grpSpPr>
        <p:pic>
          <p:nvPicPr>
            <p:cNvPr id="44" name="Graphic 43" descr="Production with solid fill">
              <a:extLst>
                <a:ext uri="{FF2B5EF4-FFF2-40B4-BE49-F238E27FC236}">
                  <a16:creationId xmlns:a16="http://schemas.microsoft.com/office/drawing/2014/main" id="{8C9C4A36-C65F-4F73-90E0-C6C430E37D0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3243" y="1448989"/>
              <a:ext cx="347567" cy="327210"/>
            </a:xfrm>
            <a:prstGeom prst="rect">
              <a:avLst/>
            </a:prstGeom>
          </p:spPr>
        </p:pic>
        <p:sp>
          <p:nvSpPr>
            <p:cNvPr id="62" name="TextBox 61">
              <a:extLst>
                <a:ext uri="{FF2B5EF4-FFF2-40B4-BE49-F238E27FC236}">
                  <a16:creationId xmlns:a16="http://schemas.microsoft.com/office/drawing/2014/main" id="{509C23B0-5089-463D-9390-1D70B8712B03}"/>
                </a:ext>
              </a:extLst>
            </p:cNvPr>
            <p:cNvSpPr txBox="1"/>
            <p:nvPr/>
          </p:nvSpPr>
          <p:spPr>
            <a:xfrm>
              <a:off x="846489" y="1510791"/>
              <a:ext cx="7316436" cy="215444"/>
            </a:xfrm>
            <a:prstGeom prst="rect">
              <a:avLst/>
            </a:prstGeom>
            <a:noFill/>
          </p:spPr>
          <p:txBody>
            <a:bodyPr wrap="square" lIns="0" tIns="0" rIns="0" bIns="0" rtlCol="0">
              <a:spAutoFit/>
            </a:bodyPr>
            <a:lstStyle/>
            <a:p>
              <a:pPr>
                <a:lnSpc>
                  <a:spcPct val="100000"/>
                </a:lnSpc>
                <a:spcAft>
                  <a:spcPts val="600"/>
                </a:spcAft>
                <a:buSzPct val="100000"/>
              </a:pPr>
              <a:r>
                <a:rPr lang="en-US" sz="1400" b="1" i="1" dirty="0">
                  <a:solidFill>
                    <a:schemeClr val="accent5">
                      <a:lumMod val="75000"/>
                    </a:schemeClr>
                  </a:solidFill>
                  <a:highlight>
                    <a:srgbClr val="F1D4D9"/>
                  </a:highlight>
                  <a:latin typeface="Arial" panose="020B0604020202020204" pitchFamily="34" charset="0"/>
                  <a:cs typeface="Arial" panose="020B0604020202020204" pitchFamily="34" charset="0"/>
                </a:rPr>
                <a:t>Strengthen Industrialization and Production</a:t>
              </a:r>
            </a:p>
          </p:txBody>
        </p:sp>
        <p:sp>
          <p:nvSpPr>
            <p:cNvPr id="69" name="Google Shape;3236;g138ac581a49_8_2581">
              <a:extLst>
                <a:ext uri="{FF2B5EF4-FFF2-40B4-BE49-F238E27FC236}">
                  <a16:creationId xmlns:a16="http://schemas.microsoft.com/office/drawing/2014/main" id="{7A482C92-D685-4C6B-B394-C5B39F12C80D}"/>
                </a:ext>
              </a:extLst>
            </p:cNvPr>
            <p:cNvSpPr/>
            <p:nvPr/>
          </p:nvSpPr>
          <p:spPr>
            <a:xfrm>
              <a:off x="483243" y="1826563"/>
              <a:ext cx="11537522" cy="1029653"/>
            </a:xfrm>
            <a:prstGeom prst="rect">
              <a:avLst/>
            </a:prstGeom>
            <a:gradFill>
              <a:gsLst>
                <a:gs pos="0">
                  <a:srgbClr val="F2F2F2">
                    <a:alpha val="45490"/>
                  </a:srgbClr>
                </a:gs>
                <a:gs pos="23000">
                  <a:srgbClr val="F2F2F2">
                    <a:alpha val="45490"/>
                  </a:srgbClr>
                </a:gs>
                <a:gs pos="100000">
                  <a:srgbClr val="DEDEDE">
                    <a:alpha val="37647"/>
                  </a:srgbClr>
                </a:gs>
              </a:gsLst>
              <a:lin ang="5400012" scaled="0"/>
            </a:gradFill>
            <a:ln>
              <a:solidFill>
                <a:schemeClr val="tx1"/>
              </a:solidFill>
              <a:prstDash val="dash"/>
            </a:ln>
          </p:spPr>
          <p:txBody>
            <a:bodyPr spcFirstLastPara="1" wrap="square" lIns="91425" tIns="45700" rIns="91425" bIns="45700" anchor="ctr" anchorCtr="0">
              <a:no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400" dirty="0">
                  <a:latin typeface="Arial"/>
                </a:rPr>
                <a:t>Facilitate Value Added manufacturing</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400" dirty="0">
                  <a:latin typeface="Arial"/>
                </a:rPr>
                <a:t>Promote balanced spatial/regional development within Kazakhstan and Uzbekistan through boosting economic development</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400" dirty="0">
                  <a:latin typeface="Arial"/>
                </a:rPr>
                <a:t>Integrated planning for the provision of utilities, SPS and other enabling infrastructure</a:t>
              </a:r>
            </a:p>
          </p:txBody>
        </p:sp>
      </p:grpSp>
      <p:sp>
        <p:nvSpPr>
          <p:cNvPr id="3" name="Date Placeholder 2">
            <a:extLst>
              <a:ext uri="{FF2B5EF4-FFF2-40B4-BE49-F238E27FC236}">
                <a16:creationId xmlns:a16="http://schemas.microsoft.com/office/drawing/2014/main" id="{78E138B3-973D-4513-9C2E-D0FB5D8E1871}"/>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6" name="Slide Number Placeholder 5">
            <a:extLst>
              <a:ext uri="{FF2B5EF4-FFF2-40B4-BE49-F238E27FC236}">
                <a16:creationId xmlns:a16="http://schemas.microsoft.com/office/drawing/2014/main" id="{CEB55951-436D-4652-A8A4-D0E542D69112}"/>
              </a:ext>
            </a:extLst>
          </p:cNvPr>
          <p:cNvSpPr>
            <a:spLocks noGrp="1"/>
          </p:cNvSpPr>
          <p:nvPr>
            <p:ph type="sldNum" idx="12"/>
          </p:nvPr>
        </p:nvSpPr>
        <p:spPr/>
        <p:txBody>
          <a:bodyPr/>
          <a:lstStyle/>
          <a:p>
            <a:pPr lvl="0"/>
            <a:fld id="{00000000-1234-1234-1234-123412341234}" type="slidenum">
              <a:rPr lang="en-US" smtClean="0"/>
              <a:pPr lvl="0"/>
              <a:t>10</a:t>
            </a:fld>
            <a:endParaRPr lang="en-US"/>
          </a:p>
        </p:txBody>
      </p:sp>
      <p:sp>
        <p:nvSpPr>
          <p:cNvPr id="39" name="Footer Placeholder 11">
            <a:extLst>
              <a:ext uri="{FF2B5EF4-FFF2-40B4-BE49-F238E27FC236}">
                <a16:creationId xmlns:a16="http://schemas.microsoft.com/office/drawing/2014/main" id="{73E20386-6429-43FB-B112-B41A09684B10}"/>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spTree>
    <p:custDataLst>
      <p:custData r:id="rId1"/>
    </p:custDataLst>
    <p:extLst>
      <p:ext uri="{BB962C8B-B14F-4D97-AF65-F5344CB8AC3E}">
        <p14:creationId xmlns:p14="http://schemas.microsoft.com/office/powerpoint/2010/main" val="172032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6000"/>
            <a:lum/>
            <a:extLst>
              <a:ext uri="{837473B0-CC2E-450A-ABE3-18F120FF3D39}">
                <a1611:picAttrSrcUrl xmlns:a1611="http://schemas.microsoft.com/office/drawing/2016/11/main" r:id="rId4"/>
              </a:ext>
            </a:extLst>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379AA2-ED46-4BD9-A397-5BBD93295767}"/>
              </a:ext>
            </a:extLst>
          </p:cNvPr>
          <p:cNvSpPr/>
          <p:nvPr/>
        </p:nvSpPr>
        <p:spPr>
          <a:xfrm>
            <a:off x="0" y="2160639"/>
            <a:ext cx="7895073" cy="2556387"/>
          </a:xfrm>
          <a:prstGeom prst="rect">
            <a:avLst/>
          </a:prstGeom>
          <a:solidFill>
            <a:schemeClr val="accent1">
              <a:lumMod val="7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Georgia"/>
                <a:ea typeface="+mn-ea"/>
                <a:cs typeface="+mn-cs"/>
              </a:rPr>
              <a:t>Concept Plan for ICIC</a:t>
            </a:r>
          </a:p>
        </p:txBody>
      </p:sp>
    </p:spTree>
    <p:custDataLst>
      <p:custData r:id="rId1"/>
    </p:custDataLst>
    <p:extLst>
      <p:ext uri="{BB962C8B-B14F-4D97-AF65-F5344CB8AC3E}">
        <p14:creationId xmlns:p14="http://schemas.microsoft.com/office/powerpoint/2010/main" val="703948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40701DEF-C424-4C21-A2CE-C4DFD3F7737D}"/>
              </a:ext>
            </a:extLst>
          </p:cNvPr>
          <p:cNvGraphicFramePr>
            <a:graphicFrameLocks noChangeAspect="1"/>
          </p:cNvGraphicFramePr>
          <p:nvPr>
            <p:custDataLst>
              <p:tags r:id="rId2"/>
            </p:custDataLst>
            <p:extLst>
              <p:ext uri="{D42A27DB-BD31-4B8C-83A1-F6EECF244321}">
                <p14:modId xmlns:p14="http://schemas.microsoft.com/office/powerpoint/2010/main" val="2966167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59" name="think-cell data - do not delete" hidden="1">
                        <a:extLst>
                          <a:ext uri="{FF2B5EF4-FFF2-40B4-BE49-F238E27FC236}">
                            <a16:creationId xmlns:a16="http://schemas.microsoft.com/office/drawing/2014/main" id="{40701DEF-C424-4C21-A2CE-C4DFD3F773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FF7BFF-3987-4659-B09E-27AED13D7865}"/>
              </a:ext>
            </a:extLst>
          </p:cNvPr>
          <p:cNvSpPr>
            <a:spLocks noGrp="1"/>
          </p:cNvSpPr>
          <p:nvPr>
            <p:ph type="title"/>
          </p:nvPr>
        </p:nvSpPr>
        <p:spPr>
          <a:xfrm>
            <a:off x="425157" y="274544"/>
            <a:ext cx="11306175" cy="369332"/>
          </a:xfrm>
        </p:spPr>
        <p:txBody>
          <a:bodyPr vert="horz"/>
          <a:lstStyle/>
          <a:p>
            <a:r>
              <a:rPr lang="en-US" sz="2400" b="0" dirty="0">
                <a:latin typeface="Georgia" panose="02040502050405020303" pitchFamily="18" charset="0"/>
              </a:rPr>
              <a:t>Framework for ICIC Concept Plan</a:t>
            </a:r>
          </a:p>
        </p:txBody>
      </p:sp>
      <p:sp>
        <p:nvSpPr>
          <p:cNvPr id="3" name="Slide Number Placeholder 2">
            <a:extLst>
              <a:ext uri="{FF2B5EF4-FFF2-40B4-BE49-F238E27FC236}">
                <a16:creationId xmlns:a16="http://schemas.microsoft.com/office/drawing/2014/main" id="{731D8AE6-80A1-455C-B59D-A06C358C82C2}"/>
              </a:ext>
            </a:extLst>
          </p:cNvPr>
          <p:cNvSpPr>
            <a:spLocks noGrp="1"/>
          </p:cNvSpPr>
          <p:nvPr>
            <p:ph type="sldNum" idx="12"/>
          </p:nvPr>
        </p:nvSpPr>
        <p:spPr/>
        <p:txBody>
          <a:bodyPr/>
          <a:lstStyle/>
          <a:p>
            <a:pPr lvl="0"/>
            <a:fld id="{00000000-1234-1234-1234-123412341234}" type="slidenum">
              <a:rPr lang="en-US" smtClean="0"/>
              <a:pPr lvl="0"/>
              <a:t>12</a:t>
            </a:fld>
            <a:endParaRPr lang="en-US"/>
          </a:p>
        </p:txBody>
      </p:sp>
      <p:sp>
        <p:nvSpPr>
          <p:cNvPr id="27" name="TextBox 26">
            <a:extLst>
              <a:ext uri="{FF2B5EF4-FFF2-40B4-BE49-F238E27FC236}">
                <a16:creationId xmlns:a16="http://schemas.microsoft.com/office/drawing/2014/main" id="{78C16371-1B83-4B55-8140-BB59ABE57618}"/>
              </a:ext>
            </a:extLst>
          </p:cNvPr>
          <p:cNvSpPr txBox="1"/>
          <p:nvPr/>
        </p:nvSpPr>
        <p:spPr>
          <a:xfrm>
            <a:off x="1190654" y="1267112"/>
            <a:ext cx="2935969" cy="215444"/>
          </a:xfrm>
          <a:prstGeom prst="rect">
            <a:avLst/>
          </a:prstGeom>
          <a:noFill/>
        </p:spPr>
        <p:txBody>
          <a:bodyPr wrap="square" lIns="0" tIns="0" rIns="0" bIns="0" rtlCol="0">
            <a:spAutoFit/>
          </a:bodyPr>
          <a:lstStyle/>
          <a:p>
            <a:pPr algn="ctr">
              <a:lnSpc>
                <a:spcPct val="100000"/>
              </a:lnSpc>
              <a:spcAft>
                <a:spcPts val="600"/>
              </a:spcAft>
              <a:buSzPct val="100000"/>
            </a:pPr>
            <a:r>
              <a:rPr lang="en-US" sz="1400" b="1" i="1" dirty="0"/>
              <a:t>Key elements of ICIC concept plan</a:t>
            </a:r>
          </a:p>
        </p:txBody>
      </p:sp>
      <p:sp>
        <p:nvSpPr>
          <p:cNvPr id="5" name="Google Shape;6538;gfe7240cab3_1_22">
            <a:extLst>
              <a:ext uri="{FF2B5EF4-FFF2-40B4-BE49-F238E27FC236}">
                <a16:creationId xmlns:a16="http://schemas.microsoft.com/office/drawing/2014/main" id="{1C50111D-B69F-405D-9A7B-C87E3C3B6186}"/>
              </a:ext>
            </a:extLst>
          </p:cNvPr>
          <p:cNvSpPr/>
          <p:nvPr/>
        </p:nvSpPr>
        <p:spPr>
          <a:xfrm>
            <a:off x="4049531" y="5554586"/>
            <a:ext cx="77093" cy="786206"/>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6" name="Google Shape;6539;gfe7240cab3_1_22">
            <a:extLst>
              <a:ext uri="{FF2B5EF4-FFF2-40B4-BE49-F238E27FC236}">
                <a16:creationId xmlns:a16="http://schemas.microsoft.com/office/drawing/2014/main" id="{F1D02E52-E698-45F7-A6CF-4D14FF15E12A}"/>
              </a:ext>
            </a:extLst>
          </p:cNvPr>
          <p:cNvSpPr/>
          <p:nvPr/>
        </p:nvSpPr>
        <p:spPr>
          <a:xfrm>
            <a:off x="1190722" y="5555599"/>
            <a:ext cx="2844616" cy="786206"/>
          </a:xfrm>
          <a:prstGeom prst="rect">
            <a:avLst/>
          </a:prstGeom>
          <a:solidFill>
            <a:srgbClr val="C00000"/>
          </a:solidFill>
          <a:ln w="9525" cap="flat" cmpd="sng">
            <a:solidFill>
              <a:srgbClr val="D8D8D8"/>
            </a:solidFill>
            <a:prstDash val="solid"/>
            <a:round/>
            <a:headEnd type="none" w="sm" len="sm"/>
            <a:tailEnd type="none" w="sm" len="sm"/>
          </a:ln>
        </p:spPr>
        <p:txBody>
          <a:bodyPr spcFirstLastPara="1" wrap="square" lIns="609600" tIns="36575" rIns="60900" bIns="36575" anchor="ctr" anchorCtr="0">
            <a:noAutofit/>
          </a:bodyPr>
          <a:lstStyle/>
          <a:p>
            <a:pPr indent="285750">
              <a:buClr>
                <a:srgbClr val="A5A5A5"/>
              </a:buClr>
              <a:buSzPts val="1200"/>
            </a:pPr>
            <a:r>
              <a:rPr lang="en-GB" sz="1200" b="1">
                <a:solidFill>
                  <a:schemeClr val="bg1"/>
                </a:solidFill>
                <a:latin typeface="Arial"/>
                <a:cs typeface="Arial"/>
                <a:sym typeface="Arial"/>
              </a:rPr>
              <a:t>Component and zoning</a:t>
            </a:r>
          </a:p>
        </p:txBody>
      </p:sp>
      <p:sp>
        <p:nvSpPr>
          <p:cNvPr id="9" name="Google Shape;6542;gfe7240cab3_1_22">
            <a:extLst>
              <a:ext uri="{FF2B5EF4-FFF2-40B4-BE49-F238E27FC236}">
                <a16:creationId xmlns:a16="http://schemas.microsoft.com/office/drawing/2014/main" id="{C30F6E7C-1AAF-43D2-B929-2E392A294604}"/>
              </a:ext>
            </a:extLst>
          </p:cNvPr>
          <p:cNvSpPr/>
          <p:nvPr/>
        </p:nvSpPr>
        <p:spPr>
          <a:xfrm>
            <a:off x="4049531" y="1849009"/>
            <a:ext cx="77093" cy="789617"/>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10" name="Google Shape;6543;gfe7240cab3_1_22">
            <a:extLst>
              <a:ext uri="{FF2B5EF4-FFF2-40B4-BE49-F238E27FC236}">
                <a16:creationId xmlns:a16="http://schemas.microsoft.com/office/drawing/2014/main" id="{9FAEF922-A099-459A-8631-3A1389684D25}"/>
              </a:ext>
            </a:extLst>
          </p:cNvPr>
          <p:cNvSpPr/>
          <p:nvPr/>
        </p:nvSpPr>
        <p:spPr>
          <a:xfrm>
            <a:off x="1190722" y="1849009"/>
            <a:ext cx="2844616" cy="789617"/>
          </a:xfrm>
          <a:prstGeom prst="rect">
            <a:avLst/>
          </a:prstGeom>
          <a:solidFill>
            <a:srgbClr val="C00000"/>
          </a:solidFill>
          <a:ln w="9525" cap="flat" cmpd="sng">
            <a:solidFill>
              <a:srgbClr val="1F5F94"/>
            </a:solidFill>
            <a:prstDash val="solid"/>
            <a:round/>
            <a:headEnd type="none" w="sm" len="sm"/>
            <a:tailEnd type="none" w="sm" len="sm"/>
          </a:ln>
        </p:spPr>
        <p:txBody>
          <a:bodyPr spcFirstLastPara="1" wrap="square" lIns="609600" tIns="36575" rIns="60900" bIns="36575" anchor="ctr" anchorCtr="0">
            <a:noAutofit/>
          </a:bodyPr>
          <a:lstStyle/>
          <a:p>
            <a:pPr marR="0" lvl="0" indent="285750" algn="l" rtl="0">
              <a:lnSpc>
                <a:spcPct val="100000"/>
              </a:lnSpc>
              <a:spcBef>
                <a:spcPts val="0"/>
              </a:spcBef>
              <a:spcAft>
                <a:spcPts val="0"/>
              </a:spcAft>
              <a:buClr>
                <a:srgbClr val="A5A5A5"/>
              </a:buClr>
              <a:buSzPts val="1200"/>
              <a:buFont typeface="Arial"/>
              <a:buNone/>
            </a:pPr>
            <a:r>
              <a:rPr lang="en-GB" sz="1200" b="1" i="0" u="none" strike="noStrike" cap="none">
                <a:solidFill>
                  <a:schemeClr val="bg1"/>
                </a:solidFill>
                <a:latin typeface="Arial"/>
                <a:ea typeface="Arial"/>
                <a:cs typeface="Arial"/>
                <a:sym typeface="Arial"/>
              </a:rPr>
              <a:t>Location</a:t>
            </a:r>
            <a:endParaRPr lang="en-GB" sz="1200" b="0" i="0" u="none" strike="noStrike" cap="none">
              <a:solidFill>
                <a:schemeClr val="bg1"/>
              </a:solidFill>
              <a:latin typeface="Arial"/>
              <a:ea typeface="Arial"/>
              <a:cs typeface="Arial"/>
              <a:sym typeface="Arial"/>
            </a:endParaRPr>
          </a:p>
        </p:txBody>
      </p:sp>
      <p:sp>
        <p:nvSpPr>
          <p:cNvPr id="11" name="Google Shape;6544;gfe7240cab3_1_22">
            <a:extLst>
              <a:ext uri="{FF2B5EF4-FFF2-40B4-BE49-F238E27FC236}">
                <a16:creationId xmlns:a16="http://schemas.microsoft.com/office/drawing/2014/main" id="{19760C5D-9263-4A5C-BB3E-1CA2FB922746}"/>
              </a:ext>
            </a:extLst>
          </p:cNvPr>
          <p:cNvSpPr/>
          <p:nvPr/>
        </p:nvSpPr>
        <p:spPr>
          <a:xfrm>
            <a:off x="4049531" y="2850514"/>
            <a:ext cx="77093" cy="786206"/>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12" name="Google Shape;6545;gfe7240cab3_1_22">
            <a:extLst>
              <a:ext uri="{FF2B5EF4-FFF2-40B4-BE49-F238E27FC236}">
                <a16:creationId xmlns:a16="http://schemas.microsoft.com/office/drawing/2014/main" id="{DABF14C1-3BD3-4FC9-A33D-69CA292EBA7D}"/>
              </a:ext>
            </a:extLst>
          </p:cNvPr>
          <p:cNvSpPr/>
          <p:nvPr/>
        </p:nvSpPr>
        <p:spPr>
          <a:xfrm>
            <a:off x="1190722" y="2850504"/>
            <a:ext cx="2844616" cy="786206"/>
          </a:xfrm>
          <a:prstGeom prst="rect">
            <a:avLst/>
          </a:prstGeom>
          <a:solidFill>
            <a:srgbClr val="C00000"/>
          </a:solidFill>
          <a:ln w="9525" cap="flat" cmpd="sng">
            <a:solidFill>
              <a:srgbClr val="D8D8D8"/>
            </a:solidFill>
            <a:prstDash val="solid"/>
            <a:round/>
            <a:headEnd type="none" w="sm" len="sm"/>
            <a:tailEnd type="none" w="sm" len="sm"/>
          </a:ln>
        </p:spPr>
        <p:txBody>
          <a:bodyPr spcFirstLastPara="1" wrap="square" lIns="609600" tIns="36575" rIns="60900" bIns="36575" anchor="ctr" anchorCtr="0">
            <a:noAutofit/>
          </a:bodyPr>
          <a:lstStyle/>
          <a:p>
            <a:pPr indent="285750">
              <a:buClr>
                <a:srgbClr val="A5A5A5"/>
              </a:buClr>
              <a:buSzPts val="1200"/>
            </a:pPr>
            <a:r>
              <a:rPr lang="en-GB" sz="1200" b="1" dirty="0">
                <a:solidFill>
                  <a:schemeClr val="bg1"/>
                </a:solidFill>
                <a:latin typeface="Arial"/>
                <a:cs typeface="Arial"/>
                <a:sym typeface="Arial"/>
              </a:rPr>
              <a:t>Sector selection</a:t>
            </a:r>
            <a:endParaRPr sz="1200" b="1" dirty="0">
              <a:solidFill>
                <a:schemeClr val="bg1"/>
              </a:solidFill>
              <a:latin typeface="Arial"/>
              <a:cs typeface="Arial"/>
              <a:sym typeface="Arial"/>
            </a:endParaRPr>
          </a:p>
        </p:txBody>
      </p:sp>
      <p:sp>
        <p:nvSpPr>
          <p:cNvPr id="13" name="Google Shape;6546;gfe7240cab3_1_22">
            <a:extLst>
              <a:ext uri="{FF2B5EF4-FFF2-40B4-BE49-F238E27FC236}">
                <a16:creationId xmlns:a16="http://schemas.microsoft.com/office/drawing/2014/main" id="{000A38B4-7738-48DE-8D15-655A780C76D7}"/>
              </a:ext>
            </a:extLst>
          </p:cNvPr>
          <p:cNvSpPr/>
          <p:nvPr/>
        </p:nvSpPr>
        <p:spPr>
          <a:xfrm>
            <a:off x="4049531" y="4597093"/>
            <a:ext cx="77093" cy="786206"/>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14" name="Google Shape;6547;gfe7240cab3_1_22">
            <a:extLst>
              <a:ext uri="{FF2B5EF4-FFF2-40B4-BE49-F238E27FC236}">
                <a16:creationId xmlns:a16="http://schemas.microsoft.com/office/drawing/2014/main" id="{0DFF4181-D30D-4853-9B6F-1E065A36EE3E}"/>
              </a:ext>
            </a:extLst>
          </p:cNvPr>
          <p:cNvSpPr/>
          <p:nvPr/>
        </p:nvSpPr>
        <p:spPr>
          <a:xfrm>
            <a:off x="1190722" y="4597097"/>
            <a:ext cx="2844616" cy="786206"/>
          </a:xfrm>
          <a:prstGeom prst="rect">
            <a:avLst/>
          </a:prstGeom>
          <a:solidFill>
            <a:srgbClr val="C00000"/>
          </a:solidFill>
          <a:ln w="9525" cap="flat" cmpd="sng">
            <a:solidFill>
              <a:srgbClr val="D8D8D8"/>
            </a:solidFill>
            <a:prstDash val="solid"/>
            <a:round/>
            <a:headEnd type="none" w="sm" len="sm"/>
            <a:tailEnd type="none" w="sm" len="sm"/>
          </a:ln>
        </p:spPr>
        <p:txBody>
          <a:bodyPr spcFirstLastPara="1" wrap="square" lIns="609600" tIns="36575" rIns="60900" bIns="36575" anchor="ctr" anchorCtr="0">
            <a:noAutofit/>
          </a:bodyPr>
          <a:lstStyle/>
          <a:p>
            <a:pPr indent="285750">
              <a:buClr>
                <a:srgbClr val="A5A5A5"/>
              </a:buClr>
              <a:buSzPts val="1200"/>
            </a:pPr>
            <a:r>
              <a:rPr lang="en-GB" sz="1200" b="1" dirty="0">
                <a:solidFill>
                  <a:schemeClr val="bg1"/>
                </a:solidFill>
                <a:latin typeface="Arial"/>
                <a:cs typeface="Arial"/>
                <a:sym typeface="Arial"/>
              </a:rPr>
              <a:t>Institutional Structure</a:t>
            </a:r>
          </a:p>
        </p:txBody>
      </p:sp>
      <p:sp>
        <p:nvSpPr>
          <p:cNvPr id="29" name="Google Shape;649;p76">
            <a:extLst>
              <a:ext uri="{FF2B5EF4-FFF2-40B4-BE49-F238E27FC236}">
                <a16:creationId xmlns:a16="http://schemas.microsoft.com/office/drawing/2014/main" id="{8EA43277-8D2F-4F68-8C2C-7D8FAFB6BCCF}"/>
              </a:ext>
            </a:extLst>
          </p:cNvPr>
          <p:cNvSpPr/>
          <p:nvPr/>
        </p:nvSpPr>
        <p:spPr>
          <a:xfrm>
            <a:off x="1261004" y="1940965"/>
            <a:ext cx="603504" cy="605705"/>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52" name="Google Shape;1201;p86">
            <a:extLst>
              <a:ext uri="{FF2B5EF4-FFF2-40B4-BE49-F238E27FC236}">
                <a16:creationId xmlns:a16="http://schemas.microsoft.com/office/drawing/2014/main" id="{0D85A3DA-0851-4913-A1D6-4F984A5F2B13}"/>
              </a:ext>
            </a:extLst>
          </p:cNvPr>
          <p:cNvSpPr/>
          <p:nvPr/>
        </p:nvSpPr>
        <p:spPr>
          <a:xfrm>
            <a:off x="1256363" y="2940756"/>
            <a:ext cx="603504" cy="605705"/>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53" name="Google Shape;1130;p85">
            <a:extLst>
              <a:ext uri="{FF2B5EF4-FFF2-40B4-BE49-F238E27FC236}">
                <a16:creationId xmlns:a16="http://schemas.microsoft.com/office/drawing/2014/main" id="{90C91412-F681-40EA-8896-52E707308C90}"/>
              </a:ext>
            </a:extLst>
          </p:cNvPr>
          <p:cNvSpPr/>
          <p:nvPr/>
        </p:nvSpPr>
        <p:spPr>
          <a:xfrm>
            <a:off x="1278194" y="4687348"/>
            <a:ext cx="594652" cy="605705"/>
          </a:xfrm>
          <a:custGeom>
            <a:avLst/>
            <a:gdLst/>
            <a:ahLst/>
            <a:cxnLst/>
            <a:rect l="l" t="t" r="r" b="b"/>
            <a:pathLst>
              <a:path w="704" h="706" extrusionOk="0">
                <a:moveTo>
                  <a:pt x="0" y="0"/>
                </a:moveTo>
                <a:lnTo>
                  <a:pt x="0" y="706"/>
                </a:lnTo>
                <a:lnTo>
                  <a:pt x="704" y="706"/>
                </a:lnTo>
                <a:lnTo>
                  <a:pt x="704" y="0"/>
                </a:lnTo>
                <a:lnTo>
                  <a:pt x="0" y="0"/>
                </a:lnTo>
                <a:close/>
                <a:moveTo>
                  <a:pt x="673" y="677"/>
                </a:moveTo>
                <a:lnTo>
                  <a:pt x="30" y="677"/>
                </a:lnTo>
                <a:lnTo>
                  <a:pt x="30" y="31"/>
                </a:lnTo>
                <a:lnTo>
                  <a:pt x="673" y="31"/>
                </a:lnTo>
                <a:lnTo>
                  <a:pt x="673" y="677"/>
                </a:lnTo>
                <a:close/>
                <a:moveTo>
                  <a:pt x="626" y="589"/>
                </a:moveTo>
                <a:lnTo>
                  <a:pt x="595" y="589"/>
                </a:lnTo>
                <a:lnTo>
                  <a:pt x="595" y="574"/>
                </a:lnTo>
                <a:lnTo>
                  <a:pt x="595" y="558"/>
                </a:lnTo>
                <a:lnTo>
                  <a:pt x="598" y="558"/>
                </a:lnTo>
                <a:lnTo>
                  <a:pt x="611" y="558"/>
                </a:lnTo>
                <a:lnTo>
                  <a:pt x="626" y="558"/>
                </a:lnTo>
                <a:lnTo>
                  <a:pt x="626" y="589"/>
                </a:lnTo>
                <a:close/>
                <a:moveTo>
                  <a:pt x="565" y="558"/>
                </a:moveTo>
                <a:lnTo>
                  <a:pt x="587" y="558"/>
                </a:lnTo>
                <a:lnTo>
                  <a:pt x="587" y="589"/>
                </a:lnTo>
                <a:lnTo>
                  <a:pt x="565" y="589"/>
                </a:lnTo>
                <a:lnTo>
                  <a:pt x="565" y="558"/>
                </a:lnTo>
                <a:close/>
                <a:moveTo>
                  <a:pt x="532" y="558"/>
                </a:moveTo>
                <a:lnTo>
                  <a:pt x="554" y="558"/>
                </a:lnTo>
                <a:lnTo>
                  <a:pt x="554" y="589"/>
                </a:lnTo>
                <a:lnTo>
                  <a:pt x="532" y="589"/>
                </a:lnTo>
                <a:lnTo>
                  <a:pt x="532" y="558"/>
                </a:lnTo>
                <a:close/>
                <a:moveTo>
                  <a:pt x="522" y="589"/>
                </a:moveTo>
                <a:lnTo>
                  <a:pt x="492" y="589"/>
                </a:lnTo>
                <a:lnTo>
                  <a:pt x="492" y="558"/>
                </a:lnTo>
                <a:lnTo>
                  <a:pt x="507" y="558"/>
                </a:lnTo>
                <a:lnTo>
                  <a:pt x="521" y="558"/>
                </a:lnTo>
                <a:lnTo>
                  <a:pt x="522" y="558"/>
                </a:lnTo>
                <a:lnTo>
                  <a:pt x="522" y="574"/>
                </a:lnTo>
                <a:lnTo>
                  <a:pt x="522" y="589"/>
                </a:lnTo>
                <a:close/>
                <a:moveTo>
                  <a:pt x="522" y="549"/>
                </a:moveTo>
                <a:lnTo>
                  <a:pt x="492" y="549"/>
                </a:lnTo>
                <a:lnTo>
                  <a:pt x="492" y="527"/>
                </a:lnTo>
                <a:lnTo>
                  <a:pt x="522" y="527"/>
                </a:lnTo>
                <a:lnTo>
                  <a:pt x="522" y="549"/>
                </a:lnTo>
                <a:close/>
                <a:moveTo>
                  <a:pt x="522" y="516"/>
                </a:moveTo>
                <a:lnTo>
                  <a:pt x="492" y="516"/>
                </a:lnTo>
                <a:lnTo>
                  <a:pt x="492" y="494"/>
                </a:lnTo>
                <a:lnTo>
                  <a:pt x="522" y="494"/>
                </a:lnTo>
                <a:lnTo>
                  <a:pt x="522" y="516"/>
                </a:lnTo>
                <a:close/>
                <a:moveTo>
                  <a:pt x="507" y="484"/>
                </a:moveTo>
                <a:lnTo>
                  <a:pt x="492" y="484"/>
                </a:lnTo>
                <a:lnTo>
                  <a:pt x="492" y="455"/>
                </a:lnTo>
                <a:lnTo>
                  <a:pt x="522" y="455"/>
                </a:lnTo>
                <a:lnTo>
                  <a:pt x="522" y="470"/>
                </a:lnTo>
                <a:lnTo>
                  <a:pt x="522" y="483"/>
                </a:lnTo>
                <a:lnTo>
                  <a:pt x="522" y="484"/>
                </a:lnTo>
                <a:lnTo>
                  <a:pt x="507" y="484"/>
                </a:lnTo>
                <a:close/>
                <a:moveTo>
                  <a:pt x="554" y="484"/>
                </a:moveTo>
                <a:lnTo>
                  <a:pt x="532" y="484"/>
                </a:lnTo>
                <a:lnTo>
                  <a:pt x="532" y="455"/>
                </a:lnTo>
                <a:lnTo>
                  <a:pt x="554" y="455"/>
                </a:lnTo>
                <a:lnTo>
                  <a:pt x="554" y="484"/>
                </a:lnTo>
                <a:close/>
                <a:moveTo>
                  <a:pt x="565" y="455"/>
                </a:moveTo>
                <a:lnTo>
                  <a:pt x="587" y="455"/>
                </a:lnTo>
                <a:lnTo>
                  <a:pt x="587" y="484"/>
                </a:lnTo>
                <a:lnTo>
                  <a:pt x="565" y="484"/>
                </a:lnTo>
                <a:lnTo>
                  <a:pt x="565" y="455"/>
                </a:lnTo>
                <a:close/>
                <a:moveTo>
                  <a:pt x="611" y="484"/>
                </a:moveTo>
                <a:lnTo>
                  <a:pt x="595" y="484"/>
                </a:lnTo>
                <a:lnTo>
                  <a:pt x="595" y="483"/>
                </a:lnTo>
                <a:lnTo>
                  <a:pt x="595" y="470"/>
                </a:lnTo>
                <a:lnTo>
                  <a:pt x="595" y="455"/>
                </a:lnTo>
                <a:lnTo>
                  <a:pt x="626" y="455"/>
                </a:lnTo>
                <a:lnTo>
                  <a:pt x="626" y="484"/>
                </a:lnTo>
                <a:lnTo>
                  <a:pt x="611" y="484"/>
                </a:lnTo>
                <a:close/>
                <a:moveTo>
                  <a:pt x="626" y="516"/>
                </a:moveTo>
                <a:lnTo>
                  <a:pt x="595" y="516"/>
                </a:lnTo>
                <a:lnTo>
                  <a:pt x="595" y="494"/>
                </a:lnTo>
                <a:lnTo>
                  <a:pt x="626" y="494"/>
                </a:lnTo>
                <a:lnTo>
                  <a:pt x="626" y="516"/>
                </a:lnTo>
                <a:close/>
                <a:moveTo>
                  <a:pt x="626" y="549"/>
                </a:moveTo>
                <a:lnTo>
                  <a:pt x="595" y="549"/>
                </a:lnTo>
                <a:lnTo>
                  <a:pt x="595" y="527"/>
                </a:lnTo>
                <a:lnTo>
                  <a:pt x="626" y="527"/>
                </a:lnTo>
                <a:lnTo>
                  <a:pt x="626" y="549"/>
                </a:lnTo>
                <a:close/>
                <a:moveTo>
                  <a:pt x="211" y="455"/>
                </a:moveTo>
                <a:lnTo>
                  <a:pt x="160" y="455"/>
                </a:lnTo>
                <a:lnTo>
                  <a:pt x="160" y="369"/>
                </a:lnTo>
                <a:lnTo>
                  <a:pt x="336" y="369"/>
                </a:lnTo>
                <a:lnTo>
                  <a:pt x="336" y="455"/>
                </a:lnTo>
                <a:lnTo>
                  <a:pt x="285" y="455"/>
                </a:lnTo>
                <a:lnTo>
                  <a:pt x="285" y="589"/>
                </a:lnTo>
                <a:lnTo>
                  <a:pt x="419" y="589"/>
                </a:lnTo>
                <a:lnTo>
                  <a:pt x="419" y="455"/>
                </a:lnTo>
                <a:lnTo>
                  <a:pt x="367" y="455"/>
                </a:lnTo>
                <a:lnTo>
                  <a:pt x="367" y="253"/>
                </a:lnTo>
                <a:lnTo>
                  <a:pt x="419" y="253"/>
                </a:lnTo>
                <a:lnTo>
                  <a:pt x="419" y="119"/>
                </a:lnTo>
                <a:lnTo>
                  <a:pt x="285" y="119"/>
                </a:lnTo>
                <a:lnTo>
                  <a:pt x="285" y="253"/>
                </a:lnTo>
                <a:lnTo>
                  <a:pt x="336" y="253"/>
                </a:lnTo>
                <a:lnTo>
                  <a:pt x="336" y="339"/>
                </a:lnTo>
                <a:lnTo>
                  <a:pt x="129" y="339"/>
                </a:lnTo>
                <a:lnTo>
                  <a:pt x="129" y="455"/>
                </a:lnTo>
                <a:lnTo>
                  <a:pt x="77" y="455"/>
                </a:lnTo>
                <a:lnTo>
                  <a:pt x="77" y="589"/>
                </a:lnTo>
                <a:lnTo>
                  <a:pt x="211" y="589"/>
                </a:lnTo>
                <a:lnTo>
                  <a:pt x="211" y="455"/>
                </a:lnTo>
                <a:close/>
                <a:moveTo>
                  <a:pt x="389" y="558"/>
                </a:moveTo>
                <a:lnTo>
                  <a:pt x="315" y="558"/>
                </a:lnTo>
                <a:lnTo>
                  <a:pt x="315" y="484"/>
                </a:lnTo>
                <a:lnTo>
                  <a:pt x="389" y="484"/>
                </a:lnTo>
                <a:lnTo>
                  <a:pt x="389" y="558"/>
                </a:lnTo>
                <a:close/>
                <a:moveTo>
                  <a:pt x="315" y="149"/>
                </a:moveTo>
                <a:lnTo>
                  <a:pt x="389" y="149"/>
                </a:lnTo>
                <a:lnTo>
                  <a:pt x="389" y="222"/>
                </a:lnTo>
                <a:lnTo>
                  <a:pt x="315" y="222"/>
                </a:lnTo>
                <a:lnTo>
                  <a:pt x="315" y="149"/>
                </a:lnTo>
                <a:close/>
                <a:moveTo>
                  <a:pt x="181" y="558"/>
                </a:moveTo>
                <a:lnTo>
                  <a:pt x="107" y="558"/>
                </a:lnTo>
                <a:lnTo>
                  <a:pt x="107" y="484"/>
                </a:lnTo>
                <a:lnTo>
                  <a:pt x="181" y="484"/>
                </a:lnTo>
                <a:lnTo>
                  <a:pt x="181" y="558"/>
                </a:lnTo>
                <a:close/>
                <a:moveTo>
                  <a:pt x="379" y="369"/>
                </a:moveTo>
                <a:lnTo>
                  <a:pt x="379" y="339"/>
                </a:lnTo>
                <a:lnTo>
                  <a:pt x="407" y="339"/>
                </a:lnTo>
                <a:lnTo>
                  <a:pt x="407" y="369"/>
                </a:lnTo>
                <a:lnTo>
                  <a:pt x="379" y="369"/>
                </a:lnTo>
                <a:close/>
                <a:moveTo>
                  <a:pt x="448" y="369"/>
                </a:moveTo>
                <a:lnTo>
                  <a:pt x="420" y="369"/>
                </a:lnTo>
                <a:lnTo>
                  <a:pt x="420" y="339"/>
                </a:lnTo>
                <a:lnTo>
                  <a:pt x="448" y="339"/>
                </a:lnTo>
                <a:lnTo>
                  <a:pt x="448" y="369"/>
                </a:lnTo>
                <a:close/>
                <a:moveTo>
                  <a:pt x="490" y="369"/>
                </a:moveTo>
                <a:lnTo>
                  <a:pt x="462" y="369"/>
                </a:lnTo>
                <a:lnTo>
                  <a:pt x="462" y="339"/>
                </a:lnTo>
                <a:lnTo>
                  <a:pt x="490" y="339"/>
                </a:lnTo>
                <a:lnTo>
                  <a:pt x="490" y="369"/>
                </a:lnTo>
                <a:close/>
                <a:moveTo>
                  <a:pt x="532" y="369"/>
                </a:moveTo>
                <a:lnTo>
                  <a:pt x="503" y="369"/>
                </a:lnTo>
                <a:lnTo>
                  <a:pt x="503" y="339"/>
                </a:lnTo>
                <a:lnTo>
                  <a:pt x="532" y="339"/>
                </a:lnTo>
                <a:lnTo>
                  <a:pt x="532" y="369"/>
                </a:lnTo>
                <a:close/>
                <a:moveTo>
                  <a:pt x="574" y="369"/>
                </a:moveTo>
                <a:lnTo>
                  <a:pt x="544" y="369"/>
                </a:lnTo>
                <a:lnTo>
                  <a:pt x="544" y="339"/>
                </a:lnTo>
                <a:lnTo>
                  <a:pt x="574" y="339"/>
                </a:lnTo>
                <a:lnTo>
                  <a:pt x="574" y="369"/>
                </a:lnTo>
                <a:close/>
                <a:moveTo>
                  <a:pt x="574" y="406"/>
                </a:moveTo>
                <a:lnTo>
                  <a:pt x="544" y="406"/>
                </a:lnTo>
                <a:lnTo>
                  <a:pt x="544" y="380"/>
                </a:lnTo>
                <a:lnTo>
                  <a:pt x="574" y="380"/>
                </a:lnTo>
                <a:lnTo>
                  <a:pt x="574" y="406"/>
                </a:lnTo>
                <a:close/>
                <a:moveTo>
                  <a:pt x="574" y="443"/>
                </a:moveTo>
                <a:lnTo>
                  <a:pt x="544" y="443"/>
                </a:lnTo>
                <a:lnTo>
                  <a:pt x="544" y="418"/>
                </a:lnTo>
                <a:lnTo>
                  <a:pt x="574" y="418"/>
                </a:lnTo>
                <a:lnTo>
                  <a:pt x="574" y="443"/>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54" name="Rectangle: Rounded Corners 53">
            <a:extLst>
              <a:ext uri="{FF2B5EF4-FFF2-40B4-BE49-F238E27FC236}">
                <a16:creationId xmlns:a16="http://schemas.microsoft.com/office/drawing/2014/main" id="{5CE6B561-9DA2-4172-9D23-C3941CD9B1CE}"/>
              </a:ext>
            </a:extLst>
          </p:cNvPr>
          <p:cNvSpPr/>
          <p:nvPr/>
        </p:nvSpPr>
        <p:spPr>
          <a:xfrm>
            <a:off x="4339653" y="1849009"/>
            <a:ext cx="7409435" cy="789617"/>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400" dirty="0">
                <a:solidFill>
                  <a:schemeClr val="tx1"/>
                </a:solidFill>
              </a:rPr>
              <a:t>Location with sufficient land availability, having proximity to major cargo hotspots, linkage to transport infrastructure, utilities, availability of social infrastructure</a:t>
            </a:r>
          </a:p>
        </p:txBody>
      </p:sp>
      <p:sp>
        <p:nvSpPr>
          <p:cNvPr id="55" name="Rectangle: Rounded Corners 54">
            <a:extLst>
              <a:ext uri="{FF2B5EF4-FFF2-40B4-BE49-F238E27FC236}">
                <a16:creationId xmlns:a16="http://schemas.microsoft.com/office/drawing/2014/main" id="{EA89F543-E1D8-45CA-A880-CBFDEF185BD2}"/>
              </a:ext>
            </a:extLst>
          </p:cNvPr>
          <p:cNvSpPr/>
          <p:nvPr/>
        </p:nvSpPr>
        <p:spPr>
          <a:xfrm>
            <a:off x="4339653" y="2774558"/>
            <a:ext cx="7409435" cy="786206"/>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400" dirty="0">
                <a:solidFill>
                  <a:schemeClr val="tx1"/>
                </a:solidFill>
              </a:rPr>
              <a:t>Sectors with high future potential and aligned with comparative strengths of the two countries</a:t>
            </a:r>
          </a:p>
        </p:txBody>
      </p:sp>
      <p:sp>
        <p:nvSpPr>
          <p:cNvPr id="56" name="Rectangle: Rounded Corners 55">
            <a:extLst>
              <a:ext uri="{FF2B5EF4-FFF2-40B4-BE49-F238E27FC236}">
                <a16:creationId xmlns:a16="http://schemas.microsoft.com/office/drawing/2014/main" id="{16A2E989-ABFB-4E5B-9CC1-C4FEFA6C287F}"/>
              </a:ext>
            </a:extLst>
          </p:cNvPr>
          <p:cNvSpPr/>
          <p:nvPr/>
        </p:nvSpPr>
        <p:spPr>
          <a:xfrm>
            <a:off x="4339653" y="4618836"/>
            <a:ext cx="7409435" cy="786206"/>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400" dirty="0">
                <a:solidFill>
                  <a:schemeClr val="tx1"/>
                </a:solidFill>
              </a:rPr>
              <a:t>Suitable institutional structure for development and operations of ICIC as per the best practices and prevalent models in Central Asia</a:t>
            </a:r>
          </a:p>
        </p:txBody>
      </p:sp>
      <p:sp>
        <p:nvSpPr>
          <p:cNvPr id="57" name="Rectangle: Rounded Corners 56">
            <a:extLst>
              <a:ext uri="{FF2B5EF4-FFF2-40B4-BE49-F238E27FC236}">
                <a16:creationId xmlns:a16="http://schemas.microsoft.com/office/drawing/2014/main" id="{1437F5A5-343F-4FCB-83DD-03185D111F10}"/>
              </a:ext>
            </a:extLst>
          </p:cNvPr>
          <p:cNvSpPr/>
          <p:nvPr/>
        </p:nvSpPr>
        <p:spPr>
          <a:xfrm>
            <a:off x="4339653" y="5540974"/>
            <a:ext cx="7409435" cy="786206"/>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400" dirty="0">
                <a:solidFill>
                  <a:schemeClr val="tx1"/>
                </a:solidFill>
              </a:rPr>
              <a:t>Infrastructural components supporting the sectors to be developed within ICIC</a:t>
            </a:r>
          </a:p>
        </p:txBody>
      </p:sp>
      <p:sp>
        <p:nvSpPr>
          <p:cNvPr id="4" name="Oval 3">
            <a:extLst>
              <a:ext uri="{FF2B5EF4-FFF2-40B4-BE49-F238E27FC236}">
                <a16:creationId xmlns:a16="http://schemas.microsoft.com/office/drawing/2014/main" id="{7F2F50A1-13E4-4B3B-A3BD-67E61C48DDFE}"/>
              </a:ext>
            </a:extLst>
          </p:cNvPr>
          <p:cNvSpPr/>
          <p:nvPr/>
        </p:nvSpPr>
        <p:spPr>
          <a:xfrm>
            <a:off x="856225" y="1665086"/>
            <a:ext cx="365760" cy="365760"/>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1</a:t>
            </a:r>
          </a:p>
        </p:txBody>
      </p:sp>
      <p:sp>
        <p:nvSpPr>
          <p:cNvPr id="65" name="Oval 64">
            <a:extLst>
              <a:ext uri="{FF2B5EF4-FFF2-40B4-BE49-F238E27FC236}">
                <a16:creationId xmlns:a16="http://schemas.microsoft.com/office/drawing/2014/main" id="{0B596C42-5193-444C-882D-E5E474D8B6C4}"/>
              </a:ext>
            </a:extLst>
          </p:cNvPr>
          <p:cNvSpPr/>
          <p:nvPr/>
        </p:nvSpPr>
        <p:spPr>
          <a:xfrm>
            <a:off x="856224" y="2696959"/>
            <a:ext cx="365760" cy="365760"/>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2</a:t>
            </a:r>
          </a:p>
        </p:txBody>
      </p:sp>
      <p:sp>
        <p:nvSpPr>
          <p:cNvPr id="66" name="Oval 65">
            <a:extLst>
              <a:ext uri="{FF2B5EF4-FFF2-40B4-BE49-F238E27FC236}">
                <a16:creationId xmlns:a16="http://schemas.microsoft.com/office/drawing/2014/main" id="{50175336-48D1-444E-9D9F-442F7B047B5E}"/>
              </a:ext>
            </a:extLst>
          </p:cNvPr>
          <p:cNvSpPr/>
          <p:nvPr/>
        </p:nvSpPr>
        <p:spPr>
          <a:xfrm>
            <a:off x="856224" y="4531226"/>
            <a:ext cx="365760" cy="365760"/>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4</a:t>
            </a:r>
          </a:p>
        </p:txBody>
      </p:sp>
      <p:sp>
        <p:nvSpPr>
          <p:cNvPr id="67" name="Oval 66">
            <a:extLst>
              <a:ext uri="{FF2B5EF4-FFF2-40B4-BE49-F238E27FC236}">
                <a16:creationId xmlns:a16="http://schemas.microsoft.com/office/drawing/2014/main" id="{77A8086D-8DFB-409F-BAAB-DEB0661CD931}"/>
              </a:ext>
            </a:extLst>
          </p:cNvPr>
          <p:cNvSpPr/>
          <p:nvPr/>
        </p:nvSpPr>
        <p:spPr>
          <a:xfrm>
            <a:off x="856224" y="5446231"/>
            <a:ext cx="365760" cy="365760"/>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5</a:t>
            </a:r>
          </a:p>
        </p:txBody>
      </p:sp>
      <p:sp>
        <p:nvSpPr>
          <p:cNvPr id="107" name="Google Shape;6544;gfe7240cab3_1_22">
            <a:extLst>
              <a:ext uri="{FF2B5EF4-FFF2-40B4-BE49-F238E27FC236}">
                <a16:creationId xmlns:a16="http://schemas.microsoft.com/office/drawing/2014/main" id="{9A0B4661-0E6A-402F-B3A5-F942B291197D}"/>
              </a:ext>
            </a:extLst>
          </p:cNvPr>
          <p:cNvSpPr/>
          <p:nvPr/>
        </p:nvSpPr>
        <p:spPr>
          <a:xfrm>
            <a:off x="4049531" y="3753854"/>
            <a:ext cx="77093" cy="786206"/>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108" name="Google Shape;6545;gfe7240cab3_1_22">
            <a:extLst>
              <a:ext uri="{FF2B5EF4-FFF2-40B4-BE49-F238E27FC236}">
                <a16:creationId xmlns:a16="http://schemas.microsoft.com/office/drawing/2014/main" id="{920B3FCE-5E1B-4A60-81A8-54616F6FE219}"/>
              </a:ext>
            </a:extLst>
          </p:cNvPr>
          <p:cNvSpPr/>
          <p:nvPr/>
        </p:nvSpPr>
        <p:spPr>
          <a:xfrm>
            <a:off x="1190722" y="3753844"/>
            <a:ext cx="2844616" cy="786206"/>
          </a:xfrm>
          <a:prstGeom prst="rect">
            <a:avLst/>
          </a:prstGeom>
          <a:solidFill>
            <a:srgbClr val="C00000"/>
          </a:solidFill>
          <a:ln w="9525" cap="flat" cmpd="sng">
            <a:solidFill>
              <a:srgbClr val="D8D8D8"/>
            </a:solidFill>
            <a:prstDash val="solid"/>
            <a:round/>
            <a:headEnd type="none" w="sm" len="sm"/>
            <a:tailEnd type="none" w="sm" len="sm"/>
          </a:ln>
        </p:spPr>
        <p:txBody>
          <a:bodyPr spcFirstLastPara="1" wrap="square" lIns="609600" tIns="36575" rIns="60900" bIns="36575" anchor="ctr" anchorCtr="0">
            <a:noAutofit/>
          </a:bodyPr>
          <a:lstStyle/>
          <a:p>
            <a:pPr indent="285750">
              <a:buClr>
                <a:srgbClr val="A5A5A5"/>
              </a:buClr>
              <a:buSzPts val="1200"/>
            </a:pPr>
            <a:r>
              <a:rPr lang="en-GB" sz="1200" b="1">
                <a:solidFill>
                  <a:schemeClr val="bg1"/>
                </a:solidFill>
                <a:latin typeface="Arial"/>
                <a:cs typeface="Arial"/>
                <a:sym typeface="Arial"/>
              </a:rPr>
              <a:t>Incentive structure</a:t>
            </a:r>
            <a:endParaRPr sz="1200" b="1">
              <a:solidFill>
                <a:schemeClr val="bg1"/>
              </a:solidFill>
              <a:latin typeface="Arial"/>
              <a:cs typeface="Arial"/>
              <a:sym typeface="Arial"/>
            </a:endParaRPr>
          </a:p>
        </p:txBody>
      </p:sp>
      <p:sp>
        <p:nvSpPr>
          <p:cNvPr id="110" name="Rectangle: Rounded Corners 109">
            <a:extLst>
              <a:ext uri="{FF2B5EF4-FFF2-40B4-BE49-F238E27FC236}">
                <a16:creationId xmlns:a16="http://schemas.microsoft.com/office/drawing/2014/main" id="{C7057418-3888-409C-BBDE-FCA209220161}"/>
              </a:ext>
            </a:extLst>
          </p:cNvPr>
          <p:cNvSpPr/>
          <p:nvPr/>
        </p:nvSpPr>
        <p:spPr>
          <a:xfrm>
            <a:off x="4339653" y="3696696"/>
            <a:ext cx="7409435" cy="786206"/>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400" dirty="0">
                <a:solidFill>
                  <a:schemeClr val="tx1"/>
                </a:solidFill>
              </a:rPr>
              <a:t>Set of incentives to be extended to investors to improve the attractiveness of the center</a:t>
            </a:r>
          </a:p>
        </p:txBody>
      </p:sp>
      <p:sp>
        <p:nvSpPr>
          <p:cNvPr id="111" name="Oval 110">
            <a:extLst>
              <a:ext uri="{FF2B5EF4-FFF2-40B4-BE49-F238E27FC236}">
                <a16:creationId xmlns:a16="http://schemas.microsoft.com/office/drawing/2014/main" id="{B2A6BBAD-DD81-4A30-BFD1-E9A4C6C33604}"/>
              </a:ext>
            </a:extLst>
          </p:cNvPr>
          <p:cNvSpPr/>
          <p:nvPr/>
        </p:nvSpPr>
        <p:spPr>
          <a:xfrm>
            <a:off x="856224" y="3600299"/>
            <a:ext cx="365760" cy="365760"/>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3</a:t>
            </a:r>
          </a:p>
        </p:txBody>
      </p:sp>
      <p:sp>
        <p:nvSpPr>
          <p:cNvPr id="80" name="Google Shape;937;p83">
            <a:extLst>
              <a:ext uri="{FF2B5EF4-FFF2-40B4-BE49-F238E27FC236}">
                <a16:creationId xmlns:a16="http://schemas.microsoft.com/office/drawing/2014/main" id="{923ACF67-0B67-4B30-86FA-455178F5BB0C}"/>
              </a:ext>
            </a:extLst>
          </p:cNvPr>
          <p:cNvSpPr/>
          <p:nvPr/>
        </p:nvSpPr>
        <p:spPr>
          <a:xfrm>
            <a:off x="1252991" y="3844095"/>
            <a:ext cx="603504" cy="605705"/>
          </a:xfrm>
          <a:custGeom>
            <a:avLst/>
            <a:gdLst/>
            <a:ahLst/>
            <a:cxnLst/>
            <a:rect l="l" t="t" r="r" b="b"/>
            <a:pathLst>
              <a:path w="576" h="576" extrusionOk="0">
                <a:moveTo>
                  <a:pt x="142" y="114"/>
                </a:moveTo>
                <a:cubicBezTo>
                  <a:pt x="90" y="62"/>
                  <a:pt x="90" y="62"/>
                  <a:pt x="90" y="62"/>
                </a:cubicBezTo>
                <a:cubicBezTo>
                  <a:pt x="108" y="45"/>
                  <a:pt x="108" y="45"/>
                  <a:pt x="108" y="45"/>
                </a:cubicBezTo>
                <a:cubicBezTo>
                  <a:pt x="130" y="67"/>
                  <a:pt x="130" y="67"/>
                  <a:pt x="130" y="67"/>
                </a:cubicBezTo>
                <a:cubicBezTo>
                  <a:pt x="130" y="0"/>
                  <a:pt x="130" y="0"/>
                  <a:pt x="130" y="0"/>
                </a:cubicBezTo>
                <a:cubicBezTo>
                  <a:pt x="155" y="0"/>
                  <a:pt x="155" y="0"/>
                  <a:pt x="155" y="0"/>
                </a:cubicBezTo>
                <a:cubicBezTo>
                  <a:pt x="155" y="67"/>
                  <a:pt x="155" y="67"/>
                  <a:pt x="155" y="67"/>
                </a:cubicBezTo>
                <a:cubicBezTo>
                  <a:pt x="176" y="46"/>
                  <a:pt x="176" y="46"/>
                  <a:pt x="176" y="46"/>
                </a:cubicBezTo>
                <a:cubicBezTo>
                  <a:pt x="193" y="63"/>
                  <a:pt x="193" y="63"/>
                  <a:pt x="193" y="63"/>
                </a:cubicBezTo>
                <a:lnTo>
                  <a:pt x="142" y="114"/>
                </a:lnTo>
                <a:close/>
                <a:moveTo>
                  <a:pt x="486" y="67"/>
                </a:moveTo>
                <a:cubicBezTo>
                  <a:pt x="469" y="46"/>
                  <a:pt x="469" y="46"/>
                  <a:pt x="469" y="46"/>
                </a:cubicBezTo>
                <a:cubicBezTo>
                  <a:pt x="447" y="67"/>
                  <a:pt x="447" y="67"/>
                  <a:pt x="447" y="67"/>
                </a:cubicBezTo>
                <a:cubicBezTo>
                  <a:pt x="447" y="0"/>
                  <a:pt x="447" y="0"/>
                  <a:pt x="447" y="0"/>
                </a:cubicBezTo>
                <a:cubicBezTo>
                  <a:pt x="423" y="0"/>
                  <a:pt x="423" y="0"/>
                  <a:pt x="423" y="0"/>
                </a:cubicBezTo>
                <a:cubicBezTo>
                  <a:pt x="423" y="67"/>
                  <a:pt x="423" y="67"/>
                  <a:pt x="423" y="67"/>
                </a:cubicBezTo>
                <a:cubicBezTo>
                  <a:pt x="401" y="45"/>
                  <a:pt x="401" y="45"/>
                  <a:pt x="401" y="45"/>
                </a:cubicBezTo>
                <a:cubicBezTo>
                  <a:pt x="383" y="62"/>
                  <a:pt x="383" y="62"/>
                  <a:pt x="383" y="62"/>
                </a:cubicBezTo>
                <a:cubicBezTo>
                  <a:pt x="435" y="114"/>
                  <a:pt x="435" y="114"/>
                  <a:pt x="435" y="114"/>
                </a:cubicBezTo>
                <a:lnTo>
                  <a:pt x="486" y="67"/>
                </a:lnTo>
                <a:close/>
                <a:moveTo>
                  <a:pt x="576" y="123"/>
                </a:moveTo>
                <a:cubicBezTo>
                  <a:pt x="576" y="397"/>
                  <a:pt x="576" y="397"/>
                  <a:pt x="576" y="397"/>
                </a:cubicBezTo>
                <a:cubicBezTo>
                  <a:pt x="576" y="421"/>
                  <a:pt x="576" y="421"/>
                  <a:pt x="576" y="421"/>
                </a:cubicBezTo>
                <a:cubicBezTo>
                  <a:pt x="576" y="474"/>
                  <a:pt x="576" y="474"/>
                  <a:pt x="576" y="474"/>
                </a:cubicBezTo>
                <a:cubicBezTo>
                  <a:pt x="576" y="499"/>
                  <a:pt x="576" y="499"/>
                  <a:pt x="576" y="499"/>
                </a:cubicBezTo>
                <a:cubicBezTo>
                  <a:pt x="576" y="576"/>
                  <a:pt x="576" y="576"/>
                  <a:pt x="576" y="576"/>
                </a:cubicBezTo>
                <a:cubicBezTo>
                  <a:pt x="0" y="576"/>
                  <a:pt x="0" y="576"/>
                  <a:pt x="0" y="576"/>
                </a:cubicBezTo>
                <a:cubicBezTo>
                  <a:pt x="0" y="499"/>
                  <a:pt x="0" y="499"/>
                  <a:pt x="0" y="499"/>
                </a:cubicBezTo>
                <a:cubicBezTo>
                  <a:pt x="0" y="474"/>
                  <a:pt x="0" y="474"/>
                  <a:pt x="0" y="474"/>
                </a:cubicBezTo>
                <a:cubicBezTo>
                  <a:pt x="0" y="421"/>
                  <a:pt x="0" y="421"/>
                  <a:pt x="0" y="421"/>
                </a:cubicBezTo>
                <a:cubicBezTo>
                  <a:pt x="0" y="397"/>
                  <a:pt x="0" y="397"/>
                  <a:pt x="0" y="397"/>
                </a:cubicBezTo>
                <a:cubicBezTo>
                  <a:pt x="0" y="123"/>
                  <a:pt x="0" y="123"/>
                  <a:pt x="0" y="123"/>
                </a:cubicBezTo>
                <a:cubicBezTo>
                  <a:pt x="275" y="123"/>
                  <a:pt x="275" y="123"/>
                  <a:pt x="275" y="123"/>
                </a:cubicBezTo>
                <a:cubicBezTo>
                  <a:pt x="275" y="47"/>
                  <a:pt x="275" y="47"/>
                  <a:pt x="275" y="47"/>
                </a:cubicBezTo>
                <a:cubicBezTo>
                  <a:pt x="254" y="69"/>
                  <a:pt x="254" y="69"/>
                  <a:pt x="254" y="69"/>
                </a:cubicBezTo>
                <a:cubicBezTo>
                  <a:pt x="237" y="51"/>
                  <a:pt x="237" y="51"/>
                  <a:pt x="237" y="51"/>
                </a:cubicBezTo>
                <a:cubicBezTo>
                  <a:pt x="288" y="0"/>
                  <a:pt x="288" y="0"/>
                  <a:pt x="288" y="0"/>
                </a:cubicBezTo>
                <a:cubicBezTo>
                  <a:pt x="340" y="52"/>
                  <a:pt x="340" y="52"/>
                  <a:pt x="340" y="52"/>
                </a:cubicBezTo>
                <a:cubicBezTo>
                  <a:pt x="322" y="70"/>
                  <a:pt x="322" y="70"/>
                  <a:pt x="322" y="70"/>
                </a:cubicBezTo>
                <a:cubicBezTo>
                  <a:pt x="300" y="47"/>
                  <a:pt x="300" y="47"/>
                  <a:pt x="300" y="47"/>
                </a:cubicBezTo>
                <a:cubicBezTo>
                  <a:pt x="300" y="123"/>
                  <a:pt x="300" y="123"/>
                  <a:pt x="300" y="123"/>
                </a:cubicBezTo>
                <a:lnTo>
                  <a:pt x="576" y="123"/>
                </a:lnTo>
                <a:close/>
                <a:moveTo>
                  <a:pt x="552" y="218"/>
                </a:moveTo>
                <a:cubicBezTo>
                  <a:pt x="515" y="212"/>
                  <a:pt x="486" y="184"/>
                  <a:pt x="481" y="147"/>
                </a:cubicBezTo>
                <a:cubicBezTo>
                  <a:pt x="95" y="147"/>
                  <a:pt x="95" y="147"/>
                  <a:pt x="95" y="147"/>
                </a:cubicBezTo>
                <a:cubicBezTo>
                  <a:pt x="90" y="184"/>
                  <a:pt x="61" y="212"/>
                  <a:pt x="25" y="218"/>
                </a:cubicBezTo>
                <a:cubicBezTo>
                  <a:pt x="25" y="326"/>
                  <a:pt x="25" y="326"/>
                  <a:pt x="25" y="326"/>
                </a:cubicBezTo>
                <a:cubicBezTo>
                  <a:pt x="61" y="332"/>
                  <a:pt x="90" y="360"/>
                  <a:pt x="95" y="397"/>
                </a:cubicBezTo>
                <a:cubicBezTo>
                  <a:pt x="481" y="397"/>
                  <a:pt x="481" y="397"/>
                  <a:pt x="481" y="397"/>
                </a:cubicBezTo>
                <a:cubicBezTo>
                  <a:pt x="486" y="360"/>
                  <a:pt x="515" y="332"/>
                  <a:pt x="552" y="326"/>
                </a:cubicBezTo>
                <a:lnTo>
                  <a:pt x="552" y="218"/>
                </a:lnTo>
                <a:close/>
                <a:moveTo>
                  <a:pt x="552" y="147"/>
                </a:moveTo>
                <a:cubicBezTo>
                  <a:pt x="506" y="147"/>
                  <a:pt x="506" y="147"/>
                  <a:pt x="506" y="147"/>
                </a:cubicBezTo>
                <a:cubicBezTo>
                  <a:pt x="511" y="170"/>
                  <a:pt x="529" y="188"/>
                  <a:pt x="552" y="193"/>
                </a:cubicBezTo>
                <a:lnTo>
                  <a:pt x="552" y="147"/>
                </a:lnTo>
                <a:close/>
                <a:moveTo>
                  <a:pt x="25" y="147"/>
                </a:moveTo>
                <a:cubicBezTo>
                  <a:pt x="25" y="193"/>
                  <a:pt x="25" y="193"/>
                  <a:pt x="25" y="193"/>
                </a:cubicBezTo>
                <a:cubicBezTo>
                  <a:pt x="48" y="188"/>
                  <a:pt x="66" y="170"/>
                  <a:pt x="70" y="147"/>
                </a:cubicBezTo>
                <a:lnTo>
                  <a:pt x="25" y="147"/>
                </a:lnTo>
                <a:close/>
                <a:moveTo>
                  <a:pt x="25" y="397"/>
                </a:moveTo>
                <a:cubicBezTo>
                  <a:pt x="70" y="397"/>
                  <a:pt x="70" y="397"/>
                  <a:pt x="70" y="397"/>
                </a:cubicBezTo>
                <a:cubicBezTo>
                  <a:pt x="66" y="374"/>
                  <a:pt x="48" y="356"/>
                  <a:pt x="25" y="351"/>
                </a:cubicBezTo>
                <a:lnTo>
                  <a:pt x="25" y="397"/>
                </a:lnTo>
                <a:close/>
                <a:moveTo>
                  <a:pt x="552" y="499"/>
                </a:moveTo>
                <a:cubicBezTo>
                  <a:pt x="25" y="499"/>
                  <a:pt x="25" y="499"/>
                  <a:pt x="25" y="499"/>
                </a:cubicBezTo>
                <a:cubicBezTo>
                  <a:pt x="25" y="552"/>
                  <a:pt x="25" y="552"/>
                  <a:pt x="25" y="552"/>
                </a:cubicBezTo>
                <a:cubicBezTo>
                  <a:pt x="552" y="552"/>
                  <a:pt x="552" y="552"/>
                  <a:pt x="552" y="552"/>
                </a:cubicBezTo>
                <a:lnTo>
                  <a:pt x="552" y="499"/>
                </a:lnTo>
                <a:close/>
                <a:moveTo>
                  <a:pt x="552" y="421"/>
                </a:moveTo>
                <a:cubicBezTo>
                  <a:pt x="25" y="421"/>
                  <a:pt x="25" y="421"/>
                  <a:pt x="25" y="421"/>
                </a:cubicBezTo>
                <a:cubicBezTo>
                  <a:pt x="25" y="474"/>
                  <a:pt x="25" y="474"/>
                  <a:pt x="25" y="474"/>
                </a:cubicBezTo>
                <a:cubicBezTo>
                  <a:pt x="552" y="474"/>
                  <a:pt x="552" y="474"/>
                  <a:pt x="552" y="474"/>
                </a:cubicBezTo>
                <a:lnTo>
                  <a:pt x="552" y="421"/>
                </a:lnTo>
                <a:close/>
                <a:moveTo>
                  <a:pt x="552" y="397"/>
                </a:moveTo>
                <a:cubicBezTo>
                  <a:pt x="552" y="351"/>
                  <a:pt x="552" y="351"/>
                  <a:pt x="552" y="351"/>
                </a:cubicBezTo>
                <a:cubicBezTo>
                  <a:pt x="529" y="356"/>
                  <a:pt x="511" y="374"/>
                  <a:pt x="506" y="397"/>
                </a:cubicBezTo>
                <a:lnTo>
                  <a:pt x="552" y="397"/>
                </a:lnTo>
                <a:close/>
                <a:moveTo>
                  <a:pt x="372" y="272"/>
                </a:moveTo>
                <a:cubicBezTo>
                  <a:pt x="372" y="318"/>
                  <a:pt x="334" y="356"/>
                  <a:pt x="288" y="356"/>
                </a:cubicBezTo>
                <a:cubicBezTo>
                  <a:pt x="242" y="356"/>
                  <a:pt x="204" y="318"/>
                  <a:pt x="204" y="272"/>
                </a:cubicBezTo>
                <a:cubicBezTo>
                  <a:pt x="204" y="226"/>
                  <a:pt x="242" y="188"/>
                  <a:pt x="288" y="188"/>
                </a:cubicBezTo>
                <a:cubicBezTo>
                  <a:pt x="334" y="188"/>
                  <a:pt x="372" y="226"/>
                  <a:pt x="372" y="272"/>
                </a:cubicBezTo>
                <a:close/>
                <a:moveTo>
                  <a:pt x="347" y="272"/>
                </a:moveTo>
                <a:cubicBezTo>
                  <a:pt x="347" y="239"/>
                  <a:pt x="321" y="213"/>
                  <a:pt x="288" y="213"/>
                </a:cubicBezTo>
                <a:cubicBezTo>
                  <a:pt x="255" y="213"/>
                  <a:pt x="229" y="239"/>
                  <a:pt x="229" y="272"/>
                </a:cubicBezTo>
                <a:cubicBezTo>
                  <a:pt x="229" y="305"/>
                  <a:pt x="255" y="331"/>
                  <a:pt x="288" y="331"/>
                </a:cubicBezTo>
                <a:cubicBezTo>
                  <a:pt x="321" y="331"/>
                  <a:pt x="347" y="305"/>
                  <a:pt x="347" y="272"/>
                </a:cubicBezTo>
                <a:close/>
                <a:moveTo>
                  <a:pt x="312" y="281"/>
                </a:moveTo>
                <a:cubicBezTo>
                  <a:pt x="312" y="283"/>
                  <a:pt x="313" y="285"/>
                  <a:pt x="313" y="286"/>
                </a:cubicBezTo>
                <a:cubicBezTo>
                  <a:pt x="313" y="288"/>
                  <a:pt x="312" y="289"/>
                  <a:pt x="312" y="291"/>
                </a:cubicBezTo>
                <a:cubicBezTo>
                  <a:pt x="311" y="293"/>
                  <a:pt x="310" y="295"/>
                  <a:pt x="308" y="297"/>
                </a:cubicBezTo>
                <a:cubicBezTo>
                  <a:pt x="306" y="299"/>
                  <a:pt x="304" y="301"/>
                  <a:pt x="301" y="302"/>
                </a:cubicBezTo>
                <a:cubicBezTo>
                  <a:pt x="298" y="304"/>
                  <a:pt x="295" y="305"/>
                  <a:pt x="290" y="305"/>
                </a:cubicBezTo>
                <a:cubicBezTo>
                  <a:pt x="290" y="312"/>
                  <a:pt x="290" y="312"/>
                  <a:pt x="290" y="312"/>
                </a:cubicBezTo>
                <a:cubicBezTo>
                  <a:pt x="285" y="312"/>
                  <a:pt x="285" y="312"/>
                  <a:pt x="285" y="312"/>
                </a:cubicBezTo>
                <a:cubicBezTo>
                  <a:pt x="285" y="305"/>
                  <a:pt x="285" y="305"/>
                  <a:pt x="285" y="305"/>
                </a:cubicBezTo>
                <a:cubicBezTo>
                  <a:pt x="278" y="304"/>
                  <a:pt x="273" y="302"/>
                  <a:pt x="269" y="299"/>
                </a:cubicBezTo>
                <a:cubicBezTo>
                  <a:pt x="266" y="295"/>
                  <a:pt x="263" y="290"/>
                  <a:pt x="263" y="283"/>
                </a:cubicBezTo>
                <a:cubicBezTo>
                  <a:pt x="275" y="283"/>
                  <a:pt x="275" y="283"/>
                  <a:pt x="275" y="283"/>
                </a:cubicBezTo>
                <a:cubicBezTo>
                  <a:pt x="275" y="286"/>
                  <a:pt x="276" y="289"/>
                  <a:pt x="278" y="291"/>
                </a:cubicBezTo>
                <a:cubicBezTo>
                  <a:pt x="280" y="293"/>
                  <a:pt x="282" y="294"/>
                  <a:pt x="285" y="295"/>
                </a:cubicBezTo>
                <a:cubicBezTo>
                  <a:pt x="285" y="276"/>
                  <a:pt x="285" y="276"/>
                  <a:pt x="285" y="276"/>
                </a:cubicBezTo>
                <a:cubicBezTo>
                  <a:pt x="285" y="276"/>
                  <a:pt x="284" y="276"/>
                  <a:pt x="284" y="276"/>
                </a:cubicBezTo>
                <a:cubicBezTo>
                  <a:pt x="283" y="275"/>
                  <a:pt x="283" y="275"/>
                  <a:pt x="282" y="275"/>
                </a:cubicBezTo>
                <a:cubicBezTo>
                  <a:pt x="280" y="275"/>
                  <a:pt x="278" y="274"/>
                  <a:pt x="276" y="273"/>
                </a:cubicBezTo>
                <a:cubicBezTo>
                  <a:pt x="273" y="272"/>
                  <a:pt x="272" y="271"/>
                  <a:pt x="270" y="270"/>
                </a:cubicBezTo>
                <a:cubicBezTo>
                  <a:pt x="268" y="268"/>
                  <a:pt x="267" y="267"/>
                  <a:pt x="266" y="265"/>
                </a:cubicBezTo>
                <a:cubicBezTo>
                  <a:pt x="265" y="263"/>
                  <a:pt x="264" y="260"/>
                  <a:pt x="264" y="257"/>
                </a:cubicBezTo>
                <a:cubicBezTo>
                  <a:pt x="264" y="254"/>
                  <a:pt x="265" y="252"/>
                  <a:pt x="266" y="249"/>
                </a:cubicBezTo>
                <a:cubicBezTo>
                  <a:pt x="267" y="247"/>
                  <a:pt x="269" y="245"/>
                  <a:pt x="271" y="244"/>
                </a:cubicBezTo>
                <a:cubicBezTo>
                  <a:pt x="273" y="242"/>
                  <a:pt x="275" y="241"/>
                  <a:pt x="277" y="240"/>
                </a:cubicBezTo>
                <a:cubicBezTo>
                  <a:pt x="280" y="239"/>
                  <a:pt x="282" y="238"/>
                  <a:pt x="285" y="238"/>
                </a:cubicBezTo>
                <a:cubicBezTo>
                  <a:pt x="285" y="231"/>
                  <a:pt x="285" y="231"/>
                  <a:pt x="285" y="231"/>
                </a:cubicBezTo>
                <a:cubicBezTo>
                  <a:pt x="290" y="231"/>
                  <a:pt x="290" y="231"/>
                  <a:pt x="290" y="231"/>
                </a:cubicBezTo>
                <a:cubicBezTo>
                  <a:pt x="290" y="238"/>
                  <a:pt x="290" y="238"/>
                  <a:pt x="290" y="238"/>
                </a:cubicBezTo>
                <a:cubicBezTo>
                  <a:pt x="293" y="239"/>
                  <a:pt x="295" y="239"/>
                  <a:pt x="298" y="240"/>
                </a:cubicBezTo>
                <a:cubicBezTo>
                  <a:pt x="300" y="241"/>
                  <a:pt x="302" y="242"/>
                  <a:pt x="304" y="244"/>
                </a:cubicBezTo>
                <a:cubicBezTo>
                  <a:pt x="306" y="245"/>
                  <a:pt x="307" y="247"/>
                  <a:pt x="308" y="249"/>
                </a:cubicBezTo>
                <a:cubicBezTo>
                  <a:pt x="309" y="252"/>
                  <a:pt x="310" y="254"/>
                  <a:pt x="310" y="257"/>
                </a:cubicBezTo>
                <a:cubicBezTo>
                  <a:pt x="298" y="257"/>
                  <a:pt x="298" y="257"/>
                  <a:pt x="298" y="257"/>
                </a:cubicBezTo>
                <a:cubicBezTo>
                  <a:pt x="298" y="255"/>
                  <a:pt x="297" y="253"/>
                  <a:pt x="295" y="251"/>
                </a:cubicBezTo>
                <a:cubicBezTo>
                  <a:pt x="294" y="250"/>
                  <a:pt x="292" y="249"/>
                  <a:pt x="290" y="249"/>
                </a:cubicBezTo>
                <a:cubicBezTo>
                  <a:pt x="290" y="265"/>
                  <a:pt x="290" y="265"/>
                  <a:pt x="290" y="265"/>
                </a:cubicBezTo>
                <a:cubicBezTo>
                  <a:pt x="291" y="265"/>
                  <a:pt x="292" y="265"/>
                  <a:pt x="292" y="265"/>
                </a:cubicBezTo>
                <a:cubicBezTo>
                  <a:pt x="293" y="265"/>
                  <a:pt x="294" y="265"/>
                  <a:pt x="295" y="266"/>
                </a:cubicBezTo>
                <a:cubicBezTo>
                  <a:pt x="299" y="267"/>
                  <a:pt x="303" y="268"/>
                  <a:pt x="305" y="270"/>
                </a:cubicBezTo>
                <a:cubicBezTo>
                  <a:pt x="307" y="272"/>
                  <a:pt x="309" y="274"/>
                  <a:pt x="310" y="276"/>
                </a:cubicBezTo>
                <a:cubicBezTo>
                  <a:pt x="311" y="277"/>
                  <a:pt x="312" y="279"/>
                  <a:pt x="312" y="281"/>
                </a:cubicBezTo>
                <a:close/>
                <a:moveTo>
                  <a:pt x="285" y="249"/>
                </a:moveTo>
                <a:cubicBezTo>
                  <a:pt x="284" y="249"/>
                  <a:pt x="283" y="249"/>
                  <a:pt x="282" y="249"/>
                </a:cubicBezTo>
                <a:cubicBezTo>
                  <a:pt x="281" y="249"/>
                  <a:pt x="280" y="250"/>
                  <a:pt x="279" y="251"/>
                </a:cubicBezTo>
                <a:cubicBezTo>
                  <a:pt x="279" y="251"/>
                  <a:pt x="278" y="252"/>
                  <a:pt x="278" y="253"/>
                </a:cubicBezTo>
                <a:cubicBezTo>
                  <a:pt x="277" y="254"/>
                  <a:pt x="277" y="255"/>
                  <a:pt x="277" y="256"/>
                </a:cubicBezTo>
                <a:cubicBezTo>
                  <a:pt x="277" y="258"/>
                  <a:pt x="278" y="260"/>
                  <a:pt x="279" y="261"/>
                </a:cubicBezTo>
                <a:cubicBezTo>
                  <a:pt x="280" y="262"/>
                  <a:pt x="282" y="263"/>
                  <a:pt x="285" y="263"/>
                </a:cubicBezTo>
                <a:lnTo>
                  <a:pt x="285" y="249"/>
                </a:lnTo>
                <a:close/>
                <a:moveTo>
                  <a:pt x="300" y="286"/>
                </a:moveTo>
                <a:cubicBezTo>
                  <a:pt x="300" y="284"/>
                  <a:pt x="299" y="282"/>
                  <a:pt x="298" y="281"/>
                </a:cubicBezTo>
                <a:cubicBezTo>
                  <a:pt x="296" y="279"/>
                  <a:pt x="294" y="278"/>
                  <a:pt x="290" y="277"/>
                </a:cubicBezTo>
                <a:cubicBezTo>
                  <a:pt x="290" y="295"/>
                  <a:pt x="290" y="295"/>
                  <a:pt x="290" y="295"/>
                </a:cubicBezTo>
                <a:cubicBezTo>
                  <a:pt x="291" y="294"/>
                  <a:pt x="292" y="294"/>
                  <a:pt x="294" y="294"/>
                </a:cubicBezTo>
                <a:cubicBezTo>
                  <a:pt x="295" y="293"/>
                  <a:pt x="296" y="293"/>
                  <a:pt x="297" y="292"/>
                </a:cubicBezTo>
                <a:cubicBezTo>
                  <a:pt x="298" y="291"/>
                  <a:pt x="298" y="291"/>
                  <a:pt x="299" y="290"/>
                </a:cubicBezTo>
                <a:cubicBezTo>
                  <a:pt x="300" y="288"/>
                  <a:pt x="300" y="287"/>
                  <a:pt x="300" y="286"/>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8" name="Freeform 13">
            <a:extLst>
              <a:ext uri="{FF2B5EF4-FFF2-40B4-BE49-F238E27FC236}">
                <a16:creationId xmlns:a16="http://schemas.microsoft.com/office/drawing/2014/main" id="{6E57E903-7BA8-43B4-95DD-DBB7E1C1719E}"/>
              </a:ext>
            </a:extLst>
          </p:cNvPr>
          <p:cNvSpPr>
            <a:spLocks noChangeAspect="1" noEditPoints="1"/>
          </p:cNvSpPr>
          <p:nvPr/>
        </p:nvSpPr>
        <p:spPr bwMode="auto">
          <a:xfrm>
            <a:off x="1269342" y="5646950"/>
            <a:ext cx="603595" cy="603504"/>
          </a:xfrm>
          <a:custGeom>
            <a:avLst/>
            <a:gdLst>
              <a:gd name="T0" fmla="*/ 0 w 6669"/>
              <a:gd name="T1" fmla="*/ 6668 h 6668"/>
              <a:gd name="T2" fmla="*/ 6669 w 6669"/>
              <a:gd name="T3" fmla="*/ 0 h 6668"/>
              <a:gd name="T4" fmla="*/ 6385 w 6669"/>
              <a:gd name="T5" fmla="*/ 2273 h 6668"/>
              <a:gd name="T6" fmla="*/ 5987 w 6669"/>
              <a:gd name="T7" fmla="*/ 1861 h 6668"/>
              <a:gd name="T8" fmla="*/ 4877 w 6669"/>
              <a:gd name="T9" fmla="*/ 2273 h 6668"/>
              <a:gd name="T10" fmla="*/ 4199 w 6669"/>
              <a:gd name="T11" fmla="*/ 1825 h 6668"/>
              <a:gd name="T12" fmla="*/ 4611 w 6669"/>
              <a:gd name="T13" fmla="*/ 718 h 6668"/>
              <a:gd name="T14" fmla="*/ 4199 w 6669"/>
              <a:gd name="T15" fmla="*/ 284 h 6668"/>
              <a:gd name="T16" fmla="*/ 6385 w 6669"/>
              <a:gd name="T17" fmla="*/ 2273 h 6668"/>
              <a:gd name="T18" fmla="*/ 5703 w 6669"/>
              <a:gd name="T19" fmla="*/ 2685 h 6668"/>
              <a:gd name="T20" fmla="*/ 5161 w 6669"/>
              <a:gd name="T21" fmla="*/ 2145 h 6668"/>
              <a:gd name="T22" fmla="*/ 5289 w 6669"/>
              <a:gd name="T23" fmla="*/ 5950 h 6668"/>
              <a:gd name="T24" fmla="*/ 2824 w 6669"/>
              <a:gd name="T25" fmla="*/ 6384 h 6668"/>
              <a:gd name="T26" fmla="*/ 3236 w 6669"/>
              <a:gd name="T27" fmla="*/ 5950 h 6668"/>
              <a:gd name="T28" fmla="*/ 4877 w 6669"/>
              <a:gd name="T29" fmla="*/ 5538 h 6668"/>
              <a:gd name="T30" fmla="*/ 5289 w 6669"/>
              <a:gd name="T31" fmla="*/ 5950 h 6668"/>
              <a:gd name="T32" fmla="*/ 5161 w 6669"/>
              <a:gd name="T33" fmla="*/ 5126 h 6668"/>
              <a:gd name="T34" fmla="*/ 5703 w 6669"/>
              <a:gd name="T35" fmla="*/ 5666 h 6668"/>
              <a:gd name="T36" fmla="*/ 2952 w 6669"/>
              <a:gd name="T37" fmla="*/ 5126 h 6668"/>
              <a:gd name="T38" fmla="*/ 2412 w 6669"/>
              <a:gd name="T39" fmla="*/ 5666 h 6668"/>
              <a:gd name="T40" fmla="*/ 2952 w 6669"/>
              <a:gd name="T41" fmla="*/ 5126 h 6668"/>
              <a:gd name="T42" fmla="*/ 3236 w 6669"/>
              <a:gd name="T43" fmla="*/ 4843 h 6668"/>
              <a:gd name="T44" fmla="*/ 2824 w 6669"/>
              <a:gd name="T45" fmla="*/ 3701 h 6668"/>
              <a:gd name="T46" fmla="*/ 3503 w 6669"/>
              <a:gd name="T47" fmla="*/ 4113 h 6668"/>
              <a:gd name="T48" fmla="*/ 3915 w 6669"/>
              <a:gd name="T49" fmla="*/ 5254 h 6668"/>
              <a:gd name="T50" fmla="*/ 3787 w 6669"/>
              <a:gd name="T51" fmla="*/ 3829 h 6668"/>
              <a:gd name="T52" fmla="*/ 4327 w 6669"/>
              <a:gd name="T53" fmla="*/ 3289 h 6668"/>
              <a:gd name="T54" fmla="*/ 3787 w 6669"/>
              <a:gd name="T55" fmla="*/ 3829 h 6668"/>
              <a:gd name="T56" fmla="*/ 3503 w 6669"/>
              <a:gd name="T57" fmla="*/ 3417 h 6668"/>
              <a:gd name="T58" fmla="*/ 1860 w 6669"/>
              <a:gd name="T59" fmla="*/ 3005 h 6668"/>
              <a:gd name="T60" fmla="*/ 1448 w 6669"/>
              <a:gd name="T61" fmla="*/ 1825 h 6668"/>
              <a:gd name="T62" fmla="*/ 1860 w 6669"/>
              <a:gd name="T63" fmla="*/ 718 h 6668"/>
              <a:gd name="T64" fmla="*/ 1448 w 6669"/>
              <a:gd name="T65" fmla="*/ 284 h 6668"/>
              <a:gd name="T66" fmla="*/ 3915 w 6669"/>
              <a:gd name="T67" fmla="*/ 718 h 6668"/>
              <a:gd name="T68" fmla="*/ 3503 w 6669"/>
              <a:gd name="T69" fmla="*/ 1825 h 6668"/>
              <a:gd name="T70" fmla="*/ 3915 w 6669"/>
              <a:gd name="T71" fmla="*/ 3005 h 6668"/>
              <a:gd name="T72" fmla="*/ 1576 w 6669"/>
              <a:gd name="T73" fmla="*/ 3289 h 6668"/>
              <a:gd name="T74" fmla="*/ 1036 w 6669"/>
              <a:gd name="T75" fmla="*/ 3829 h 6668"/>
              <a:gd name="T76" fmla="*/ 1576 w 6669"/>
              <a:gd name="T77" fmla="*/ 3289 h 6668"/>
              <a:gd name="T78" fmla="*/ 1576 w 6669"/>
              <a:gd name="T79" fmla="*/ 1542 h 6668"/>
              <a:gd name="T80" fmla="*/ 1036 w 6669"/>
              <a:gd name="T81" fmla="*/ 1002 h 6668"/>
              <a:gd name="T82" fmla="*/ 3787 w 6669"/>
              <a:gd name="T83" fmla="*/ 1542 h 6668"/>
              <a:gd name="T84" fmla="*/ 4327 w 6669"/>
              <a:gd name="T85" fmla="*/ 1002 h 6668"/>
              <a:gd name="T86" fmla="*/ 3787 w 6669"/>
              <a:gd name="T87" fmla="*/ 1542 h 6668"/>
              <a:gd name="T88" fmla="*/ 1164 w 6669"/>
              <a:gd name="T89" fmla="*/ 284 h 6668"/>
              <a:gd name="T90" fmla="*/ 752 w 6669"/>
              <a:gd name="T91" fmla="*/ 718 h 6668"/>
              <a:gd name="T92" fmla="*/ 1164 w 6669"/>
              <a:gd name="T93" fmla="*/ 1825 h 6668"/>
              <a:gd name="T94" fmla="*/ 752 w 6669"/>
              <a:gd name="T95" fmla="*/ 3005 h 6668"/>
              <a:gd name="T96" fmla="*/ 1860 w 6669"/>
              <a:gd name="T97" fmla="*/ 4113 h 6668"/>
              <a:gd name="T98" fmla="*/ 2540 w 6669"/>
              <a:gd name="T99" fmla="*/ 3701 h 6668"/>
              <a:gd name="T100" fmla="*/ 2128 w 6669"/>
              <a:gd name="T101" fmla="*/ 4843 h 6668"/>
              <a:gd name="T102" fmla="*/ 2540 w 6669"/>
              <a:gd name="T103" fmla="*/ 5950 h 6668"/>
              <a:gd name="T104" fmla="*/ 286 w 6669"/>
              <a:gd name="T105" fmla="*/ 6384 h 6668"/>
              <a:gd name="T106" fmla="*/ 5575 w 6669"/>
              <a:gd name="T107" fmla="*/ 6384 h 6668"/>
              <a:gd name="T108" fmla="*/ 5987 w 6669"/>
              <a:gd name="T109" fmla="*/ 5950 h 6668"/>
              <a:gd name="T110" fmla="*/ 4877 w 6669"/>
              <a:gd name="T111" fmla="*/ 4843 h 6668"/>
              <a:gd name="T112" fmla="*/ 4199 w 6669"/>
              <a:gd name="T113" fmla="*/ 5254 h 6668"/>
              <a:gd name="T114" fmla="*/ 4611 w 6669"/>
              <a:gd name="T115" fmla="*/ 4113 h 6668"/>
              <a:gd name="T116" fmla="*/ 4199 w 6669"/>
              <a:gd name="T117" fmla="*/ 3005 h 6668"/>
              <a:gd name="T118" fmla="*/ 4877 w 6669"/>
              <a:gd name="T119" fmla="*/ 2557 h 6668"/>
              <a:gd name="T120" fmla="*/ 5987 w 6669"/>
              <a:gd name="T121" fmla="*/ 2969 h 6668"/>
              <a:gd name="T122" fmla="*/ 6385 w 6669"/>
              <a:gd name="T123" fmla="*/ 2557 h 6668"/>
              <a:gd name="T124" fmla="*/ 5575 w 6669"/>
              <a:gd name="T125" fmla="*/ 6384 h 6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69" h="6668">
                <a:moveTo>
                  <a:pt x="0" y="0"/>
                </a:moveTo>
                <a:lnTo>
                  <a:pt x="0" y="6668"/>
                </a:lnTo>
                <a:lnTo>
                  <a:pt x="6669" y="6668"/>
                </a:lnTo>
                <a:lnTo>
                  <a:pt x="6669" y="0"/>
                </a:lnTo>
                <a:lnTo>
                  <a:pt x="0" y="0"/>
                </a:lnTo>
                <a:close/>
                <a:moveTo>
                  <a:pt x="6385" y="2273"/>
                </a:moveTo>
                <a:lnTo>
                  <a:pt x="5987" y="2273"/>
                </a:lnTo>
                <a:lnTo>
                  <a:pt x="5987" y="1861"/>
                </a:lnTo>
                <a:lnTo>
                  <a:pt x="4877" y="1861"/>
                </a:lnTo>
                <a:lnTo>
                  <a:pt x="4877" y="2273"/>
                </a:lnTo>
                <a:lnTo>
                  <a:pt x="4199" y="2273"/>
                </a:lnTo>
                <a:lnTo>
                  <a:pt x="4199" y="1825"/>
                </a:lnTo>
                <a:lnTo>
                  <a:pt x="4611" y="1825"/>
                </a:lnTo>
                <a:lnTo>
                  <a:pt x="4611" y="718"/>
                </a:lnTo>
                <a:lnTo>
                  <a:pt x="4199" y="718"/>
                </a:lnTo>
                <a:lnTo>
                  <a:pt x="4199" y="284"/>
                </a:lnTo>
                <a:lnTo>
                  <a:pt x="6385" y="284"/>
                </a:lnTo>
                <a:lnTo>
                  <a:pt x="6385" y="2273"/>
                </a:lnTo>
                <a:close/>
                <a:moveTo>
                  <a:pt x="5703" y="2145"/>
                </a:moveTo>
                <a:lnTo>
                  <a:pt x="5703" y="2685"/>
                </a:lnTo>
                <a:lnTo>
                  <a:pt x="5161" y="2685"/>
                </a:lnTo>
                <a:lnTo>
                  <a:pt x="5161" y="2145"/>
                </a:lnTo>
                <a:lnTo>
                  <a:pt x="5703" y="2145"/>
                </a:lnTo>
                <a:close/>
                <a:moveTo>
                  <a:pt x="5289" y="5950"/>
                </a:moveTo>
                <a:lnTo>
                  <a:pt x="5289" y="6384"/>
                </a:lnTo>
                <a:lnTo>
                  <a:pt x="2824" y="6384"/>
                </a:lnTo>
                <a:lnTo>
                  <a:pt x="2824" y="5950"/>
                </a:lnTo>
                <a:lnTo>
                  <a:pt x="3236" y="5950"/>
                </a:lnTo>
                <a:lnTo>
                  <a:pt x="3236" y="5538"/>
                </a:lnTo>
                <a:lnTo>
                  <a:pt x="4877" y="5538"/>
                </a:lnTo>
                <a:lnTo>
                  <a:pt x="4877" y="5950"/>
                </a:lnTo>
                <a:lnTo>
                  <a:pt x="5289" y="5950"/>
                </a:lnTo>
                <a:close/>
                <a:moveTo>
                  <a:pt x="5161" y="5666"/>
                </a:moveTo>
                <a:lnTo>
                  <a:pt x="5161" y="5126"/>
                </a:lnTo>
                <a:lnTo>
                  <a:pt x="5703" y="5126"/>
                </a:lnTo>
                <a:lnTo>
                  <a:pt x="5703" y="5666"/>
                </a:lnTo>
                <a:lnTo>
                  <a:pt x="5161" y="5666"/>
                </a:lnTo>
                <a:close/>
                <a:moveTo>
                  <a:pt x="2952" y="5126"/>
                </a:moveTo>
                <a:lnTo>
                  <a:pt x="2952" y="5666"/>
                </a:lnTo>
                <a:lnTo>
                  <a:pt x="2412" y="5666"/>
                </a:lnTo>
                <a:lnTo>
                  <a:pt x="2412" y="5126"/>
                </a:lnTo>
                <a:lnTo>
                  <a:pt x="2952" y="5126"/>
                </a:lnTo>
                <a:close/>
                <a:moveTo>
                  <a:pt x="3236" y="5254"/>
                </a:moveTo>
                <a:lnTo>
                  <a:pt x="3236" y="4843"/>
                </a:lnTo>
                <a:lnTo>
                  <a:pt x="2824" y="4843"/>
                </a:lnTo>
                <a:lnTo>
                  <a:pt x="2824" y="3701"/>
                </a:lnTo>
                <a:lnTo>
                  <a:pt x="3503" y="3701"/>
                </a:lnTo>
                <a:lnTo>
                  <a:pt x="3503" y="4113"/>
                </a:lnTo>
                <a:lnTo>
                  <a:pt x="3915" y="4113"/>
                </a:lnTo>
                <a:lnTo>
                  <a:pt x="3915" y="5254"/>
                </a:lnTo>
                <a:lnTo>
                  <a:pt x="3236" y="5254"/>
                </a:lnTo>
                <a:close/>
                <a:moveTo>
                  <a:pt x="3787" y="3829"/>
                </a:moveTo>
                <a:lnTo>
                  <a:pt x="3787" y="3289"/>
                </a:lnTo>
                <a:lnTo>
                  <a:pt x="4327" y="3289"/>
                </a:lnTo>
                <a:lnTo>
                  <a:pt x="4327" y="3829"/>
                </a:lnTo>
                <a:lnTo>
                  <a:pt x="3787" y="3829"/>
                </a:lnTo>
                <a:close/>
                <a:moveTo>
                  <a:pt x="3503" y="3005"/>
                </a:moveTo>
                <a:lnTo>
                  <a:pt x="3503" y="3417"/>
                </a:lnTo>
                <a:lnTo>
                  <a:pt x="1860" y="3417"/>
                </a:lnTo>
                <a:lnTo>
                  <a:pt x="1860" y="3005"/>
                </a:lnTo>
                <a:lnTo>
                  <a:pt x="1448" y="3005"/>
                </a:lnTo>
                <a:lnTo>
                  <a:pt x="1448" y="1825"/>
                </a:lnTo>
                <a:lnTo>
                  <a:pt x="1860" y="1825"/>
                </a:lnTo>
                <a:lnTo>
                  <a:pt x="1860" y="718"/>
                </a:lnTo>
                <a:lnTo>
                  <a:pt x="1448" y="718"/>
                </a:lnTo>
                <a:lnTo>
                  <a:pt x="1448" y="284"/>
                </a:lnTo>
                <a:lnTo>
                  <a:pt x="3915" y="284"/>
                </a:lnTo>
                <a:lnTo>
                  <a:pt x="3915" y="718"/>
                </a:lnTo>
                <a:lnTo>
                  <a:pt x="3503" y="718"/>
                </a:lnTo>
                <a:lnTo>
                  <a:pt x="3503" y="1825"/>
                </a:lnTo>
                <a:lnTo>
                  <a:pt x="3915" y="1825"/>
                </a:lnTo>
                <a:lnTo>
                  <a:pt x="3915" y="3005"/>
                </a:lnTo>
                <a:lnTo>
                  <a:pt x="3503" y="3005"/>
                </a:lnTo>
                <a:close/>
                <a:moveTo>
                  <a:pt x="1576" y="3289"/>
                </a:moveTo>
                <a:lnTo>
                  <a:pt x="1576" y="3829"/>
                </a:lnTo>
                <a:lnTo>
                  <a:pt x="1036" y="3829"/>
                </a:lnTo>
                <a:lnTo>
                  <a:pt x="1036" y="3289"/>
                </a:lnTo>
                <a:lnTo>
                  <a:pt x="1576" y="3289"/>
                </a:lnTo>
                <a:close/>
                <a:moveTo>
                  <a:pt x="1576" y="1002"/>
                </a:moveTo>
                <a:lnTo>
                  <a:pt x="1576" y="1542"/>
                </a:lnTo>
                <a:lnTo>
                  <a:pt x="1036" y="1542"/>
                </a:lnTo>
                <a:lnTo>
                  <a:pt x="1036" y="1002"/>
                </a:lnTo>
                <a:lnTo>
                  <a:pt x="1576" y="1002"/>
                </a:lnTo>
                <a:close/>
                <a:moveTo>
                  <a:pt x="3787" y="1542"/>
                </a:moveTo>
                <a:lnTo>
                  <a:pt x="3787" y="1002"/>
                </a:lnTo>
                <a:lnTo>
                  <a:pt x="4327" y="1002"/>
                </a:lnTo>
                <a:lnTo>
                  <a:pt x="4327" y="1542"/>
                </a:lnTo>
                <a:lnTo>
                  <a:pt x="3787" y="1542"/>
                </a:lnTo>
                <a:close/>
                <a:moveTo>
                  <a:pt x="286" y="284"/>
                </a:moveTo>
                <a:lnTo>
                  <a:pt x="1164" y="284"/>
                </a:lnTo>
                <a:lnTo>
                  <a:pt x="1164" y="718"/>
                </a:lnTo>
                <a:lnTo>
                  <a:pt x="752" y="718"/>
                </a:lnTo>
                <a:lnTo>
                  <a:pt x="752" y="1825"/>
                </a:lnTo>
                <a:lnTo>
                  <a:pt x="1164" y="1825"/>
                </a:lnTo>
                <a:lnTo>
                  <a:pt x="1164" y="3005"/>
                </a:lnTo>
                <a:lnTo>
                  <a:pt x="752" y="3005"/>
                </a:lnTo>
                <a:lnTo>
                  <a:pt x="752" y="4113"/>
                </a:lnTo>
                <a:lnTo>
                  <a:pt x="1860" y="4113"/>
                </a:lnTo>
                <a:lnTo>
                  <a:pt x="1860" y="3701"/>
                </a:lnTo>
                <a:lnTo>
                  <a:pt x="2540" y="3701"/>
                </a:lnTo>
                <a:lnTo>
                  <a:pt x="2540" y="4843"/>
                </a:lnTo>
                <a:lnTo>
                  <a:pt x="2128" y="4843"/>
                </a:lnTo>
                <a:lnTo>
                  <a:pt x="2128" y="5950"/>
                </a:lnTo>
                <a:lnTo>
                  <a:pt x="2540" y="5950"/>
                </a:lnTo>
                <a:lnTo>
                  <a:pt x="2540" y="6384"/>
                </a:lnTo>
                <a:lnTo>
                  <a:pt x="286" y="6384"/>
                </a:lnTo>
                <a:lnTo>
                  <a:pt x="286" y="284"/>
                </a:lnTo>
                <a:close/>
                <a:moveTo>
                  <a:pt x="5575" y="6384"/>
                </a:moveTo>
                <a:lnTo>
                  <a:pt x="5575" y="5950"/>
                </a:lnTo>
                <a:lnTo>
                  <a:pt x="5987" y="5950"/>
                </a:lnTo>
                <a:lnTo>
                  <a:pt x="5987" y="4843"/>
                </a:lnTo>
                <a:lnTo>
                  <a:pt x="4877" y="4843"/>
                </a:lnTo>
                <a:lnTo>
                  <a:pt x="4877" y="5254"/>
                </a:lnTo>
                <a:lnTo>
                  <a:pt x="4199" y="5254"/>
                </a:lnTo>
                <a:lnTo>
                  <a:pt x="4199" y="4113"/>
                </a:lnTo>
                <a:lnTo>
                  <a:pt x="4611" y="4113"/>
                </a:lnTo>
                <a:lnTo>
                  <a:pt x="4611" y="3005"/>
                </a:lnTo>
                <a:lnTo>
                  <a:pt x="4199" y="3005"/>
                </a:lnTo>
                <a:lnTo>
                  <a:pt x="4199" y="2557"/>
                </a:lnTo>
                <a:lnTo>
                  <a:pt x="4877" y="2557"/>
                </a:lnTo>
                <a:lnTo>
                  <a:pt x="4877" y="2969"/>
                </a:lnTo>
                <a:lnTo>
                  <a:pt x="5987" y="2969"/>
                </a:lnTo>
                <a:lnTo>
                  <a:pt x="5987" y="2557"/>
                </a:lnTo>
                <a:lnTo>
                  <a:pt x="6385" y="2557"/>
                </a:lnTo>
                <a:lnTo>
                  <a:pt x="6385" y="6384"/>
                </a:lnTo>
                <a:lnTo>
                  <a:pt x="5575" y="6384"/>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7" name="Date Placeholder 6">
            <a:extLst>
              <a:ext uri="{FF2B5EF4-FFF2-40B4-BE49-F238E27FC236}">
                <a16:creationId xmlns:a16="http://schemas.microsoft.com/office/drawing/2014/main" id="{B5154FE6-C7D7-4EF8-BFBA-4C9AF9EE0DDE}"/>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34" name="Footer Placeholder 11">
            <a:extLst>
              <a:ext uri="{FF2B5EF4-FFF2-40B4-BE49-F238E27FC236}">
                <a16:creationId xmlns:a16="http://schemas.microsoft.com/office/drawing/2014/main" id="{A1BB5707-A3C4-4275-8EE3-F666B4CEA92D}"/>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spTree>
    <p:custDataLst>
      <p:custData r:id="rId1"/>
    </p:custDataLst>
    <p:extLst>
      <p:ext uri="{BB962C8B-B14F-4D97-AF65-F5344CB8AC3E}">
        <p14:creationId xmlns:p14="http://schemas.microsoft.com/office/powerpoint/2010/main" val="39611522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1507426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25895"/>
            <a:ext cx="11306175" cy="369332"/>
          </a:xfrm>
        </p:spPr>
        <p:txBody>
          <a:bodyPr anchor="ctr" anchorCtr="0">
            <a:normAutofit/>
          </a:bodyPr>
          <a:lstStyle/>
          <a:p>
            <a:pPr lvl="0"/>
            <a:r>
              <a:rPr lang="en-US" sz="2000" b="0" dirty="0">
                <a:latin typeface="Georgia" panose="02040502050405020303" pitchFamily="18" charset="0"/>
              </a:rPr>
              <a:t>Overview of the Proposed ICIC Site near Atameken (Kazakhstan)-Gulistan (Uzbekistan) Road BCP</a:t>
            </a:r>
          </a:p>
        </p:txBody>
      </p:sp>
      <p:graphicFrame>
        <p:nvGraphicFramePr>
          <p:cNvPr id="39" name="Diagram 38">
            <a:extLst>
              <a:ext uri="{FF2B5EF4-FFF2-40B4-BE49-F238E27FC236}">
                <a16:creationId xmlns:a16="http://schemas.microsoft.com/office/drawing/2014/main" id="{64613702-E163-4B85-B3AF-58808AB4C496}"/>
              </a:ext>
            </a:extLst>
          </p:cNvPr>
          <p:cNvGraphicFramePr/>
          <p:nvPr/>
        </p:nvGraphicFramePr>
        <p:xfrm>
          <a:off x="442915" y="-1"/>
          <a:ext cx="11749086" cy="2194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05" name="Group 104">
            <a:extLst>
              <a:ext uri="{FF2B5EF4-FFF2-40B4-BE49-F238E27FC236}">
                <a16:creationId xmlns:a16="http://schemas.microsoft.com/office/drawing/2014/main" id="{6B8D703D-1FA2-4A3A-ACB8-78F5A92E24F1}"/>
              </a:ext>
            </a:extLst>
          </p:cNvPr>
          <p:cNvGrpSpPr/>
          <p:nvPr/>
        </p:nvGrpSpPr>
        <p:grpSpPr>
          <a:xfrm>
            <a:off x="234120" y="1387628"/>
            <a:ext cx="4748846" cy="4957785"/>
            <a:chOff x="347691" y="1185590"/>
            <a:chExt cx="4996815" cy="4653203"/>
          </a:xfrm>
        </p:grpSpPr>
        <p:grpSp>
          <p:nvGrpSpPr>
            <p:cNvPr id="106" name="Group 105">
              <a:extLst>
                <a:ext uri="{FF2B5EF4-FFF2-40B4-BE49-F238E27FC236}">
                  <a16:creationId xmlns:a16="http://schemas.microsoft.com/office/drawing/2014/main" id="{D1436303-A255-43F0-AFC2-5B6939F78A7E}"/>
                </a:ext>
              </a:extLst>
            </p:cNvPr>
            <p:cNvGrpSpPr/>
            <p:nvPr/>
          </p:nvGrpSpPr>
          <p:grpSpPr>
            <a:xfrm>
              <a:off x="2679836" y="3418436"/>
              <a:ext cx="1610019" cy="1001950"/>
              <a:chOff x="2561400" y="2971800"/>
              <a:chExt cx="1778000" cy="1346200"/>
            </a:xfrm>
          </p:grpSpPr>
          <p:pic>
            <p:nvPicPr>
              <p:cNvPr id="138" name="Graphic 2" descr="House">
                <a:extLst>
                  <a:ext uri="{FF2B5EF4-FFF2-40B4-BE49-F238E27FC236}">
                    <a16:creationId xmlns:a16="http://schemas.microsoft.com/office/drawing/2014/main" id="{61CCBBAF-59B2-4D2E-9D4D-9F9AC4AAFA4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561400" y="2971800"/>
                <a:ext cx="914400" cy="914400"/>
              </a:xfrm>
              <a:prstGeom prst="rect">
                <a:avLst/>
              </a:prstGeom>
            </p:spPr>
          </p:pic>
          <p:pic>
            <p:nvPicPr>
              <p:cNvPr id="139" name="Graphic 4" descr="Home">
                <a:extLst>
                  <a:ext uri="{FF2B5EF4-FFF2-40B4-BE49-F238E27FC236}">
                    <a16:creationId xmlns:a16="http://schemas.microsoft.com/office/drawing/2014/main" id="{49F33D12-CB55-42AE-8541-D5A537A847A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25000" y="2971800"/>
                <a:ext cx="914400" cy="914400"/>
              </a:xfrm>
              <a:prstGeom prst="rect">
                <a:avLst/>
              </a:prstGeom>
            </p:spPr>
          </p:pic>
          <p:pic>
            <p:nvPicPr>
              <p:cNvPr id="140" name="Graphic 6" descr="House">
                <a:extLst>
                  <a:ext uri="{FF2B5EF4-FFF2-40B4-BE49-F238E27FC236}">
                    <a16:creationId xmlns:a16="http://schemas.microsoft.com/office/drawing/2014/main" id="{A23DBFC2-6BC0-4EAC-ADD9-7B3618689FB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18600" y="3403600"/>
                <a:ext cx="914400" cy="914400"/>
              </a:xfrm>
              <a:prstGeom prst="rect">
                <a:avLst/>
              </a:prstGeom>
            </p:spPr>
          </p:pic>
        </p:grpSp>
        <p:pic>
          <p:nvPicPr>
            <p:cNvPr id="107" name="Picture 106">
              <a:extLst>
                <a:ext uri="{FF2B5EF4-FFF2-40B4-BE49-F238E27FC236}">
                  <a16:creationId xmlns:a16="http://schemas.microsoft.com/office/drawing/2014/main" id="{7E56D754-8671-445A-AEB6-2A387532CD03}"/>
                </a:ext>
              </a:extLst>
            </p:cNvPr>
            <p:cNvPicPr>
              <a:picLocks noChangeAspect="1"/>
            </p:cNvPicPr>
            <p:nvPr/>
          </p:nvPicPr>
          <p:blipFill rotWithShape="1">
            <a:blip r:embed="rId18"/>
            <a:srcRect r="8597" b="8837"/>
            <a:stretch/>
          </p:blipFill>
          <p:spPr>
            <a:xfrm>
              <a:off x="347691" y="1185590"/>
              <a:ext cx="4996815" cy="4653203"/>
            </a:xfrm>
            <a:prstGeom prst="rect">
              <a:avLst/>
            </a:prstGeom>
          </p:spPr>
        </p:pic>
        <p:sp>
          <p:nvSpPr>
            <p:cNvPr id="108" name="Rounded Rectangle 2099762902">
              <a:extLst>
                <a:ext uri="{FF2B5EF4-FFF2-40B4-BE49-F238E27FC236}">
                  <a16:creationId xmlns:a16="http://schemas.microsoft.com/office/drawing/2014/main" id="{F1E2EF47-4D28-4592-8D84-49E5CFBED195}"/>
                </a:ext>
              </a:extLst>
            </p:cNvPr>
            <p:cNvSpPr/>
            <p:nvPr/>
          </p:nvSpPr>
          <p:spPr>
            <a:xfrm>
              <a:off x="3731800" y="1261740"/>
              <a:ext cx="1152867" cy="353212"/>
            </a:xfrm>
            <a:prstGeom prst="roundRect">
              <a:avLst/>
            </a:prstGeom>
            <a:solidFill>
              <a:srgbClr val="1F3864"/>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ctr"/>
            <a:lstStyle/>
            <a:p>
              <a:pPr marL="0" marR="0" algn="ctr">
                <a:spcBef>
                  <a:spcPts val="0"/>
                </a:spcBef>
                <a:spcAft>
                  <a:spcPts val="0"/>
                </a:spcAft>
              </a:pPr>
              <a:r>
                <a:rPr lang="en-US" sz="11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SHYMKEN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09" name="Rounded Rectangle 1964275805">
              <a:extLst>
                <a:ext uri="{FF2B5EF4-FFF2-40B4-BE49-F238E27FC236}">
                  <a16:creationId xmlns:a16="http://schemas.microsoft.com/office/drawing/2014/main" id="{52996D03-9CE3-4320-A9E8-C93D901A398F}"/>
                </a:ext>
              </a:extLst>
            </p:cNvPr>
            <p:cNvSpPr/>
            <p:nvPr/>
          </p:nvSpPr>
          <p:spPr>
            <a:xfrm>
              <a:off x="3033178" y="3940032"/>
              <a:ext cx="1128314" cy="183008"/>
            </a:xfrm>
            <a:prstGeom prst="roundRect">
              <a:avLst/>
            </a:prstGeom>
            <a:solidFill>
              <a:srgbClr val="1F3864"/>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ctr"/>
            <a:lstStyle/>
            <a:p>
              <a:pPr marL="0" marR="0" algn="ctr">
                <a:spcBef>
                  <a:spcPts val="0"/>
                </a:spcBef>
                <a:spcAft>
                  <a:spcPts val="0"/>
                </a:spcAft>
              </a:pPr>
              <a:r>
                <a:rPr lang="en-US" sz="11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TASHKEN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10" name="Freeform: Shape 109">
              <a:extLst>
                <a:ext uri="{FF2B5EF4-FFF2-40B4-BE49-F238E27FC236}">
                  <a16:creationId xmlns:a16="http://schemas.microsoft.com/office/drawing/2014/main" id="{2B2DA0F5-6A79-4A25-982E-0DC02015416A}"/>
                </a:ext>
              </a:extLst>
            </p:cNvPr>
            <p:cNvSpPr/>
            <p:nvPr/>
          </p:nvSpPr>
          <p:spPr>
            <a:xfrm>
              <a:off x="802913" y="5563659"/>
              <a:ext cx="1222051" cy="231720"/>
            </a:xfrm>
            <a:custGeom>
              <a:avLst/>
              <a:gdLst>
                <a:gd name="connsiteX0" fmla="*/ -147 w 675311"/>
                <a:gd name="connsiteY0" fmla="*/ 31589 h 189575"/>
                <a:gd name="connsiteX1" fmla="*/ 31444 w 675311"/>
                <a:gd name="connsiteY1" fmla="*/ -8 h 189575"/>
                <a:gd name="connsiteX2" fmla="*/ 643573 w 675311"/>
                <a:gd name="connsiteY2" fmla="*/ -8 h 189575"/>
                <a:gd name="connsiteX3" fmla="*/ 675164 w 675311"/>
                <a:gd name="connsiteY3" fmla="*/ 31589 h 189575"/>
                <a:gd name="connsiteX4" fmla="*/ 675164 w 675311"/>
                <a:gd name="connsiteY4" fmla="*/ 157974 h 189575"/>
                <a:gd name="connsiteX5" fmla="*/ 643573 w 675311"/>
                <a:gd name="connsiteY5" fmla="*/ 189568 h 189575"/>
                <a:gd name="connsiteX6" fmla="*/ 31444 w 675311"/>
                <a:gd name="connsiteY6" fmla="*/ 189568 h 189575"/>
                <a:gd name="connsiteX7" fmla="*/ -147 w 675311"/>
                <a:gd name="connsiteY7" fmla="*/ 157974 h 18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311" h="189575">
                  <a:moveTo>
                    <a:pt x="-147" y="31589"/>
                  </a:moveTo>
                  <a:cubicBezTo>
                    <a:pt x="-147" y="14139"/>
                    <a:pt x="13999" y="-8"/>
                    <a:pt x="31444" y="-8"/>
                  </a:cubicBezTo>
                  <a:lnTo>
                    <a:pt x="643573" y="-8"/>
                  </a:lnTo>
                  <a:cubicBezTo>
                    <a:pt x="661018" y="-8"/>
                    <a:pt x="675164" y="14139"/>
                    <a:pt x="675164" y="31589"/>
                  </a:cubicBezTo>
                  <a:lnTo>
                    <a:pt x="675164" y="157974"/>
                  </a:lnTo>
                  <a:cubicBezTo>
                    <a:pt x="675164" y="175421"/>
                    <a:pt x="661018" y="189568"/>
                    <a:pt x="643573" y="189568"/>
                  </a:cubicBezTo>
                  <a:lnTo>
                    <a:pt x="31444" y="189568"/>
                  </a:lnTo>
                  <a:cubicBezTo>
                    <a:pt x="13999" y="189568"/>
                    <a:pt x="-147" y="175421"/>
                    <a:pt x="-147" y="157974"/>
                  </a:cubicBezTo>
                  <a:close/>
                </a:path>
              </a:pathLst>
            </a:custGeom>
            <a:solidFill>
              <a:schemeClr val="tx1"/>
            </a:solidFill>
            <a:ln w="11844" cap="flat">
              <a:solidFill>
                <a:schemeClr val="bg1"/>
              </a:solidFill>
              <a:prstDash val="solid"/>
              <a:miter/>
            </a:ln>
          </p:spPr>
          <p:txBody>
            <a:bodyPr lIns="0" tIns="0" rIns="0" bIns="0" rtlCol="0" anchor="ctr"/>
            <a:lstStyle/>
            <a:p>
              <a:pPr marL="0" marR="0" algn="ctr">
                <a:spcBef>
                  <a:spcPts val="0"/>
                </a:spcBef>
                <a:spcAft>
                  <a:spcPts val="0"/>
                </a:spcAft>
              </a:pPr>
              <a:r>
                <a:rPr lang="en-US" sz="1050" b="1" kern="1200" dirty="0" err="1">
                  <a:solidFill>
                    <a:srgbClr val="FFFFFF"/>
                  </a:solidFill>
                  <a:effectLst/>
                  <a:latin typeface="Arial" panose="020B0604020202020204" pitchFamily="34" charset="0"/>
                  <a:ea typeface="Calibri" panose="020F0502020204030204" pitchFamily="34" charset="0"/>
                  <a:cs typeface="Arial" panose="020B0604020202020204" pitchFamily="34" charset="0"/>
                </a:rPr>
                <a:t>Atamaken</a:t>
              </a:r>
              <a:r>
                <a:rPr lang="en-US" sz="1050" b="1" kern="1200" dirty="0">
                  <a:solidFill>
                    <a:srgbClr val="FFFFFF"/>
                  </a:solidFill>
                  <a:effectLst/>
                  <a:latin typeface="Arial" panose="020B0604020202020204" pitchFamily="34" charset="0"/>
                  <a:ea typeface="Calibri" panose="020F0502020204030204" pitchFamily="34" charset="0"/>
                  <a:cs typeface="Arial" panose="020B0604020202020204" pitchFamily="34" charset="0"/>
                </a:rPr>
                <a:t> BCP</a:t>
              </a:r>
              <a:endParaRPr lang="en-US" sz="1600" dirty="0">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111" name="Curved Connector 108501013">
              <a:extLst>
                <a:ext uri="{FF2B5EF4-FFF2-40B4-BE49-F238E27FC236}">
                  <a16:creationId xmlns:a16="http://schemas.microsoft.com/office/drawing/2014/main" id="{4A2866A6-F1F1-46EB-946B-E8EDE4A1C754}"/>
                </a:ext>
              </a:extLst>
            </p:cNvPr>
            <p:cNvCxnSpPr>
              <a:cxnSpLocks/>
              <a:stCxn id="128" idx="1"/>
              <a:endCxn id="135" idx="0"/>
            </p:cNvCxnSpPr>
            <p:nvPr/>
          </p:nvCxnSpPr>
          <p:spPr>
            <a:xfrm rot="10800000" flipV="1">
              <a:off x="1982043" y="1655248"/>
              <a:ext cx="1496496" cy="3594189"/>
            </a:xfrm>
            <a:prstGeom prst="curvedConnector2">
              <a:avLst/>
            </a:prstGeom>
            <a:ln w="19050">
              <a:solidFill>
                <a:srgbClr val="DC3A34"/>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217C3F97-43F1-463F-BEC9-7D8AFD0533B5}"/>
                </a:ext>
              </a:extLst>
            </p:cNvPr>
            <p:cNvSpPr/>
            <p:nvPr/>
          </p:nvSpPr>
          <p:spPr>
            <a:xfrm>
              <a:off x="2294641" y="2268848"/>
              <a:ext cx="503951" cy="16273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237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pic>
          <p:nvPicPr>
            <p:cNvPr id="113" name="Picture 112">
              <a:extLst>
                <a:ext uri="{FF2B5EF4-FFF2-40B4-BE49-F238E27FC236}">
                  <a16:creationId xmlns:a16="http://schemas.microsoft.com/office/drawing/2014/main" id="{7EE39B52-F45F-46AE-AD94-E7D27E60EA4D}"/>
                </a:ext>
              </a:extLst>
            </p:cNvPr>
            <p:cNvPicPr>
              <a:picLocks noChangeAspect="1"/>
            </p:cNvPicPr>
            <p:nvPr/>
          </p:nvPicPr>
          <p:blipFill>
            <a:blip r:embed="rId19"/>
            <a:srcRect/>
            <a:stretch/>
          </p:blipFill>
          <p:spPr>
            <a:xfrm>
              <a:off x="4109288" y="1655249"/>
              <a:ext cx="213310" cy="175327"/>
            </a:xfrm>
            <a:prstGeom prst="rect">
              <a:avLst/>
            </a:prstGeom>
          </p:spPr>
        </p:pic>
        <p:cxnSp>
          <p:nvCxnSpPr>
            <p:cNvPr id="114" name="Curved Connector 1691140534">
              <a:extLst>
                <a:ext uri="{FF2B5EF4-FFF2-40B4-BE49-F238E27FC236}">
                  <a16:creationId xmlns:a16="http://schemas.microsoft.com/office/drawing/2014/main" id="{1071B3AC-07B4-4645-9F51-79AF8E9F424B}"/>
                </a:ext>
              </a:extLst>
            </p:cNvPr>
            <p:cNvCxnSpPr>
              <a:cxnSpLocks/>
              <a:stCxn id="113" idx="1"/>
              <a:endCxn id="135" idx="0"/>
            </p:cNvCxnSpPr>
            <p:nvPr/>
          </p:nvCxnSpPr>
          <p:spPr>
            <a:xfrm rot="10800000" flipV="1">
              <a:off x="1982042" y="1742912"/>
              <a:ext cx="2127246" cy="3506525"/>
            </a:xfrm>
            <a:prstGeom prst="curvedConnector2">
              <a:avLst/>
            </a:prstGeom>
            <a:ln w="19050">
              <a:solidFill>
                <a:srgbClr val="002F49"/>
              </a:solidFill>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F08B4ECD-B634-4911-A25C-3FB6F62B4602}"/>
                </a:ext>
              </a:extLst>
            </p:cNvPr>
            <p:cNvSpPr/>
            <p:nvPr/>
          </p:nvSpPr>
          <p:spPr>
            <a:xfrm>
              <a:off x="3007376" y="2056111"/>
              <a:ext cx="503951" cy="147942"/>
            </a:xfrm>
            <a:prstGeom prst="rect">
              <a:avLst/>
            </a:prstGeom>
            <a:solidFill>
              <a:srgbClr val="002F4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267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pic>
          <p:nvPicPr>
            <p:cNvPr id="116" name="Picture 115">
              <a:extLst>
                <a:ext uri="{FF2B5EF4-FFF2-40B4-BE49-F238E27FC236}">
                  <a16:creationId xmlns:a16="http://schemas.microsoft.com/office/drawing/2014/main" id="{663464CE-3B00-45AA-88BD-77F80DD79A8A}"/>
                </a:ext>
              </a:extLst>
            </p:cNvPr>
            <p:cNvPicPr>
              <a:picLocks noChangeAspect="1"/>
            </p:cNvPicPr>
            <p:nvPr/>
          </p:nvPicPr>
          <p:blipFill>
            <a:blip r:embed="rId20"/>
            <a:srcRect/>
            <a:stretch/>
          </p:blipFill>
          <p:spPr>
            <a:xfrm>
              <a:off x="3181456" y="3729806"/>
              <a:ext cx="228192" cy="187559"/>
            </a:xfrm>
            <a:prstGeom prst="rect">
              <a:avLst/>
            </a:prstGeom>
          </p:spPr>
        </p:pic>
        <p:cxnSp>
          <p:nvCxnSpPr>
            <p:cNvPr id="117" name="Curved Connector 868461337">
              <a:extLst>
                <a:ext uri="{FF2B5EF4-FFF2-40B4-BE49-F238E27FC236}">
                  <a16:creationId xmlns:a16="http://schemas.microsoft.com/office/drawing/2014/main" id="{2394F16F-4ED9-42CC-B9BB-5C5979C1A508}"/>
                </a:ext>
              </a:extLst>
            </p:cNvPr>
            <p:cNvCxnSpPr>
              <a:cxnSpLocks/>
              <a:stCxn id="116" idx="1"/>
              <a:endCxn id="135" idx="0"/>
            </p:cNvCxnSpPr>
            <p:nvPr/>
          </p:nvCxnSpPr>
          <p:spPr>
            <a:xfrm rot="10800000" flipV="1">
              <a:off x="1982043" y="3823586"/>
              <a:ext cx="1199414" cy="1425852"/>
            </a:xfrm>
            <a:prstGeom prst="curvedConnector2">
              <a:avLst/>
            </a:prstGeom>
            <a:ln w="19050">
              <a:solidFill>
                <a:srgbClr val="EF7D31"/>
              </a:solidFil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D9CF42F7-8BD3-4715-BB1F-F4F76F53B791}"/>
                </a:ext>
              </a:extLst>
            </p:cNvPr>
            <p:cNvSpPr/>
            <p:nvPr/>
          </p:nvSpPr>
          <p:spPr>
            <a:xfrm>
              <a:off x="2342148" y="3965847"/>
              <a:ext cx="503951" cy="147942"/>
            </a:xfrm>
            <a:prstGeom prst="rect">
              <a:avLst/>
            </a:prstGeom>
            <a:solidFill>
              <a:srgbClr val="EF7D3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111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119" name="Curved Connector 2067909280">
              <a:extLst>
                <a:ext uri="{FF2B5EF4-FFF2-40B4-BE49-F238E27FC236}">
                  <a16:creationId xmlns:a16="http://schemas.microsoft.com/office/drawing/2014/main" id="{C0A22378-87C4-4F07-96C9-1D05FB715715}"/>
                </a:ext>
              </a:extLst>
            </p:cNvPr>
            <p:cNvCxnSpPr>
              <a:cxnSpLocks/>
              <a:stCxn id="126" idx="2"/>
              <a:endCxn id="136" idx="6"/>
            </p:cNvCxnSpPr>
            <p:nvPr/>
          </p:nvCxnSpPr>
          <p:spPr>
            <a:xfrm rot="5400000">
              <a:off x="2515902" y="4218846"/>
              <a:ext cx="744046" cy="1428066"/>
            </a:xfrm>
            <a:prstGeom prst="curvedConnector2">
              <a:avLst/>
            </a:prstGeom>
            <a:ln w="19050">
              <a:solidFill>
                <a:srgbClr val="DC3A34"/>
              </a:solidFill>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1CB21859-99A3-4148-B547-46616D45EF9B}"/>
                </a:ext>
              </a:extLst>
            </p:cNvPr>
            <p:cNvSpPr/>
            <p:nvPr/>
          </p:nvSpPr>
          <p:spPr>
            <a:xfrm>
              <a:off x="3303418" y="4690314"/>
              <a:ext cx="503951" cy="118354"/>
            </a:xfrm>
            <a:prstGeom prst="rect">
              <a:avLst/>
            </a:prstGeom>
            <a:solidFill>
              <a:srgbClr val="DC3A34"/>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82.8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121" name="Straight Connector 120">
              <a:extLst>
                <a:ext uri="{FF2B5EF4-FFF2-40B4-BE49-F238E27FC236}">
                  <a16:creationId xmlns:a16="http://schemas.microsoft.com/office/drawing/2014/main" id="{5296259C-1A09-4F92-A97A-9BE9B1AE6C3E}"/>
                </a:ext>
              </a:extLst>
            </p:cNvPr>
            <p:cNvCxnSpPr>
              <a:cxnSpLocks/>
              <a:stCxn id="136" idx="7"/>
              <a:endCxn id="125" idx="1"/>
            </p:cNvCxnSpPr>
            <p:nvPr/>
          </p:nvCxnSpPr>
          <p:spPr>
            <a:xfrm flipV="1">
              <a:off x="2158096" y="4272283"/>
              <a:ext cx="1331771" cy="1004125"/>
            </a:xfrm>
            <a:prstGeom prst="line">
              <a:avLst/>
            </a:prstGeom>
            <a:ln w="19050">
              <a:solidFill>
                <a:srgbClr val="EF7D31"/>
              </a:solidFill>
            </a:ln>
          </p:spPr>
          <p:style>
            <a:lnRef idx="1">
              <a:schemeClr val="accent1"/>
            </a:lnRef>
            <a:fillRef idx="0">
              <a:schemeClr val="accent1"/>
            </a:fillRef>
            <a:effectRef idx="0">
              <a:schemeClr val="accent1"/>
            </a:effectRef>
            <a:fontRef idx="minor">
              <a:schemeClr val="tx1"/>
            </a:fontRef>
          </p:style>
        </p:cxnSp>
        <p:pic>
          <p:nvPicPr>
            <p:cNvPr id="122" name="Picture 121">
              <a:extLst>
                <a:ext uri="{FF2B5EF4-FFF2-40B4-BE49-F238E27FC236}">
                  <a16:creationId xmlns:a16="http://schemas.microsoft.com/office/drawing/2014/main" id="{B0D11B62-2552-47AD-8209-434E6D3A149D}"/>
                </a:ext>
              </a:extLst>
            </p:cNvPr>
            <p:cNvPicPr>
              <a:picLocks noChangeAspect="1"/>
            </p:cNvPicPr>
            <p:nvPr/>
          </p:nvPicPr>
          <p:blipFill>
            <a:blip r:embed="rId19"/>
            <a:srcRect/>
            <a:stretch/>
          </p:blipFill>
          <p:spPr>
            <a:xfrm>
              <a:off x="3214523" y="4170513"/>
              <a:ext cx="213310" cy="175327"/>
            </a:xfrm>
            <a:prstGeom prst="rect">
              <a:avLst/>
            </a:prstGeom>
          </p:spPr>
        </p:pic>
        <p:cxnSp>
          <p:nvCxnSpPr>
            <p:cNvPr id="123" name="Curved Connector 1840934362">
              <a:extLst>
                <a:ext uri="{FF2B5EF4-FFF2-40B4-BE49-F238E27FC236}">
                  <a16:creationId xmlns:a16="http://schemas.microsoft.com/office/drawing/2014/main" id="{A12C7016-9019-4AC7-B3F4-E5E517DDC5F0}"/>
                </a:ext>
              </a:extLst>
            </p:cNvPr>
            <p:cNvCxnSpPr>
              <a:cxnSpLocks/>
              <a:stCxn id="122" idx="1"/>
              <a:endCxn id="136" idx="0"/>
            </p:cNvCxnSpPr>
            <p:nvPr/>
          </p:nvCxnSpPr>
          <p:spPr>
            <a:xfrm rot="10800000" flipV="1">
              <a:off x="2119963" y="4258177"/>
              <a:ext cx="1094560" cy="1006428"/>
            </a:xfrm>
            <a:prstGeom prst="curvedConnector2">
              <a:avLst/>
            </a:prstGeom>
            <a:ln w="19050">
              <a:solidFill>
                <a:srgbClr val="002F49"/>
              </a:solidFill>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AAB45701-E0A8-4F18-88C7-252637FDD7FF}"/>
                </a:ext>
              </a:extLst>
            </p:cNvPr>
            <p:cNvSpPr/>
            <p:nvPr/>
          </p:nvSpPr>
          <p:spPr>
            <a:xfrm>
              <a:off x="2307818" y="4451538"/>
              <a:ext cx="371796" cy="118354"/>
            </a:xfrm>
            <a:prstGeom prst="rect">
              <a:avLst/>
            </a:prstGeom>
            <a:solidFill>
              <a:srgbClr val="002F49"/>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80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pic>
          <p:nvPicPr>
            <p:cNvPr id="125" name="Picture 124">
              <a:extLst>
                <a:ext uri="{FF2B5EF4-FFF2-40B4-BE49-F238E27FC236}">
                  <a16:creationId xmlns:a16="http://schemas.microsoft.com/office/drawing/2014/main" id="{0F481935-FE83-41BC-B23D-32F4CD4364E0}"/>
                </a:ext>
              </a:extLst>
            </p:cNvPr>
            <p:cNvPicPr>
              <a:picLocks noChangeAspect="1"/>
            </p:cNvPicPr>
            <p:nvPr/>
          </p:nvPicPr>
          <p:blipFill>
            <a:blip r:embed="rId20"/>
            <a:srcRect/>
            <a:stretch/>
          </p:blipFill>
          <p:spPr>
            <a:xfrm>
              <a:off x="3489867" y="4178503"/>
              <a:ext cx="228192" cy="187559"/>
            </a:xfrm>
            <a:prstGeom prst="rect">
              <a:avLst/>
            </a:prstGeom>
          </p:spPr>
        </p:pic>
        <p:pic>
          <p:nvPicPr>
            <p:cNvPr id="126" name="Picture 125">
              <a:extLst>
                <a:ext uri="{FF2B5EF4-FFF2-40B4-BE49-F238E27FC236}">
                  <a16:creationId xmlns:a16="http://schemas.microsoft.com/office/drawing/2014/main" id="{C11181AC-14FB-439D-B035-1A7794C6AFC2}"/>
                </a:ext>
              </a:extLst>
            </p:cNvPr>
            <p:cNvPicPr>
              <a:picLocks noChangeAspect="1"/>
            </p:cNvPicPr>
            <p:nvPr/>
          </p:nvPicPr>
          <p:blipFill>
            <a:blip r:embed="rId21"/>
            <a:srcRect/>
            <a:stretch/>
          </p:blipFill>
          <p:spPr>
            <a:xfrm>
              <a:off x="3494200" y="4383717"/>
              <a:ext cx="215515" cy="177139"/>
            </a:xfrm>
            <a:prstGeom prst="rect">
              <a:avLst/>
            </a:prstGeom>
          </p:spPr>
        </p:pic>
        <p:pic>
          <p:nvPicPr>
            <p:cNvPr id="127" name="Picture 126">
              <a:extLst>
                <a:ext uri="{FF2B5EF4-FFF2-40B4-BE49-F238E27FC236}">
                  <a16:creationId xmlns:a16="http://schemas.microsoft.com/office/drawing/2014/main" id="{E17B2CE2-2081-48B1-AC0E-5CDF2E269637}"/>
                </a:ext>
              </a:extLst>
            </p:cNvPr>
            <p:cNvPicPr>
              <a:picLocks noChangeAspect="1"/>
            </p:cNvPicPr>
            <p:nvPr/>
          </p:nvPicPr>
          <p:blipFill>
            <a:blip r:embed="rId22"/>
            <a:stretch>
              <a:fillRect/>
            </a:stretch>
          </p:blipFill>
          <p:spPr>
            <a:xfrm>
              <a:off x="3738680" y="1863503"/>
              <a:ext cx="208632" cy="171482"/>
            </a:xfrm>
            <a:prstGeom prst="rect">
              <a:avLst/>
            </a:prstGeom>
          </p:spPr>
        </p:pic>
        <p:pic>
          <p:nvPicPr>
            <p:cNvPr id="128" name="Picture 127">
              <a:extLst>
                <a:ext uri="{FF2B5EF4-FFF2-40B4-BE49-F238E27FC236}">
                  <a16:creationId xmlns:a16="http://schemas.microsoft.com/office/drawing/2014/main" id="{406258BE-2DD1-4B29-9742-F8FE99DBB188}"/>
                </a:ext>
              </a:extLst>
            </p:cNvPr>
            <p:cNvPicPr>
              <a:picLocks noChangeAspect="1"/>
            </p:cNvPicPr>
            <p:nvPr/>
          </p:nvPicPr>
          <p:blipFill>
            <a:blip r:embed="rId21"/>
            <a:srcRect/>
            <a:stretch/>
          </p:blipFill>
          <p:spPr>
            <a:xfrm>
              <a:off x="3478538" y="1566679"/>
              <a:ext cx="215515" cy="177139"/>
            </a:xfrm>
            <a:prstGeom prst="rect">
              <a:avLst/>
            </a:prstGeom>
          </p:spPr>
        </p:pic>
        <p:cxnSp>
          <p:nvCxnSpPr>
            <p:cNvPr id="129" name="Curved Connector 1830944981">
              <a:extLst>
                <a:ext uri="{FF2B5EF4-FFF2-40B4-BE49-F238E27FC236}">
                  <a16:creationId xmlns:a16="http://schemas.microsoft.com/office/drawing/2014/main" id="{2BB21621-804C-407D-8C58-958C5A973DCC}"/>
                </a:ext>
              </a:extLst>
            </p:cNvPr>
            <p:cNvCxnSpPr>
              <a:cxnSpLocks/>
              <a:endCxn id="135" idx="4"/>
            </p:cNvCxnSpPr>
            <p:nvPr/>
          </p:nvCxnSpPr>
          <p:spPr>
            <a:xfrm flipV="1">
              <a:off x="1414005" y="5330032"/>
              <a:ext cx="568037" cy="108440"/>
            </a:xfrm>
            <a:prstGeom prst="curvedConnector2">
              <a:avLst/>
            </a:prstGeom>
            <a:ln w="19050">
              <a:solidFill>
                <a:srgbClr val="092981"/>
              </a:solidFill>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D73989CD-B2A2-42CF-A834-0342ADE12862}"/>
                </a:ext>
              </a:extLst>
            </p:cNvPr>
            <p:cNvSpPr>
              <a:spLocks noChangeAspect="1"/>
            </p:cNvSpPr>
            <p:nvPr/>
          </p:nvSpPr>
          <p:spPr>
            <a:xfrm>
              <a:off x="1407155" y="5393240"/>
              <a:ext cx="479113" cy="157529"/>
            </a:xfrm>
            <a:prstGeom prst="rect">
              <a:avLst/>
            </a:prstGeom>
            <a:solidFill>
              <a:srgbClr val="09298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800" kern="1200">
                  <a:solidFill>
                    <a:srgbClr val="FFFFFF"/>
                  </a:solidFill>
                  <a:effectLst/>
                  <a:latin typeface="Arial" panose="020B0604020202020204" pitchFamily="34" charset="0"/>
                  <a:ea typeface="SimSun" panose="02010600030101010101" pitchFamily="2" charset="-122"/>
                  <a:cs typeface="Arial" panose="020B0604020202020204" pitchFamily="34" charset="0"/>
                </a:rPr>
                <a:t>28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1" name="Freeform: Shape 130">
              <a:extLst>
                <a:ext uri="{FF2B5EF4-FFF2-40B4-BE49-F238E27FC236}">
                  <a16:creationId xmlns:a16="http://schemas.microsoft.com/office/drawing/2014/main" id="{C36739A6-C8C7-46FC-90E5-B9F18B16F017}"/>
                </a:ext>
              </a:extLst>
            </p:cNvPr>
            <p:cNvSpPr/>
            <p:nvPr/>
          </p:nvSpPr>
          <p:spPr>
            <a:xfrm>
              <a:off x="2094972" y="5437705"/>
              <a:ext cx="1058362" cy="234705"/>
            </a:xfrm>
            <a:custGeom>
              <a:avLst/>
              <a:gdLst>
                <a:gd name="connsiteX0" fmla="*/ -147 w 675311"/>
                <a:gd name="connsiteY0" fmla="*/ 31589 h 189575"/>
                <a:gd name="connsiteX1" fmla="*/ 31444 w 675311"/>
                <a:gd name="connsiteY1" fmla="*/ -8 h 189575"/>
                <a:gd name="connsiteX2" fmla="*/ 643573 w 675311"/>
                <a:gd name="connsiteY2" fmla="*/ -8 h 189575"/>
                <a:gd name="connsiteX3" fmla="*/ 675164 w 675311"/>
                <a:gd name="connsiteY3" fmla="*/ 31589 h 189575"/>
                <a:gd name="connsiteX4" fmla="*/ 675164 w 675311"/>
                <a:gd name="connsiteY4" fmla="*/ 157974 h 189575"/>
                <a:gd name="connsiteX5" fmla="*/ 643573 w 675311"/>
                <a:gd name="connsiteY5" fmla="*/ 189568 h 189575"/>
                <a:gd name="connsiteX6" fmla="*/ 31444 w 675311"/>
                <a:gd name="connsiteY6" fmla="*/ 189568 h 189575"/>
                <a:gd name="connsiteX7" fmla="*/ -147 w 675311"/>
                <a:gd name="connsiteY7" fmla="*/ 157974 h 18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311" h="189575">
                  <a:moveTo>
                    <a:pt x="-147" y="31589"/>
                  </a:moveTo>
                  <a:cubicBezTo>
                    <a:pt x="-147" y="14139"/>
                    <a:pt x="13999" y="-8"/>
                    <a:pt x="31444" y="-8"/>
                  </a:cubicBezTo>
                  <a:lnTo>
                    <a:pt x="643573" y="-8"/>
                  </a:lnTo>
                  <a:cubicBezTo>
                    <a:pt x="661018" y="-8"/>
                    <a:pt x="675164" y="14139"/>
                    <a:pt x="675164" y="31589"/>
                  </a:cubicBezTo>
                  <a:lnTo>
                    <a:pt x="675164" y="157974"/>
                  </a:lnTo>
                  <a:cubicBezTo>
                    <a:pt x="675164" y="175421"/>
                    <a:pt x="661018" y="189568"/>
                    <a:pt x="643573" y="189568"/>
                  </a:cubicBezTo>
                  <a:lnTo>
                    <a:pt x="31444" y="189568"/>
                  </a:lnTo>
                  <a:cubicBezTo>
                    <a:pt x="13999" y="189568"/>
                    <a:pt x="-147" y="175421"/>
                    <a:pt x="-147" y="157974"/>
                  </a:cubicBezTo>
                  <a:close/>
                </a:path>
              </a:pathLst>
            </a:custGeom>
            <a:solidFill>
              <a:schemeClr val="tx1"/>
            </a:solidFill>
            <a:ln w="11844" cap="flat">
              <a:solidFill>
                <a:schemeClr val="bg1"/>
              </a:solidFill>
              <a:prstDash val="solid"/>
              <a:miter/>
            </a:ln>
          </p:spPr>
          <p:txBody>
            <a:bodyPr lIns="0" tIns="0" rIns="0" bIns="0" rtlCol="0" anchor="ctr"/>
            <a:lstStyle/>
            <a:p>
              <a:pPr algn="ctr"/>
              <a:r>
                <a:rPr lang="en-US" sz="1050" b="1" dirty="0">
                  <a:solidFill>
                    <a:srgbClr val="FFFFFF"/>
                  </a:solidFill>
                  <a:latin typeface="Arial" panose="020B0604020202020204" pitchFamily="34" charset="0"/>
                  <a:cs typeface="Arial" panose="020B0604020202020204" pitchFamily="34" charset="0"/>
                </a:rPr>
                <a:t>Gulistan BCP</a:t>
              </a:r>
            </a:p>
          </p:txBody>
        </p:sp>
        <p:pic>
          <p:nvPicPr>
            <p:cNvPr id="132" name="Picture 131">
              <a:extLst>
                <a:ext uri="{FF2B5EF4-FFF2-40B4-BE49-F238E27FC236}">
                  <a16:creationId xmlns:a16="http://schemas.microsoft.com/office/drawing/2014/main" id="{AB8F5E74-8988-4986-8208-97F207B21AF6}"/>
                </a:ext>
              </a:extLst>
            </p:cNvPr>
            <p:cNvPicPr>
              <a:picLocks noChangeAspect="1"/>
            </p:cNvPicPr>
            <p:nvPr/>
          </p:nvPicPr>
          <p:blipFill>
            <a:blip r:embed="rId22"/>
            <a:stretch>
              <a:fillRect/>
            </a:stretch>
          </p:blipFill>
          <p:spPr>
            <a:xfrm>
              <a:off x="1724381" y="4761397"/>
              <a:ext cx="208632" cy="171482"/>
            </a:xfrm>
            <a:prstGeom prst="rect">
              <a:avLst/>
            </a:prstGeom>
          </p:spPr>
        </p:pic>
        <p:pic>
          <p:nvPicPr>
            <p:cNvPr id="133" name="Picture 132">
              <a:extLst>
                <a:ext uri="{FF2B5EF4-FFF2-40B4-BE49-F238E27FC236}">
                  <a16:creationId xmlns:a16="http://schemas.microsoft.com/office/drawing/2014/main" id="{E915A995-C6D8-49CF-B07E-CAEBA896882D}"/>
                </a:ext>
              </a:extLst>
            </p:cNvPr>
            <p:cNvPicPr>
              <a:picLocks noChangeAspect="1"/>
            </p:cNvPicPr>
            <p:nvPr/>
          </p:nvPicPr>
          <p:blipFill>
            <a:blip r:embed="rId22"/>
            <a:stretch>
              <a:fillRect/>
            </a:stretch>
          </p:blipFill>
          <p:spPr>
            <a:xfrm>
              <a:off x="2568625" y="4854808"/>
              <a:ext cx="208632" cy="171482"/>
            </a:xfrm>
            <a:prstGeom prst="rect">
              <a:avLst/>
            </a:prstGeom>
          </p:spPr>
        </p:pic>
        <p:pic>
          <p:nvPicPr>
            <p:cNvPr id="134" name="Picture 133">
              <a:extLst>
                <a:ext uri="{FF2B5EF4-FFF2-40B4-BE49-F238E27FC236}">
                  <a16:creationId xmlns:a16="http://schemas.microsoft.com/office/drawing/2014/main" id="{4D8D4951-78F2-4279-9C21-6056CF1588AB}"/>
                </a:ext>
              </a:extLst>
            </p:cNvPr>
            <p:cNvPicPr>
              <a:picLocks noChangeAspect="1"/>
            </p:cNvPicPr>
            <p:nvPr/>
          </p:nvPicPr>
          <p:blipFill>
            <a:blip r:embed="rId22"/>
            <a:stretch>
              <a:fillRect/>
            </a:stretch>
          </p:blipFill>
          <p:spPr>
            <a:xfrm>
              <a:off x="3146727" y="4959663"/>
              <a:ext cx="229496" cy="188630"/>
            </a:xfrm>
            <a:prstGeom prst="rect">
              <a:avLst/>
            </a:prstGeom>
          </p:spPr>
        </p:pic>
        <p:sp>
          <p:nvSpPr>
            <p:cNvPr id="135" name="Oval 134">
              <a:extLst>
                <a:ext uri="{FF2B5EF4-FFF2-40B4-BE49-F238E27FC236}">
                  <a16:creationId xmlns:a16="http://schemas.microsoft.com/office/drawing/2014/main" id="{FD520ED6-350A-4334-AC41-B898BF5F3968}"/>
                </a:ext>
              </a:extLst>
            </p:cNvPr>
            <p:cNvSpPr/>
            <p:nvPr/>
          </p:nvSpPr>
          <p:spPr>
            <a:xfrm>
              <a:off x="1928112" y="5249438"/>
              <a:ext cx="107858" cy="8059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36" name="Oval 135">
              <a:extLst>
                <a:ext uri="{FF2B5EF4-FFF2-40B4-BE49-F238E27FC236}">
                  <a16:creationId xmlns:a16="http://schemas.microsoft.com/office/drawing/2014/main" id="{016DF484-5F9E-4060-A117-B2A5B12874DF}"/>
                </a:ext>
              </a:extLst>
            </p:cNvPr>
            <p:cNvSpPr/>
            <p:nvPr/>
          </p:nvSpPr>
          <p:spPr>
            <a:xfrm>
              <a:off x="2066033" y="5264605"/>
              <a:ext cx="107858" cy="8059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37" name="Rectangle 136">
              <a:extLst>
                <a:ext uri="{FF2B5EF4-FFF2-40B4-BE49-F238E27FC236}">
                  <a16:creationId xmlns:a16="http://schemas.microsoft.com/office/drawing/2014/main" id="{918B90F5-F145-48A9-BFB5-43049297F4B1}"/>
                </a:ext>
              </a:extLst>
            </p:cNvPr>
            <p:cNvSpPr/>
            <p:nvPr/>
          </p:nvSpPr>
          <p:spPr>
            <a:xfrm>
              <a:off x="2670103" y="4665155"/>
              <a:ext cx="396150" cy="143210"/>
            </a:xfrm>
            <a:prstGeom prst="rect">
              <a:avLst/>
            </a:prstGeom>
            <a:solidFill>
              <a:srgbClr val="EF7D3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80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graphicFrame>
        <p:nvGraphicFramePr>
          <p:cNvPr id="141" name="Table 5">
            <a:extLst>
              <a:ext uri="{FF2B5EF4-FFF2-40B4-BE49-F238E27FC236}">
                <a16:creationId xmlns:a16="http://schemas.microsoft.com/office/drawing/2014/main" id="{9F508A2C-A4BA-4CD8-91DE-FFE13E5D894B}"/>
              </a:ext>
            </a:extLst>
          </p:cNvPr>
          <p:cNvGraphicFramePr>
            <a:graphicFrameLocks noGrp="1"/>
          </p:cNvGraphicFramePr>
          <p:nvPr>
            <p:extLst>
              <p:ext uri="{D42A27DB-BD31-4B8C-83A1-F6EECF244321}">
                <p14:modId xmlns:p14="http://schemas.microsoft.com/office/powerpoint/2010/main" val="2240423268"/>
              </p:ext>
            </p:extLst>
          </p:nvPr>
        </p:nvGraphicFramePr>
        <p:xfrm>
          <a:off x="5160762" y="1506701"/>
          <a:ext cx="6962412" cy="4838712"/>
        </p:xfrm>
        <a:graphic>
          <a:graphicData uri="http://schemas.openxmlformats.org/drawingml/2006/table">
            <a:tbl>
              <a:tblPr firstRow="1" bandRow="1">
                <a:tableStyleId>{9D7B26C5-4107-4FEC-AEDC-1716B250A1EF}</a:tableStyleId>
              </a:tblPr>
              <a:tblGrid>
                <a:gridCol w="2213432">
                  <a:extLst>
                    <a:ext uri="{9D8B030D-6E8A-4147-A177-3AD203B41FA5}">
                      <a16:colId xmlns:a16="http://schemas.microsoft.com/office/drawing/2014/main" val="3112992089"/>
                    </a:ext>
                  </a:extLst>
                </a:gridCol>
                <a:gridCol w="2074606">
                  <a:extLst>
                    <a:ext uri="{9D8B030D-6E8A-4147-A177-3AD203B41FA5}">
                      <a16:colId xmlns:a16="http://schemas.microsoft.com/office/drawing/2014/main" val="3017882658"/>
                    </a:ext>
                  </a:extLst>
                </a:gridCol>
                <a:gridCol w="324465">
                  <a:extLst>
                    <a:ext uri="{9D8B030D-6E8A-4147-A177-3AD203B41FA5}">
                      <a16:colId xmlns:a16="http://schemas.microsoft.com/office/drawing/2014/main" val="2965123145"/>
                    </a:ext>
                  </a:extLst>
                </a:gridCol>
                <a:gridCol w="2005780">
                  <a:extLst>
                    <a:ext uri="{9D8B030D-6E8A-4147-A177-3AD203B41FA5}">
                      <a16:colId xmlns:a16="http://schemas.microsoft.com/office/drawing/2014/main" val="2983534675"/>
                    </a:ext>
                  </a:extLst>
                </a:gridCol>
                <a:gridCol w="344129">
                  <a:extLst>
                    <a:ext uri="{9D8B030D-6E8A-4147-A177-3AD203B41FA5}">
                      <a16:colId xmlns:a16="http://schemas.microsoft.com/office/drawing/2014/main" val="2137523748"/>
                    </a:ext>
                  </a:extLst>
                </a:gridCol>
              </a:tblGrid>
              <a:tr h="368064">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tx1"/>
                          </a:solidFill>
                        </a:rPr>
                        <a:t>Parameter</a:t>
                      </a:r>
                      <a:endParaRPr lang="en-US" sz="1400" dirty="0">
                        <a:solidFill>
                          <a:schemeClr val="tx1"/>
                        </a:solidFill>
                        <a:latin typeface="Arial" panose="020B0604020202020204" pitchFamily="34" charset="0"/>
                        <a:cs typeface="Arial" panose="020B0604020202020204" pitchFamily="34" charset="0"/>
                      </a:endParaRPr>
                    </a:p>
                  </a:txBody>
                  <a:tcPr marL="72651" marR="72651" marT="36325" marB="36325"/>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tx1"/>
                          </a:solidFill>
                        </a:rPr>
                        <a:t>Kazakhstan</a:t>
                      </a:r>
                      <a:endParaRPr lang="en-US" sz="1400" dirty="0">
                        <a:solidFill>
                          <a:schemeClr val="tx1"/>
                        </a:solidFill>
                        <a:latin typeface="Arial" panose="020B0604020202020204" pitchFamily="34" charset="0"/>
                        <a:cs typeface="Arial" panose="020B0604020202020204" pitchFamily="34" charset="0"/>
                      </a:endParaRPr>
                    </a:p>
                  </a:txBody>
                  <a:tcPr marL="72651" marR="72651" marT="36325" marB="36325"/>
                </a:tc>
                <a:tc hMerge="1">
                  <a:txBody>
                    <a:bodyPr/>
                    <a:lstStyle/>
                    <a:p>
                      <a:pPr algn="ctr"/>
                      <a:endParaRPr lang="en-US" sz="1200">
                        <a:solidFill>
                          <a:schemeClr val="tx1"/>
                        </a:solidFill>
                        <a:latin typeface="Arial" panose="020B0604020202020204" pitchFamily="34" charset="0"/>
                        <a:cs typeface="Arial" panose="020B0604020202020204" pitchFamily="34" charset="0"/>
                      </a:endParaRPr>
                    </a:p>
                  </a:txBody>
                  <a:tcPr marL="72651" marR="72651" marT="36325" marB="36325"/>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tx1"/>
                          </a:solidFill>
                        </a:rPr>
                        <a:t>Uzbekistan</a:t>
                      </a:r>
                      <a:endParaRPr lang="en-US" sz="1400" dirty="0">
                        <a:solidFill>
                          <a:schemeClr val="tx1"/>
                        </a:solidFill>
                        <a:latin typeface="Arial" panose="020B0604020202020204" pitchFamily="34" charset="0"/>
                        <a:cs typeface="Arial" panose="020B0604020202020204" pitchFamily="34" charset="0"/>
                      </a:endParaRPr>
                    </a:p>
                  </a:txBody>
                  <a:tcPr marL="72651" marR="72651" marT="36325" marB="36325"/>
                </a:tc>
                <a:tc hMerge="1">
                  <a:txBody>
                    <a:bodyPr/>
                    <a:lstStyle/>
                    <a:p>
                      <a:pPr algn="ctr"/>
                      <a:endParaRPr lang="en-US" sz="1200">
                        <a:solidFill>
                          <a:schemeClr val="tx1"/>
                        </a:solidFill>
                        <a:latin typeface="Arial" panose="020B0604020202020204" pitchFamily="34" charset="0"/>
                        <a:cs typeface="Arial" panose="020B0604020202020204" pitchFamily="34" charset="0"/>
                      </a:endParaRPr>
                    </a:p>
                  </a:txBody>
                  <a:tcPr marL="72651" marR="72651" marT="36325" marB="36325"/>
                </a:tc>
                <a:extLst>
                  <a:ext uri="{0D108BD9-81ED-4DB2-BD59-A6C34878D82A}">
                    <a16:rowId xmlns:a16="http://schemas.microsoft.com/office/drawing/2014/main" val="40721989"/>
                  </a:ext>
                </a:extLst>
              </a:tr>
              <a:tr h="63148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1" dirty="0">
                          <a:solidFill>
                            <a:schemeClr val="tx1"/>
                          </a:solidFill>
                        </a:rPr>
                        <a:t>Distance from Major Consumer Markets</a:t>
                      </a:r>
                      <a:endParaRPr lang="en-US" sz="1200" b="1" dirty="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0">
                          <a:solidFill>
                            <a:schemeClr val="tx1"/>
                          </a:solidFill>
                        </a:rPr>
                        <a:t>~267 Km (Shymkent City)</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0">
                          <a:solidFill>
                            <a:schemeClr val="tx1"/>
                          </a:solidFill>
                        </a:rPr>
                        <a:t>~80 km (Tashkent City)</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extLst>
                  <a:ext uri="{0D108BD9-81ED-4DB2-BD59-A6C34878D82A}">
                    <a16:rowId xmlns:a16="http://schemas.microsoft.com/office/drawing/2014/main" val="962750863"/>
                  </a:ext>
                </a:extLst>
              </a:tr>
              <a:tr h="63148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1" dirty="0">
                          <a:solidFill>
                            <a:schemeClr val="tx1"/>
                          </a:solidFill>
                        </a:rPr>
                        <a:t>Rail connectivity</a:t>
                      </a:r>
                      <a:endParaRPr lang="en-US" sz="1200" b="1" dirty="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0">
                          <a:solidFill>
                            <a:schemeClr val="tx1"/>
                          </a:solidFill>
                        </a:rPr>
                        <a:t>~111 Km (Saryagash Railway)</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0">
                          <a:solidFill>
                            <a:schemeClr val="tx1"/>
                          </a:solidFill>
                        </a:rPr>
                        <a:t>~80 Km (Tashkent Railway)</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extLst>
                  <a:ext uri="{0D108BD9-81ED-4DB2-BD59-A6C34878D82A}">
                    <a16:rowId xmlns:a16="http://schemas.microsoft.com/office/drawing/2014/main" val="3187309361"/>
                  </a:ext>
                </a:extLst>
              </a:tr>
              <a:tr h="63148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1" dirty="0">
                          <a:solidFill>
                            <a:schemeClr val="tx1"/>
                          </a:solidFill>
                        </a:rPr>
                        <a:t>Air Connectivity</a:t>
                      </a:r>
                      <a:endParaRPr lang="en-US" sz="1200" b="1" dirty="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0">
                          <a:solidFill>
                            <a:schemeClr val="tx1"/>
                          </a:solidFill>
                        </a:rPr>
                        <a:t>~237 Km- (Shymkent Airport)</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200" b="0" dirty="0">
                          <a:solidFill>
                            <a:schemeClr val="tx1"/>
                          </a:solidFill>
                        </a:rPr>
                        <a:t>~83 Km (Tashkent Airport</a:t>
                      </a:r>
                      <a:endParaRPr lang="en-US" sz="1200" b="0" dirty="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extLst>
                  <a:ext uri="{0D108BD9-81ED-4DB2-BD59-A6C34878D82A}">
                    <a16:rowId xmlns:a16="http://schemas.microsoft.com/office/drawing/2014/main" val="1359845382"/>
                  </a:ext>
                </a:extLst>
              </a:tr>
              <a:tr h="522970">
                <a:tc>
                  <a:txBody>
                    <a:bodyPr/>
                    <a:lstStyle/>
                    <a:p>
                      <a:r>
                        <a:rPr lang="en-US" sz="1200" b="1">
                          <a:solidFill>
                            <a:schemeClr val="tx1"/>
                          </a:solidFill>
                        </a:rPr>
                        <a:t>Nearest Highway</a:t>
                      </a:r>
                      <a:endParaRPr lang="en-US" sz="1200" b="1">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r>
                        <a:rPr lang="en-US" sz="1200" b="0">
                          <a:solidFill>
                            <a:schemeClr val="tx1"/>
                          </a:solidFill>
                        </a:rPr>
                        <a:t>~2 km</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r>
                        <a:rPr lang="en-US" sz="1200" b="0">
                          <a:solidFill>
                            <a:schemeClr val="tx1"/>
                          </a:solidFill>
                        </a:rPr>
                        <a:t>~4 km</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extLst>
                  <a:ext uri="{0D108BD9-81ED-4DB2-BD59-A6C34878D82A}">
                    <a16:rowId xmlns:a16="http://schemas.microsoft.com/office/drawing/2014/main" val="2348814193"/>
                  </a:ext>
                </a:extLst>
              </a:tr>
              <a:tr h="631484">
                <a:tc>
                  <a:txBody>
                    <a:bodyPr/>
                    <a:lstStyle/>
                    <a:p>
                      <a:r>
                        <a:rPr lang="en-US" sz="1200" b="1">
                          <a:solidFill>
                            <a:schemeClr val="tx1"/>
                          </a:solidFill>
                        </a:rPr>
                        <a:t>Nearest International Highway </a:t>
                      </a:r>
                      <a:endParaRPr lang="en-US" sz="1200" b="1">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r>
                        <a:rPr lang="en-US" sz="1200" b="0">
                          <a:solidFill>
                            <a:schemeClr val="tx1"/>
                          </a:solidFill>
                        </a:rPr>
                        <a:t>ASIAN highway: 11 Km</a:t>
                      </a:r>
                    </a:p>
                    <a:p>
                      <a:r>
                        <a:rPr lang="en-US" sz="1200" b="0">
                          <a:solidFill>
                            <a:schemeClr val="tx1"/>
                          </a:solidFill>
                        </a:rPr>
                        <a:t>CAREC highway: 260 Km</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r>
                        <a:rPr lang="en-US" sz="1200" b="0">
                          <a:solidFill>
                            <a:schemeClr val="tx1"/>
                          </a:solidFill>
                        </a:rPr>
                        <a:t>ASIAN highway: 4 km</a:t>
                      </a:r>
                    </a:p>
                    <a:p>
                      <a:r>
                        <a:rPr lang="en-US" sz="1200" b="0">
                          <a:solidFill>
                            <a:schemeClr val="tx1"/>
                          </a:solidFill>
                        </a:rPr>
                        <a:t>CAREC highway : 80 Km</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extLst>
                  <a:ext uri="{0D108BD9-81ED-4DB2-BD59-A6C34878D82A}">
                    <a16:rowId xmlns:a16="http://schemas.microsoft.com/office/drawing/2014/main" val="701753598"/>
                  </a:ext>
                </a:extLst>
              </a:tr>
              <a:tr h="1421742">
                <a:tc>
                  <a:txBody>
                    <a:bodyPr/>
                    <a:lstStyle/>
                    <a:p>
                      <a:r>
                        <a:rPr lang="en-US" sz="1200" b="1" dirty="0">
                          <a:solidFill>
                            <a:schemeClr val="tx1"/>
                          </a:solidFill>
                        </a:rPr>
                        <a:t>Availability of skilled labor</a:t>
                      </a:r>
                      <a:endParaRPr lang="en-US" sz="1200" b="1" dirty="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r>
                        <a:rPr lang="en-US" sz="1200" b="0" dirty="0">
                          <a:solidFill>
                            <a:schemeClr val="tx1"/>
                          </a:solidFill>
                        </a:rPr>
                        <a:t>Under-developed skill ecosystem, as the identified site is significantly away from urban clusters</a:t>
                      </a:r>
                      <a:endParaRPr lang="en-US" sz="1200" b="0" dirty="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r>
                        <a:rPr lang="en-US" sz="1200" b="0">
                          <a:solidFill>
                            <a:schemeClr val="tx1"/>
                          </a:solidFill>
                        </a:rPr>
                        <a:t>There is a good opportunity of supply of skilled workforce in the sectors of light engineering, textiles, pharmaceuticals, etc. </a:t>
                      </a:r>
                      <a:endParaRPr lang="en-US" sz="1200" b="0">
                        <a:solidFill>
                          <a:schemeClr val="tx1"/>
                        </a:solidFill>
                        <a:latin typeface="Arial" panose="020B0604020202020204" pitchFamily="34" charset="0"/>
                        <a:cs typeface="Arial" panose="020B0604020202020204" pitchFamily="34" charset="0"/>
                      </a:endParaRPr>
                    </a:p>
                  </a:txBody>
                  <a:tcPr marL="72651" marR="72651" marT="36325" marB="36325" anchor="ctr"/>
                </a:tc>
                <a:tc>
                  <a:txBody>
                    <a:bodyPr/>
                    <a:lstStyle/>
                    <a:p>
                      <a:endParaRPr lang="en-US" sz="1200" b="0" dirty="0">
                        <a:solidFill>
                          <a:schemeClr val="tx1"/>
                        </a:solidFill>
                        <a:latin typeface="Arial" panose="020B0604020202020204" pitchFamily="34" charset="0"/>
                        <a:cs typeface="Arial" panose="020B0604020202020204" pitchFamily="34" charset="0"/>
                      </a:endParaRPr>
                    </a:p>
                  </a:txBody>
                  <a:tcPr marL="72651" marR="72651" marT="36325" marB="36325" anchor="ctr"/>
                </a:tc>
                <a:extLst>
                  <a:ext uri="{0D108BD9-81ED-4DB2-BD59-A6C34878D82A}">
                    <a16:rowId xmlns:a16="http://schemas.microsoft.com/office/drawing/2014/main" val="1586579140"/>
                  </a:ext>
                </a:extLst>
              </a:tr>
            </a:tbl>
          </a:graphicData>
        </a:graphic>
      </p:graphicFrame>
      <p:sp>
        <p:nvSpPr>
          <p:cNvPr id="142" name="Freeform 43">
            <a:extLst>
              <a:ext uri="{FF2B5EF4-FFF2-40B4-BE49-F238E27FC236}">
                <a16:creationId xmlns:a16="http://schemas.microsoft.com/office/drawing/2014/main" id="{47E880B2-0B24-4EFD-8F05-0033BFA2EB3F}"/>
              </a:ext>
            </a:extLst>
          </p:cNvPr>
          <p:cNvSpPr>
            <a:spLocks noChangeAspect="1" noEditPoints="1"/>
          </p:cNvSpPr>
          <p:nvPr/>
        </p:nvSpPr>
        <p:spPr bwMode="auto">
          <a:xfrm flipV="1">
            <a:off x="9509842" y="2087212"/>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chemeClr val="accent3"/>
          </a:solidFill>
          <a:ln>
            <a:noFill/>
          </a:ln>
        </p:spPr>
        <p:txBody>
          <a:bodyPr vert="horz" wrap="square" lIns="78191" tIns="39096" rIns="78191" bIns="39096" numCol="1" anchor="t" anchorCtr="0" compatLnSpc="1">
            <a:prstTxWarp prst="textNoShape">
              <a:avLst/>
            </a:prstTxWarp>
          </a:bodyPr>
          <a:lstStyle/>
          <a:p>
            <a:endParaRPr lang="en-US" sz="800"/>
          </a:p>
        </p:txBody>
      </p:sp>
      <p:cxnSp>
        <p:nvCxnSpPr>
          <p:cNvPr id="8" name="Straight Connector 7">
            <a:extLst>
              <a:ext uri="{FF2B5EF4-FFF2-40B4-BE49-F238E27FC236}">
                <a16:creationId xmlns:a16="http://schemas.microsoft.com/office/drawing/2014/main" id="{CC177392-4D7A-4750-AEFA-AF7884344D9A}"/>
              </a:ext>
            </a:extLst>
          </p:cNvPr>
          <p:cNvCxnSpPr>
            <a:cxnSpLocks/>
          </p:cNvCxnSpPr>
          <p:nvPr/>
        </p:nvCxnSpPr>
        <p:spPr>
          <a:xfrm>
            <a:off x="9792930" y="1506701"/>
            <a:ext cx="0" cy="4838712"/>
          </a:xfrm>
          <a:prstGeom prst="line">
            <a:avLst/>
          </a:prstGeom>
          <a:ln w="12700">
            <a:solidFill>
              <a:srgbClr val="DC6900"/>
            </a:solidFill>
          </a:ln>
        </p:spPr>
        <p:style>
          <a:lnRef idx="1">
            <a:schemeClr val="accent1"/>
          </a:lnRef>
          <a:fillRef idx="0">
            <a:schemeClr val="accent1"/>
          </a:fillRef>
          <a:effectRef idx="0">
            <a:schemeClr val="accent1"/>
          </a:effectRef>
          <a:fontRef idx="minor">
            <a:schemeClr val="tx1"/>
          </a:fontRef>
        </p:style>
      </p:cxnSp>
      <p:sp>
        <p:nvSpPr>
          <p:cNvPr id="143" name="Freeform 43">
            <a:extLst>
              <a:ext uri="{FF2B5EF4-FFF2-40B4-BE49-F238E27FC236}">
                <a16:creationId xmlns:a16="http://schemas.microsoft.com/office/drawing/2014/main" id="{001C7D03-63EB-4FFE-8D9C-950952449513}"/>
              </a:ext>
            </a:extLst>
          </p:cNvPr>
          <p:cNvSpPr>
            <a:spLocks noChangeAspect="1" noEditPoints="1"/>
          </p:cNvSpPr>
          <p:nvPr/>
        </p:nvSpPr>
        <p:spPr bwMode="auto">
          <a:xfrm>
            <a:off x="11865834" y="2087212"/>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44" name="Freeform 43">
            <a:extLst>
              <a:ext uri="{FF2B5EF4-FFF2-40B4-BE49-F238E27FC236}">
                <a16:creationId xmlns:a16="http://schemas.microsoft.com/office/drawing/2014/main" id="{4D6F7F94-6FD4-424B-A10C-46B5AC816435}"/>
              </a:ext>
            </a:extLst>
          </p:cNvPr>
          <p:cNvSpPr>
            <a:spLocks noChangeAspect="1" noEditPoints="1"/>
          </p:cNvSpPr>
          <p:nvPr/>
        </p:nvSpPr>
        <p:spPr bwMode="auto">
          <a:xfrm flipV="1">
            <a:off x="9509842" y="2734672"/>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chemeClr val="accent3"/>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45" name="Freeform 43">
            <a:extLst>
              <a:ext uri="{FF2B5EF4-FFF2-40B4-BE49-F238E27FC236}">
                <a16:creationId xmlns:a16="http://schemas.microsoft.com/office/drawing/2014/main" id="{58AA7A6C-FF18-4D4C-A552-D0920DAEB93B}"/>
              </a:ext>
            </a:extLst>
          </p:cNvPr>
          <p:cNvSpPr>
            <a:spLocks noChangeAspect="1" noEditPoints="1"/>
          </p:cNvSpPr>
          <p:nvPr/>
        </p:nvSpPr>
        <p:spPr bwMode="auto">
          <a:xfrm flipV="1">
            <a:off x="11865834" y="2734672"/>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chemeClr val="accent3"/>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46" name="Freeform 43">
            <a:extLst>
              <a:ext uri="{FF2B5EF4-FFF2-40B4-BE49-F238E27FC236}">
                <a16:creationId xmlns:a16="http://schemas.microsoft.com/office/drawing/2014/main" id="{377F191A-0C24-45A1-B0FF-4E4E7492B4CC}"/>
              </a:ext>
            </a:extLst>
          </p:cNvPr>
          <p:cNvSpPr>
            <a:spLocks noChangeAspect="1" noEditPoints="1"/>
          </p:cNvSpPr>
          <p:nvPr/>
        </p:nvSpPr>
        <p:spPr bwMode="auto">
          <a:xfrm flipV="1">
            <a:off x="9509842" y="3381383"/>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chemeClr val="accent3"/>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48" name="Freeform 43">
            <a:extLst>
              <a:ext uri="{FF2B5EF4-FFF2-40B4-BE49-F238E27FC236}">
                <a16:creationId xmlns:a16="http://schemas.microsoft.com/office/drawing/2014/main" id="{A5A4211A-BF71-4733-8866-0EB943AABA23}"/>
              </a:ext>
            </a:extLst>
          </p:cNvPr>
          <p:cNvSpPr>
            <a:spLocks noChangeAspect="1" noEditPoints="1"/>
          </p:cNvSpPr>
          <p:nvPr/>
        </p:nvSpPr>
        <p:spPr bwMode="auto">
          <a:xfrm>
            <a:off x="9509842" y="3950320"/>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49" name="Freeform 43">
            <a:extLst>
              <a:ext uri="{FF2B5EF4-FFF2-40B4-BE49-F238E27FC236}">
                <a16:creationId xmlns:a16="http://schemas.microsoft.com/office/drawing/2014/main" id="{61B5E39C-ACAC-4BD4-BF89-AC4BED9F8BFF}"/>
              </a:ext>
            </a:extLst>
          </p:cNvPr>
          <p:cNvSpPr>
            <a:spLocks noChangeAspect="1" noEditPoints="1"/>
          </p:cNvSpPr>
          <p:nvPr/>
        </p:nvSpPr>
        <p:spPr bwMode="auto">
          <a:xfrm>
            <a:off x="11865834" y="3950320"/>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50" name="Freeform 43">
            <a:extLst>
              <a:ext uri="{FF2B5EF4-FFF2-40B4-BE49-F238E27FC236}">
                <a16:creationId xmlns:a16="http://schemas.microsoft.com/office/drawing/2014/main" id="{E9761409-8045-474D-8EA7-8DB6AD5A4F74}"/>
              </a:ext>
            </a:extLst>
          </p:cNvPr>
          <p:cNvSpPr>
            <a:spLocks noChangeAspect="1" noEditPoints="1"/>
          </p:cNvSpPr>
          <p:nvPr/>
        </p:nvSpPr>
        <p:spPr bwMode="auto">
          <a:xfrm>
            <a:off x="9509842" y="4558587"/>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51" name="Freeform 43">
            <a:extLst>
              <a:ext uri="{FF2B5EF4-FFF2-40B4-BE49-F238E27FC236}">
                <a16:creationId xmlns:a16="http://schemas.microsoft.com/office/drawing/2014/main" id="{1CA8E6FD-850E-4EC7-B5B0-0706202EB99A}"/>
              </a:ext>
            </a:extLst>
          </p:cNvPr>
          <p:cNvSpPr>
            <a:spLocks noChangeAspect="1" noEditPoints="1"/>
          </p:cNvSpPr>
          <p:nvPr/>
        </p:nvSpPr>
        <p:spPr bwMode="auto">
          <a:xfrm>
            <a:off x="11865834" y="4558587"/>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54" name="Freeform 43">
            <a:extLst>
              <a:ext uri="{FF2B5EF4-FFF2-40B4-BE49-F238E27FC236}">
                <a16:creationId xmlns:a16="http://schemas.microsoft.com/office/drawing/2014/main" id="{2108DEDE-F427-4E64-A71A-D8120FA1A54A}"/>
              </a:ext>
            </a:extLst>
          </p:cNvPr>
          <p:cNvSpPr>
            <a:spLocks noChangeAspect="1" noEditPoints="1"/>
          </p:cNvSpPr>
          <p:nvPr/>
        </p:nvSpPr>
        <p:spPr bwMode="auto">
          <a:xfrm flipV="1">
            <a:off x="9509842" y="5555217"/>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chemeClr val="accent3"/>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55" name="Freeform 43">
            <a:extLst>
              <a:ext uri="{FF2B5EF4-FFF2-40B4-BE49-F238E27FC236}">
                <a16:creationId xmlns:a16="http://schemas.microsoft.com/office/drawing/2014/main" id="{AF0727E3-5DCD-4556-AA3F-0BD49C065896}"/>
              </a:ext>
            </a:extLst>
          </p:cNvPr>
          <p:cNvSpPr>
            <a:spLocks noChangeAspect="1" noEditPoints="1"/>
          </p:cNvSpPr>
          <p:nvPr/>
        </p:nvSpPr>
        <p:spPr bwMode="auto">
          <a:xfrm>
            <a:off x="11865834" y="5555217"/>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0" name="Date Placeholder 9">
            <a:extLst>
              <a:ext uri="{FF2B5EF4-FFF2-40B4-BE49-F238E27FC236}">
                <a16:creationId xmlns:a16="http://schemas.microsoft.com/office/drawing/2014/main" id="{C34DAB83-957A-4D89-B4A3-13FC72FF5D68}"/>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14" name="Slide Number Placeholder 13">
            <a:extLst>
              <a:ext uri="{FF2B5EF4-FFF2-40B4-BE49-F238E27FC236}">
                <a16:creationId xmlns:a16="http://schemas.microsoft.com/office/drawing/2014/main" id="{5B436AA4-F414-46FE-BD99-2411DE4E9AC7}"/>
              </a:ext>
            </a:extLst>
          </p:cNvPr>
          <p:cNvSpPr>
            <a:spLocks noGrp="1"/>
          </p:cNvSpPr>
          <p:nvPr>
            <p:ph type="sldNum" idx="12"/>
          </p:nvPr>
        </p:nvSpPr>
        <p:spPr/>
        <p:txBody>
          <a:bodyPr/>
          <a:lstStyle/>
          <a:p>
            <a:pPr lvl="0"/>
            <a:fld id="{00000000-1234-1234-1234-123412341234}" type="slidenum">
              <a:rPr lang="en-US" smtClean="0"/>
              <a:pPr lvl="0"/>
              <a:t>13</a:t>
            </a:fld>
            <a:endParaRPr lang="en-US"/>
          </a:p>
        </p:txBody>
      </p:sp>
      <p:sp>
        <p:nvSpPr>
          <p:cNvPr id="157" name="Footer Placeholder 11">
            <a:extLst>
              <a:ext uri="{FF2B5EF4-FFF2-40B4-BE49-F238E27FC236}">
                <a16:creationId xmlns:a16="http://schemas.microsoft.com/office/drawing/2014/main" id="{96E38300-A83E-4DD6-996A-CAD01DA806B0}"/>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sp>
        <p:nvSpPr>
          <p:cNvPr id="58" name="Freeform 43">
            <a:extLst>
              <a:ext uri="{FF2B5EF4-FFF2-40B4-BE49-F238E27FC236}">
                <a16:creationId xmlns:a16="http://schemas.microsoft.com/office/drawing/2014/main" id="{70735080-8BAE-4FCC-847D-354D744F0D98}"/>
              </a:ext>
            </a:extLst>
          </p:cNvPr>
          <p:cNvSpPr>
            <a:spLocks noChangeAspect="1" noEditPoints="1"/>
          </p:cNvSpPr>
          <p:nvPr/>
        </p:nvSpPr>
        <p:spPr bwMode="auto">
          <a:xfrm>
            <a:off x="11865834" y="3381383"/>
            <a:ext cx="184092" cy="182880"/>
          </a:xfrm>
          <a:custGeom>
            <a:avLst/>
            <a:gdLst>
              <a:gd name="T0" fmla="*/ 30 w 200"/>
              <a:gd name="T1" fmla="*/ 77 h 199"/>
              <a:gd name="T2" fmla="*/ 7 w 200"/>
              <a:gd name="T3" fmla="*/ 77 h 199"/>
              <a:gd name="T4" fmla="*/ 0 w 200"/>
              <a:gd name="T5" fmla="*/ 83 h 199"/>
              <a:gd name="T6" fmla="*/ 0 w 200"/>
              <a:gd name="T7" fmla="*/ 188 h 199"/>
              <a:gd name="T8" fmla="*/ 7 w 200"/>
              <a:gd name="T9" fmla="*/ 195 h 199"/>
              <a:gd name="T10" fmla="*/ 18 w 200"/>
              <a:gd name="T11" fmla="*/ 195 h 199"/>
              <a:gd name="T12" fmla="*/ 36 w 200"/>
              <a:gd name="T13" fmla="*/ 177 h 199"/>
              <a:gd name="T14" fmla="*/ 36 w 200"/>
              <a:gd name="T15" fmla="*/ 83 h 199"/>
              <a:gd name="T16" fmla="*/ 30 w 200"/>
              <a:gd name="T17" fmla="*/ 77 h 199"/>
              <a:gd name="T18" fmla="*/ 182 w 200"/>
              <a:gd name="T19" fmla="*/ 82 h 199"/>
              <a:gd name="T20" fmla="*/ 154 w 200"/>
              <a:gd name="T21" fmla="*/ 82 h 199"/>
              <a:gd name="T22" fmla="*/ 136 w 200"/>
              <a:gd name="T23" fmla="*/ 63 h 199"/>
              <a:gd name="T24" fmla="*/ 136 w 200"/>
              <a:gd name="T25" fmla="*/ 18 h 199"/>
              <a:gd name="T26" fmla="*/ 118 w 200"/>
              <a:gd name="T27" fmla="*/ 0 h 199"/>
              <a:gd name="T28" fmla="*/ 107 w 200"/>
              <a:gd name="T29" fmla="*/ 0 h 199"/>
              <a:gd name="T30" fmla="*/ 100 w 200"/>
              <a:gd name="T31" fmla="*/ 6 h 199"/>
              <a:gd name="T32" fmla="*/ 100 w 200"/>
              <a:gd name="T33" fmla="*/ 34 h 199"/>
              <a:gd name="T34" fmla="*/ 61 w 200"/>
              <a:gd name="T35" fmla="*/ 82 h 199"/>
              <a:gd name="T36" fmla="*/ 54 w 200"/>
              <a:gd name="T37" fmla="*/ 88 h 199"/>
              <a:gd name="T38" fmla="*/ 54 w 200"/>
              <a:gd name="T39" fmla="*/ 179 h 199"/>
              <a:gd name="T40" fmla="*/ 61 w 200"/>
              <a:gd name="T41" fmla="*/ 185 h 199"/>
              <a:gd name="T42" fmla="*/ 134 w 200"/>
              <a:gd name="T43" fmla="*/ 199 h 199"/>
              <a:gd name="T44" fmla="*/ 200 w 200"/>
              <a:gd name="T45" fmla="*/ 156 h 199"/>
              <a:gd name="T46" fmla="*/ 200 w 200"/>
              <a:gd name="T47" fmla="*/ 99 h 199"/>
              <a:gd name="T48" fmla="*/ 182 w 200"/>
              <a:gd name="T49" fmla="*/ 8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199">
                <a:moveTo>
                  <a:pt x="30" y="77"/>
                </a:moveTo>
                <a:cubicBezTo>
                  <a:pt x="7" y="77"/>
                  <a:pt x="7" y="77"/>
                  <a:pt x="7" y="77"/>
                </a:cubicBezTo>
                <a:cubicBezTo>
                  <a:pt x="3" y="77"/>
                  <a:pt x="0" y="80"/>
                  <a:pt x="0" y="83"/>
                </a:cubicBezTo>
                <a:cubicBezTo>
                  <a:pt x="0" y="188"/>
                  <a:pt x="0" y="188"/>
                  <a:pt x="0" y="188"/>
                </a:cubicBezTo>
                <a:cubicBezTo>
                  <a:pt x="0" y="192"/>
                  <a:pt x="3" y="195"/>
                  <a:pt x="7" y="195"/>
                </a:cubicBezTo>
                <a:cubicBezTo>
                  <a:pt x="18" y="195"/>
                  <a:pt x="18" y="195"/>
                  <a:pt x="18" y="195"/>
                </a:cubicBezTo>
                <a:cubicBezTo>
                  <a:pt x="29" y="195"/>
                  <a:pt x="36" y="186"/>
                  <a:pt x="36" y="177"/>
                </a:cubicBezTo>
                <a:cubicBezTo>
                  <a:pt x="36" y="83"/>
                  <a:pt x="36" y="83"/>
                  <a:pt x="36" y="83"/>
                </a:cubicBezTo>
                <a:cubicBezTo>
                  <a:pt x="36" y="80"/>
                  <a:pt x="33" y="77"/>
                  <a:pt x="30" y="77"/>
                </a:cubicBezTo>
                <a:close/>
                <a:moveTo>
                  <a:pt x="182" y="82"/>
                </a:moveTo>
                <a:cubicBezTo>
                  <a:pt x="154" y="82"/>
                  <a:pt x="154" y="82"/>
                  <a:pt x="154" y="82"/>
                </a:cubicBezTo>
                <a:cubicBezTo>
                  <a:pt x="145" y="82"/>
                  <a:pt x="136" y="73"/>
                  <a:pt x="136" y="63"/>
                </a:cubicBezTo>
                <a:cubicBezTo>
                  <a:pt x="136" y="18"/>
                  <a:pt x="136" y="18"/>
                  <a:pt x="136" y="18"/>
                </a:cubicBezTo>
                <a:cubicBezTo>
                  <a:pt x="136" y="8"/>
                  <a:pt x="128" y="0"/>
                  <a:pt x="118" y="0"/>
                </a:cubicBezTo>
                <a:cubicBezTo>
                  <a:pt x="107" y="0"/>
                  <a:pt x="107" y="0"/>
                  <a:pt x="107" y="0"/>
                </a:cubicBezTo>
                <a:cubicBezTo>
                  <a:pt x="103" y="0"/>
                  <a:pt x="100" y="3"/>
                  <a:pt x="100" y="6"/>
                </a:cubicBezTo>
                <a:cubicBezTo>
                  <a:pt x="100" y="34"/>
                  <a:pt x="100" y="34"/>
                  <a:pt x="100" y="34"/>
                </a:cubicBezTo>
                <a:cubicBezTo>
                  <a:pt x="100" y="58"/>
                  <a:pt x="83" y="82"/>
                  <a:pt x="61" y="82"/>
                </a:cubicBezTo>
                <a:cubicBezTo>
                  <a:pt x="57" y="82"/>
                  <a:pt x="54" y="84"/>
                  <a:pt x="54" y="88"/>
                </a:cubicBezTo>
                <a:cubicBezTo>
                  <a:pt x="54" y="179"/>
                  <a:pt x="54" y="179"/>
                  <a:pt x="54" y="179"/>
                </a:cubicBezTo>
                <a:cubicBezTo>
                  <a:pt x="54" y="183"/>
                  <a:pt x="57" y="185"/>
                  <a:pt x="61" y="185"/>
                </a:cubicBezTo>
                <a:cubicBezTo>
                  <a:pt x="92" y="186"/>
                  <a:pt x="102" y="199"/>
                  <a:pt x="134" y="199"/>
                </a:cubicBezTo>
                <a:cubicBezTo>
                  <a:pt x="169" y="199"/>
                  <a:pt x="200" y="195"/>
                  <a:pt x="200" y="156"/>
                </a:cubicBezTo>
                <a:cubicBezTo>
                  <a:pt x="200" y="99"/>
                  <a:pt x="200" y="99"/>
                  <a:pt x="200" y="99"/>
                </a:cubicBezTo>
                <a:cubicBezTo>
                  <a:pt x="200" y="90"/>
                  <a:pt x="192" y="82"/>
                  <a:pt x="182" y="82"/>
                </a:cubicBez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800"/>
          </a:p>
        </p:txBody>
      </p:sp>
    </p:spTree>
    <p:custDataLst>
      <p:custData r:id="rId1"/>
    </p:custDataLst>
    <p:extLst>
      <p:ext uri="{BB962C8B-B14F-4D97-AF65-F5344CB8AC3E}">
        <p14:creationId xmlns:p14="http://schemas.microsoft.com/office/powerpoint/2010/main" val="29253443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2536663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32" imgH="532" progId="TCLayout.ActiveDocument.1">
                  <p:embed/>
                </p:oleObj>
              </mc:Choice>
              <mc:Fallback>
                <p:oleObj name="think-cell Slide" r:id="rId28"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pPr lvl="0"/>
            <a:r>
              <a:rPr lang="en-US" sz="2400" b="0" dirty="0">
                <a:latin typeface="Georgia" panose="02040502050405020303" pitchFamily="18" charset="0"/>
              </a:rPr>
              <a:t>Shortlisted Sectors for ICIC Development</a:t>
            </a:r>
          </a:p>
        </p:txBody>
      </p:sp>
      <p:sp>
        <p:nvSpPr>
          <p:cNvPr id="6" name="Google Shape;1022;p95">
            <a:extLst>
              <a:ext uri="{FF2B5EF4-FFF2-40B4-BE49-F238E27FC236}">
                <a16:creationId xmlns:a16="http://schemas.microsoft.com/office/drawing/2014/main" id="{1849CC3C-3475-485E-AA2C-11D1094C32AF}"/>
              </a:ext>
            </a:extLst>
          </p:cNvPr>
          <p:cNvSpPr txBox="1"/>
          <p:nvPr/>
        </p:nvSpPr>
        <p:spPr>
          <a:xfrm>
            <a:off x="282870" y="1186144"/>
            <a:ext cx="6322718" cy="487363"/>
          </a:xfrm>
          <a:prstGeom prst="rect">
            <a:avLst/>
          </a:prstGeom>
          <a:noFill/>
          <a:ln>
            <a:noFill/>
          </a:ln>
        </p:spPr>
        <p:txBody>
          <a:bodyPr spcFirstLastPara="1" wrap="square" lIns="0" tIns="0" rIns="0" bIns="0" anchor="ctr" anchorCtr="0">
            <a:noAutofit/>
          </a:bodyPr>
          <a:lstStyle/>
          <a:p>
            <a:pPr marR="0" lvl="0" indent="0" algn="ctr" fontAlgn="auto">
              <a:lnSpc>
                <a:spcPct val="100000"/>
              </a:lnSpc>
              <a:spcBef>
                <a:spcPts val="0"/>
              </a:spcBef>
              <a:spcAft>
                <a:spcPts val="0"/>
              </a:spcAft>
              <a:buClr>
                <a:srgbClr val="000000"/>
              </a:buClr>
              <a:buSzTx/>
              <a:buFont typeface="Arial"/>
              <a:buNone/>
              <a:tabLst/>
              <a:defRPr/>
            </a:pPr>
            <a:r>
              <a:rPr lang="en-US" sz="1400" b="1" i="1" dirty="0">
                <a:cs typeface="Arial" pitchFamily="34" charset="0"/>
                <a:sym typeface="Arial"/>
              </a:rPr>
              <a:t>Step1: </a:t>
            </a:r>
            <a:r>
              <a:rPr lang="en-US" sz="1400" i="1" dirty="0">
                <a:cs typeface="Arial" pitchFamily="34" charset="0"/>
                <a:sym typeface="Arial"/>
              </a:rPr>
              <a:t>Based on the sector shortlisting framework, </a:t>
            </a:r>
            <a:r>
              <a:rPr lang="en-US" sz="1400" i="1" dirty="0">
                <a:cs typeface="Arial" pitchFamily="34" charset="0"/>
              </a:rPr>
              <a:t>7 sectors were selected for further consideration</a:t>
            </a:r>
            <a:endParaRPr lang="en-US" sz="1400" i="1" dirty="0">
              <a:cs typeface="Arial" pitchFamily="34" charset="0"/>
              <a:sym typeface="Arial"/>
            </a:endParaRPr>
          </a:p>
        </p:txBody>
      </p:sp>
      <p:graphicFrame>
        <p:nvGraphicFramePr>
          <p:cNvPr id="76" name="Chart 75">
            <a:extLst>
              <a:ext uri="{FF2B5EF4-FFF2-40B4-BE49-F238E27FC236}">
                <a16:creationId xmlns:a16="http://schemas.microsoft.com/office/drawing/2014/main" id="{F60E9977-3B01-44CA-8B11-5FF813CB2D92}"/>
              </a:ext>
            </a:extLst>
          </p:cNvPr>
          <p:cNvGraphicFramePr/>
          <p:nvPr>
            <p:custDataLst>
              <p:tags r:id="rId3"/>
            </p:custDataLst>
            <p:extLst>
              <p:ext uri="{D42A27DB-BD31-4B8C-83A1-F6EECF244321}">
                <p14:modId xmlns:p14="http://schemas.microsoft.com/office/powerpoint/2010/main" val="3679510245"/>
              </p:ext>
            </p:extLst>
          </p:nvPr>
        </p:nvGraphicFramePr>
        <p:xfrm>
          <a:off x="236538" y="1849438"/>
          <a:ext cx="6313487" cy="4492625"/>
        </p:xfrm>
        <a:graphic>
          <a:graphicData uri="http://schemas.openxmlformats.org/drawingml/2006/chart">
            <c:chart xmlns:c="http://schemas.openxmlformats.org/drawingml/2006/chart" xmlns:r="http://schemas.openxmlformats.org/officeDocument/2006/relationships" r:id="rId30"/>
          </a:graphicData>
        </a:graphic>
      </p:graphicFrame>
      <p:cxnSp>
        <p:nvCxnSpPr>
          <p:cNvPr id="391" name="Straight Connector 390">
            <a:extLst>
              <a:ext uri="{FF2B5EF4-FFF2-40B4-BE49-F238E27FC236}">
                <a16:creationId xmlns:a16="http://schemas.microsoft.com/office/drawing/2014/main" id="{E586A458-2827-44AE-9F0B-B76249500F00}"/>
              </a:ext>
            </a:extLst>
          </p:cNvPr>
          <p:cNvCxnSpPr>
            <a:cxnSpLocks/>
          </p:cNvCxnSpPr>
          <p:nvPr>
            <p:custDataLst>
              <p:tags r:id="rId4"/>
            </p:custDataLst>
          </p:nvPr>
        </p:nvCxnSpPr>
        <p:spPr bwMode="auto">
          <a:xfrm flipV="1">
            <a:off x="2438400" y="1976438"/>
            <a:ext cx="0" cy="40132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8" name="Straight Connector 407">
            <a:extLst>
              <a:ext uri="{FF2B5EF4-FFF2-40B4-BE49-F238E27FC236}">
                <a16:creationId xmlns:a16="http://schemas.microsoft.com/office/drawing/2014/main" id="{2F59780C-137E-464F-A4E6-F167FC005B71}"/>
              </a:ext>
            </a:extLst>
          </p:cNvPr>
          <p:cNvCxnSpPr/>
          <p:nvPr>
            <p:custDataLst>
              <p:tags r:id="rId5"/>
            </p:custDataLst>
          </p:nvPr>
        </p:nvCxnSpPr>
        <p:spPr bwMode="auto">
          <a:xfrm>
            <a:off x="569913" y="4386263"/>
            <a:ext cx="577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F5E635B5-2854-4552-BEDC-351761DFB88A}"/>
              </a:ext>
            </a:extLst>
          </p:cNvPr>
          <p:cNvCxnSpPr/>
          <p:nvPr>
            <p:custDataLst>
              <p:tags r:id="rId6"/>
            </p:custDataLst>
          </p:nvPr>
        </p:nvCxnSpPr>
        <p:spPr bwMode="auto">
          <a:xfrm flipV="1">
            <a:off x="5702300" y="4132263"/>
            <a:ext cx="187325" cy="188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2837E7E-2F9F-4DBF-8290-04D1F05308B7}"/>
              </a:ext>
            </a:extLst>
          </p:cNvPr>
          <p:cNvCxnSpPr>
            <a:cxnSpLocks/>
          </p:cNvCxnSpPr>
          <p:nvPr>
            <p:custDataLst>
              <p:tags r:id="rId7"/>
            </p:custDataLst>
          </p:nvPr>
        </p:nvCxnSpPr>
        <p:spPr bwMode="auto">
          <a:xfrm flipV="1">
            <a:off x="3063875" y="4635500"/>
            <a:ext cx="0" cy="182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4" name="Text Placeholder 2">
            <a:extLst>
              <a:ext uri="{FF2B5EF4-FFF2-40B4-BE49-F238E27FC236}">
                <a16:creationId xmlns:a16="http://schemas.microsoft.com/office/drawing/2014/main" id="{0BFC3B26-09F8-46E4-AF66-9BF9561C3879}"/>
              </a:ext>
            </a:extLst>
          </p:cNvPr>
          <p:cNvSpPr>
            <a:spLocks noGrp="1"/>
          </p:cNvSpPr>
          <p:nvPr>
            <p:custDataLst>
              <p:tags r:id="rId8"/>
            </p:custDataLst>
          </p:nvPr>
        </p:nvSpPr>
        <p:spPr bwMode="auto">
          <a:xfrm>
            <a:off x="5294313" y="6307138"/>
            <a:ext cx="1120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r">
              <a:spcBef>
                <a:spcPct val="0"/>
              </a:spcBef>
              <a:spcAft>
                <a:spcPct val="0"/>
              </a:spcAft>
            </a:pPr>
            <a:fld id="{91094DB3-D96B-4031-B629-5E759E99261C}" type="datetime'C''''''om''p''''ara''''ti''''''v''''''e Str''eng''t''''''''hs'">
              <a:rPr lang="en-US" altLang="en-US" sz="800" b="1" smtClean="0"/>
              <a:pPr lvl="0" algn="r">
                <a:spcBef>
                  <a:spcPct val="0"/>
                </a:spcBef>
                <a:spcAft>
                  <a:spcPct val="0"/>
                </a:spcAft>
              </a:pPr>
              <a:t>Comparative Strengths</a:t>
            </a:fld>
            <a:endParaRPr lang="en-US" sz="800" b="1" noProof="0"/>
          </a:p>
        </p:txBody>
      </p:sp>
      <p:sp>
        <p:nvSpPr>
          <p:cNvPr id="295" name="Text Placeholder 2">
            <a:extLst>
              <a:ext uri="{FF2B5EF4-FFF2-40B4-BE49-F238E27FC236}">
                <a16:creationId xmlns:a16="http://schemas.microsoft.com/office/drawing/2014/main" id="{272C4D62-788D-4599-9241-DB179683A4D2}"/>
              </a:ext>
            </a:extLst>
          </p:cNvPr>
          <p:cNvSpPr>
            <a:spLocks noGrp="1"/>
          </p:cNvSpPr>
          <p:nvPr>
            <p:custDataLst>
              <p:tags r:id="rId9"/>
            </p:custDataLst>
          </p:nvPr>
        </p:nvSpPr>
        <p:spPr bwMode="auto">
          <a:xfrm>
            <a:off x="182563" y="1712913"/>
            <a:ext cx="774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8EEA55E8-C948-4C15-A740-C1BFB27611C9}" type="datetime'''''Fu''''t''ur''''e P''o''''''''t''''''en''ti''al'''''">
              <a:rPr lang="en-US" altLang="en-US" sz="800" b="1" smtClean="0"/>
              <a:pPr lvl="0" algn="ctr">
                <a:spcBef>
                  <a:spcPct val="0"/>
                </a:spcBef>
                <a:spcAft>
                  <a:spcPct val="0"/>
                </a:spcAft>
              </a:pPr>
              <a:t>Future Potential</a:t>
            </a:fld>
            <a:endParaRPr lang="en-US" sz="800" b="1" noProof="0"/>
          </a:p>
        </p:txBody>
      </p:sp>
      <p:sp>
        <p:nvSpPr>
          <p:cNvPr id="163" name="Text Placeholder 2">
            <a:extLst>
              <a:ext uri="{FF2B5EF4-FFF2-40B4-BE49-F238E27FC236}">
                <a16:creationId xmlns:a16="http://schemas.microsoft.com/office/drawing/2014/main" id="{003D78D4-2C4D-4CCC-9856-F3448DAFA584}"/>
              </a:ext>
            </a:extLst>
          </p:cNvPr>
          <p:cNvSpPr>
            <a:spLocks noGrp="1"/>
          </p:cNvSpPr>
          <p:nvPr>
            <p:custDataLst>
              <p:tags r:id="rId10"/>
            </p:custDataLst>
          </p:nvPr>
        </p:nvSpPr>
        <p:spPr bwMode="gray">
          <a:xfrm>
            <a:off x="5210175" y="3365500"/>
            <a:ext cx="654050" cy="122238"/>
          </a:xfrm>
          <a:prstGeom prst="rect">
            <a:avLst/>
          </a:prstGeom>
          <a:noFill/>
          <a:ln>
            <a:noFill/>
          </a:ln>
          <a:effectLst/>
          <a:extLst>
            <a:ext uri="{909E8E84-426E-40DD-AFC4-6F175D3DCCD1}">
              <a14:hiddenFill xmlns:a14="http://schemas.microsoft.com/office/drawing/2010/main">
                <a:solidFill>
                  <a:srgbClr val="A32020"/>
                </a:solidFill>
              </a14:hiddenFill>
            </a:ext>
          </a:ex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893D2709-E895-43D4-A89C-1EB226F50417}" type="datetime'''B''as''''''ic M''et''''a''l''''''''''''''''s'''''''''''''">
              <a:rPr lang="en-US" altLang="en-US" sz="800" b="1" smtClean="0">
                <a:solidFill>
                  <a:schemeClr val="bg1"/>
                </a:solidFill>
              </a:rPr>
              <a:pPr lvl="0" algn="ctr">
                <a:spcBef>
                  <a:spcPct val="0"/>
                </a:spcBef>
                <a:spcAft>
                  <a:spcPct val="0"/>
                </a:spcAft>
              </a:pPr>
              <a:t>Basic Metals</a:t>
            </a:fld>
            <a:endParaRPr lang="en-US" sz="800" b="1" noProof="0">
              <a:solidFill>
                <a:schemeClr val="bg1"/>
              </a:solidFill>
            </a:endParaRPr>
          </a:p>
        </p:txBody>
      </p:sp>
      <p:sp useBgFill="1">
        <p:nvSpPr>
          <p:cNvPr id="180" name="Text Placeholder 2">
            <a:extLst>
              <a:ext uri="{FF2B5EF4-FFF2-40B4-BE49-F238E27FC236}">
                <a16:creationId xmlns:a16="http://schemas.microsoft.com/office/drawing/2014/main" id="{2ABEFAA9-9A16-44E4-893A-D85536616A1E}"/>
              </a:ext>
            </a:extLst>
          </p:cNvPr>
          <p:cNvSpPr>
            <a:spLocks noGrp="1"/>
          </p:cNvSpPr>
          <p:nvPr>
            <p:custDataLst>
              <p:tags r:id="rId11"/>
            </p:custDataLst>
          </p:nvPr>
        </p:nvSpPr>
        <p:spPr bwMode="gray">
          <a:xfrm>
            <a:off x="4937125" y="4321175"/>
            <a:ext cx="1406525" cy="122238"/>
          </a:xfrm>
          <a:prstGeom prst="rect">
            <a:avLst/>
          </a:prstGeom>
          <a:ln>
            <a:noFill/>
          </a:ln>
          <a:effec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2EE64907-E50F-404A-9755-AFCD39343455}" type="datetime'Te''''xt''i''''le'' ''an''''d W''''e''''ar''in''g Ap''p''arel'">
              <a:rPr lang="en-US" altLang="en-US" sz="800" b="1" smtClean="0"/>
              <a:pPr lvl="0">
                <a:spcBef>
                  <a:spcPct val="0"/>
                </a:spcBef>
                <a:spcAft>
                  <a:spcPct val="0"/>
                </a:spcAft>
              </a:pPr>
              <a:t>Textile and Wearing Apparel</a:t>
            </a:fld>
            <a:endParaRPr lang="en-US" sz="800" b="1" noProof="0"/>
          </a:p>
        </p:txBody>
      </p:sp>
      <p:sp>
        <p:nvSpPr>
          <p:cNvPr id="215" name="Text Placeholder 2">
            <a:extLst>
              <a:ext uri="{FF2B5EF4-FFF2-40B4-BE49-F238E27FC236}">
                <a16:creationId xmlns:a16="http://schemas.microsoft.com/office/drawing/2014/main" id="{532A8569-D6D7-4CF0-8AEE-48A6882FBBAC}"/>
              </a:ext>
            </a:extLst>
          </p:cNvPr>
          <p:cNvSpPr>
            <a:spLocks noGrp="1"/>
          </p:cNvSpPr>
          <p:nvPr>
            <p:custDataLst>
              <p:tags r:id="rId12"/>
            </p:custDataLst>
          </p:nvPr>
        </p:nvSpPr>
        <p:spPr bwMode="gray">
          <a:xfrm>
            <a:off x="4064000" y="3852863"/>
            <a:ext cx="862013" cy="122238"/>
          </a:xfrm>
          <a:prstGeom prst="rect">
            <a:avLst/>
          </a:prstGeom>
          <a:noFill/>
          <a:ln>
            <a:noFill/>
          </a:ln>
          <a:effectLst/>
          <a:extLst>
            <a:ext uri="{909E8E84-426E-40DD-AFC4-6F175D3DCCD1}">
              <a14:hiddenFill xmlns:a14="http://schemas.microsoft.com/office/drawing/2010/main">
                <a:solidFill>
                  <a:srgbClr val="A32020"/>
                </a:solidFill>
              </a14:hiddenFill>
            </a:ext>
          </a:ex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1AED4074-8342-44FD-A94F-DB7A855ABF32}" type="datetime'''''F''o''''''od'' P''''''''r''''''o''''''''''''cessing'''''">
              <a:rPr lang="en-US" altLang="en-US" sz="800" b="1" smtClean="0"/>
              <a:pPr lvl="0">
                <a:spcBef>
                  <a:spcPct val="0"/>
                </a:spcBef>
                <a:spcAft>
                  <a:spcPct val="0"/>
                </a:spcAft>
              </a:pPr>
              <a:t>Food Processing</a:t>
            </a:fld>
            <a:endParaRPr lang="en-US" sz="800" b="1" noProof="0"/>
          </a:p>
        </p:txBody>
      </p:sp>
      <p:sp>
        <p:nvSpPr>
          <p:cNvPr id="198" name="Text Placeholder 2">
            <a:extLst>
              <a:ext uri="{FF2B5EF4-FFF2-40B4-BE49-F238E27FC236}">
                <a16:creationId xmlns:a16="http://schemas.microsoft.com/office/drawing/2014/main" id="{F373F504-8F5F-4013-82F4-49CDD56C743B}"/>
              </a:ext>
            </a:extLst>
          </p:cNvPr>
          <p:cNvSpPr>
            <a:spLocks noGrp="1"/>
          </p:cNvSpPr>
          <p:nvPr>
            <p:custDataLst>
              <p:tags r:id="rId13"/>
            </p:custDataLst>
          </p:nvPr>
        </p:nvSpPr>
        <p:spPr bwMode="gray">
          <a:xfrm>
            <a:off x="3149600" y="3222625"/>
            <a:ext cx="847725" cy="122238"/>
          </a:xfrm>
          <a:prstGeom prst="rect">
            <a:avLst/>
          </a:prstGeom>
          <a:noFill/>
          <a:ln>
            <a:noFill/>
          </a:ln>
          <a:effectLst/>
          <a:extLst>
            <a:ext uri="{909E8E84-426E-40DD-AFC4-6F175D3DCCD1}">
              <a14:hiddenFill xmlns:a14="http://schemas.microsoft.com/office/drawing/2010/main">
                <a:solidFill>
                  <a:srgbClr val="A32020"/>
                </a:solidFill>
              </a14:hiddenFill>
            </a:ext>
          </a:ex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873B5858-615D-49D3-9DBD-0E1A358B1C6D}" type="datetime'''''''P''''''''h''a''''''''''rm''a''c''e''''utic''a''l''s'">
              <a:rPr lang="en-US" altLang="en-US" sz="800" b="1" smtClean="0"/>
              <a:pPr lvl="0">
                <a:spcBef>
                  <a:spcPct val="0"/>
                </a:spcBef>
                <a:spcAft>
                  <a:spcPct val="0"/>
                </a:spcAft>
              </a:pPr>
              <a:t>Pharmaceuticals</a:t>
            </a:fld>
            <a:endParaRPr lang="en-US" sz="800" b="1" noProof="0"/>
          </a:p>
        </p:txBody>
      </p:sp>
      <p:sp useBgFill="1">
        <p:nvSpPr>
          <p:cNvPr id="228" name="Text Placeholder 2">
            <a:extLst>
              <a:ext uri="{FF2B5EF4-FFF2-40B4-BE49-F238E27FC236}">
                <a16:creationId xmlns:a16="http://schemas.microsoft.com/office/drawing/2014/main" id="{C5C90CAF-AF94-43D8-AF05-362DC2DFB039}"/>
              </a:ext>
            </a:extLst>
          </p:cNvPr>
          <p:cNvSpPr>
            <a:spLocks noGrp="1"/>
          </p:cNvSpPr>
          <p:nvPr>
            <p:custDataLst>
              <p:tags r:id="rId14"/>
            </p:custDataLst>
          </p:nvPr>
        </p:nvSpPr>
        <p:spPr bwMode="gray">
          <a:xfrm>
            <a:off x="2166938" y="4818063"/>
            <a:ext cx="1795463" cy="122238"/>
          </a:xfrm>
          <a:prstGeom prst="rect">
            <a:avLst/>
          </a:prstGeom>
          <a:ln>
            <a:noFill/>
          </a:ln>
          <a:effec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CE1143AB-E19A-482B-820E-36FFBC3EDDA1}" type="datetime'O''t''her Non-Me''''''''t''allic'' Miner''al P''rod''''u''cts'">
              <a:rPr lang="en-US" altLang="en-US" sz="800" b="1" smtClean="0"/>
              <a:pPr lvl="0">
                <a:spcBef>
                  <a:spcPct val="0"/>
                </a:spcBef>
                <a:spcAft>
                  <a:spcPct val="0"/>
                </a:spcAft>
              </a:pPr>
              <a:t>Other Non-Metallic Mineral Products</a:t>
            </a:fld>
            <a:endParaRPr lang="en-US" sz="800" b="1" noProof="0"/>
          </a:p>
        </p:txBody>
      </p:sp>
      <p:sp>
        <p:nvSpPr>
          <p:cNvPr id="265" name="Text Placeholder 2">
            <a:extLst>
              <a:ext uri="{FF2B5EF4-FFF2-40B4-BE49-F238E27FC236}">
                <a16:creationId xmlns:a16="http://schemas.microsoft.com/office/drawing/2014/main" id="{59E3AD42-1C51-4BF9-A280-42631B000014}"/>
              </a:ext>
            </a:extLst>
          </p:cNvPr>
          <p:cNvSpPr>
            <a:spLocks noGrp="1"/>
          </p:cNvSpPr>
          <p:nvPr>
            <p:custDataLst>
              <p:tags r:id="rId15"/>
            </p:custDataLst>
          </p:nvPr>
        </p:nvSpPr>
        <p:spPr bwMode="gray">
          <a:xfrm>
            <a:off x="5059363" y="2225675"/>
            <a:ext cx="593725" cy="122238"/>
          </a:xfrm>
          <a:prstGeom prst="rect">
            <a:avLst/>
          </a:prstGeom>
          <a:noFill/>
          <a:ln>
            <a:noFill/>
          </a:ln>
          <a:effectLst/>
          <a:extLst>
            <a:ext uri="{909E8E84-426E-40DD-AFC4-6F175D3DCCD1}">
              <a14:hiddenFill xmlns:a14="http://schemas.microsoft.com/office/drawing/2010/main">
                <a:solidFill>
                  <a:srgbClr val="A32020"/>
                </a:solidFill>
              </a14:hiddenFill>
            </a:ext>
          </a:ex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B1BFA7E8-1E0E-4CAC-9C71-4AE987AE46AA}" type="datetime'''A''''''''''u''''''''''''tomo''''b''''''''i''''''l''''''''e'">
              <a:rPr lang="en-US" altLang="en-US" sz="800" b="1" smtClean="0"/>
              <a:pPr lvl="0">
                <a:spcBef>
                  <a:spcPct val="0"/>
                </a:spcBef>
                <a:spcAft>
                  <a:spcPct val="0"/>
                </a:spcAft>
              </a:pPr>
              <a:t>Automobile</a:t>
            </a:fld>
            <a:endParaRPr lang="en-US" sz="800" b="1" noProof="0"/>
          </a:p>
        </p:txBody>
      </p:sp>
      <p:sp useBgFill="1">
        <p:nvSpPr>
          <p:cNvPr id="272" name="Text Placeholder 2">
            <a:extLst>
              <a:ext uri="{FF2B5EF4-FFF2-40B4-BE49-F238E27FC236}">
                <a16:creationId xmlns:a16="http://schemas.microsoft.com/office/drawing/2014/main" id="{1B92E6FD-BF8C-4771-A01A-EB1D3392978C}"/>
              </a:ext>
            </a:extLst>
          </p:cNvPr>
          <p:cNvSpPr>
            <a:spLocks noGrp="1"/>
          </p:cNvSpPr>
          <p:nvPr>
            <p:custDataLst>
              <p:tags r:id="rId16"/>
            </p:custDataLst>
          </p:nvPr>
        </p:nvSpPr>
        <p:spPr bwMode="gray">
          <a:xfrm>
            <a:off x="2117725" y="3944938"/>
            <a:ext cx="1708150" cy="122238"/>
          </a:xfrm>
          <a:prstGeom prst="rect">
            <a:avLst/>
          </a:prstGeom>
          <a:ln>
            <a:noFill/>
          </a:ln>
          <a:effec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CA48D687-C6A1-415F-B644-C2ECAAB1A24A}" type="datetime'Ch''emicals'''' a''n''d'' C''''he''m''ical'' ''Pro''ducts'">
              <a:rPr lang="en-US" altLang="en-US" sz="800" b="1" smtClean="0"/>
              <a:pPr lvl="0">
                <a:spcBef>
                  <a:spcPct val="0"/>
                </a:spcBef>
                <a:spcAft>
                  <a:spcPct val="0"/>
                </a:spcAft>
              </a:pPr>
              <a:t>Chemicals and Chemical Products</a:t>
            </a:fld>
            <a:endParaRPr lang="en-US" sz="800" b="1" noProof="0"/>
          </a:p>
        </p:txBody>
      </p:sp>
      <p:sp>
        <p:nvSpPr>
          <p:cNvPr id="321" name="Text Placeholder 2">
            <a:extLst>
              <a:ext uri="{FF2B5EF4-FFF2-40B4-BE49-F238E27FC236}">
                <a16:creationId xmlns:a16="http://schemas.microsoft.com/office/drawing/2014/main" id="{3A89537E-9DC0-4AA2-B325-0D7E282E6F71}"/>
              </a:ext>
            </a:extLst>
          </p:cNvPr>
          <p:cNvSpPr>
            <a:spLocks noGrp="1"/>
          </p:cNvSpPr>
          <p:nvPr>
            <p:custDataLst>
              <p:tags r:id="rId17"/>
            </p:custDataLst>
          </p:nvPr>
        </p:nvSpPr>
        <p:spPr bwMode="gray">
          <a:xfrm>
            <a:off x="987425" y="5124450"/>
            <a:ext cx="137160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6BDB1EE0-0EFD-404A-BA44-7FBCD36FC87F}" type="datetime'Leath''''e''r'''' &amp; ''''R''''e''lated P''r''''''oducts'''''''">
              <a:rPr lang="en-US" altLang="en-US" sz="800" b="1" smtClean="0"/>
              <a:pPr lvl="0">
                <a:spcBef>
                  <a:spcPct val="0"/>
                </a:spcBef>
                <a:spcAft>
                  <a:spcPct val="0"/>
                </a:spcAft>
              </a:pPr>
              <a:t>Leather &amp; Related Products</a:t>
            </a:fld>
            <a:endParaRPr lang="en-US" sz="800" b="1" noProof="0"/>
          </a:p>
        </p:txBody>
      </p:sp>
      <p:sp useBgFill="1">
        <p:nvSpPr>
          <p:cNvPr id="322" name="Text Placeholder 2">
            <a:extLst>
              <a:ext uri="{FF2B5EF4-FFF2-40B4-BE49-F238E27FC236}">
                <a16:creationId xmlns:a16="http://schemas.microsoft.com/office/drawing/2014/main" id="{395CFC67-4292-4C7D-8834-DA0237DF8C7E}"/>
              </a:ext>
            </a:extLst>
          </p:cNvPr>
          <p:cNvSpPr>
            <a:spLocks noGrp="1"/>
          </p:cNvSpPr>
          <p:nvPr>
            <p:custDataLst>
              <p:tags r:id="rId18"/>
            </p:custDataLst>
          </p:nvPr>
        </p:nvSpPr>
        <p:spPr bwMode="gray">
          <a:xfrm>
            <a:off x="1720850" y="5284788"/>
            <a:ext cx="1990725" cy="122238"/>
          </a:xfrm>
          <a:prstGeom prst="rect">
            <a:avLst/>
          </a:prstGeom>
          <a:ln>
            <a:noFill/>
          </a:ln>
          <a:effec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A9FDF46B-0D24-42D1-BCC0-9CC6CF1247FB}" type="datetime'''Wo''''''o''d and of ''Prod''ucts ''of wood ''a''nd c''ork'''">
              <a:rPr lang="en-US" altLang="en-US" sz="800" b="1" smtClean="0"/>
              <a:pPr lvl="0">
                <a:spcBef>
                  <a:spcPct val="0"/>
                </a:spcBef>
                <a:spcAft>
                  <a:spcPct val="0"/>
                </a:spcAft>
              </a:pPr>
              <a:t>Wood and of Products of wood and cork</a:t>
            </a:fld>
            <a:endParaRPr lang="en-US" sz="800" b="1" noProof="0"/>
          </a:p>
        </p:txBody>
      </p:sp>
      <p:sp useBgFill="1">
        <p:nvSpPr>
          <p:cNvPr id="323" name="Text Placeholder 2">
            <a:extLst>
              <a:ext uri="{FF2B5EF4-FFF2-40B4-BE49-F238E27FC236}">
                <a16:creationId xmlns:a16="http://schemas.microsoft.com/office/drawing/2014/main" id="{DE50A271-8247-4E39-B4BD-3A4DB1BDC4AF}"/>
              </a:ext>
            </a:extLst>
          </p:cNvPr>
          <p:cNvSpPr>
            <a:spLocks noGrp="1"/>
          </p:cNvSpPr>
          <p:nvPr>
            <p:custDataLst>
              <p:tags r:id="rId19"/>
            </p:custDataLst>
          </p:nvPr>
        </p:nvSpPr>
        <p:spPr bwMode="gray">
          <a:xfrm>
            <a:off x="2182813" y="4965700"/>
            <a:ext cx="1311275" cy="122238"/>
          </a:xfrm>
          <a:prstGeom prst="rect">
            <a:avLst/>
          </a:prstGeom>
          <a:ln>
            <a:noFill/>
          </a:ln>
          <a:effec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946D6DEC-AD64-4518-BD77-7D76A5BFDFD5}" type="datetime'''P''''''ape''r a''''''''''''nd'' Pap''er ''Produc''ts'">
              <a:rPr lang="en-US" altLang="en-US" sz="800" b="1" smtClean="0"/>
              <a:pPr lvl="0">
                <a:spcBef>
                  <a:spcPct val="0"/>
                </a:spcBef>
                <a:spcAft>
                  <a:spcPct val="0"/>
                </a:spcAft>
              </a:pPr>
              <a:t>Paper and Paper Products</a:t>
            </a:fld>
            <a:endParaRPr lang="en-US" sz="800" b="1" noProof="0"/>
          </a:p>
        </p:txBody>
      </p:sp>
      <p:sp useBgFill="1">
        <p:nvSpPr>
          <p:cNvPr id="326" name="Text Placeholder 2">
            <a:extLst>
              <a:ext uri="{FF2B5EF4-FFF2-40B4-BE49-F238E27FC236}">
                <a16:creationId xmlns:a16="http://schemas.microsoft.com/office/drawing/2014/main" id="{99DE3A48-2760-4DD6-9EA5-EF04D6C3A3D5}"/>
              </a:ext>
            </a:extLst>
          </p:cNvPr>
          <p:cNvSpPr>
            <a:spLocks noGrp="1"/>
          </p:cNvSpPr>
          <p:nvPr>
            <p:custDataLst>
              <p:tags r:id="rId20"/>
            </p:custDataLst>
          </p:nvPr>
        </p:nvSpPr>
        <p:spPr bwMode="gray">
          <a:xfrm>
            <a:off x="1241425" y="4695825"/>
            <a:ext cx="1485900" cy="122238"/>
          </a:xfrm>
          <a:prstGeom prst="rect">
            <a:avLst/>
          </a:prstGeom>
          <a:ln>
            <a:noFill/>
          </a:ln>
          <a:effec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733145AC-E94A-492D-9626-54D28252133E}" type="datetime'R''''ubber'''' an''d'' P''last''ics'' ''P''ro''''d''uc''ts'''">
              <a:rPr lang="en-US" altLang="en-US" sz="800" b="1" smtClean="0"/>
              <a:pPr lvl="0">
                <a:spcBef>
                  <a:spcPct val="0"/>
                </a:spcBef>
                <a:spcAft>
                  <a:spcPct val="0"/>
                </a:spcAft>
              </a:pPr>
              <a:t>Rubber and Plastics Products</a:t>
            </a:fld>
            <a:endParaRPr lang="en-US" sz="800" b="1" noProof="0"/>
          </a:p>
        </p:txBody>
      </p:sp>
      <p:sp useBgFill="1">
        <p:nvSpPr>
          <p:cNvPr id="329" name="Text Placeholder 2">
            <a:extLst>
              <a:ext uri="{FF2B5EF4-FFF2-40B4-BE49-F238E27FC236}">
                <a16:creationId xmlns:a16="http://schemas.microsoft.com/office/drawing/2014/main" id="{D2605C81-8BAF-4885-B715-6EB034911739}"/>
              </a:ext>
            </a:extLst>
          </p:cNvPr>
          <p:cNvSpPr>
            <a:spLocks noGrp="1"/>
          </p:cNvSpPr>
          <p:nvPr>
            <p:custDataLst>
              <p:tags r:id="rId21"/>
            </p:custDataLst>
          </p:nvPr>
        </p:nvSpPr>
        <p:spPr bwMode="gray">
          <a:xfrm>
            <a:off x="1154113" y="4191000"/>
            <a:ext cx="1309688" cy="122238"/>
          </a:xfrm>
          <a:prstGeom prst="rect">
            <a:avLst/>
          </a:prstGeom>
          <a:ln>
            <a:noFill/>
          </a:ln>
          <a:effec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0E8C69E9-C6AC-4618-875A-5C483EC3B230}" type="datetime'''Fab''rica''t''''''''''ed Metal'' ''''Pr''''od''uc''ts'''">
              <a:rPr lang="en-US" altLang="en-US" sz="800" b="1" smtClean="0"/>
              <a:pPr lvl="0">
                <a:spcBef>
                  <a:spcPct val="0"/>
                </a:spcBef>
                <a:spcAft>
                  <a:spcPct val="0"/>
                </a:spcAft>
              </a:pPr>
              <a:t>Fabricated Metal Products</a:t>
            </a:fld>
            <a:endParaRPr lang="en-US" sz="800" b="1" noProof="0"/>
          </a:p>
        </p:txBody>
      </p:sp>
      <p:sp>
        <p:nvSpPr>
          <p:cNvPr id="330" name="Text Placeholder 2">
            <a:extLst>
              <a:ext uri="{FF2B5EF4-FFF2-40B4-BE49-F238E27FC236}">
                <a16:creationId xmlns:a16="http://schemas.microsoft.com/office/drawing/2014/main" id="{CD4999A1-2C00-4687-B04F-335306E001FC}"/>
              </a:ext>
            </a:extLst>
          </p:cNvPr>
          <p:cNvSpPr>
            <a:spLocks noGrp="1"/>
          </p:cNvSpPr>
          <p:nvPr>
            <p:custDataLst>
              <p:tags r:id="rId22"/>
            </p:custDataLst>
          </p:nvPr>
        </p:nvSpPr>
        <p:spPr bwMode="gray">
          <a:xfrm>
            <a:off x="2530475" y="2586038"/>
            <a:ext cx="2119313" cy="122238"/>
          </a:xfrm>
          <a:prstGeom prst="rect">
            <a:avLst/>
          </a:prstGeom>
          <a:noFill/>
          <a:ln>
            <a:noFill/>
          </a:ln>
          <a:effectLst/>
          <a:extLst>
            <a:ext uri="{909E8E84-426E-40DD-AFC4-6F175D3DCCD1}">
              <a14:hiddenFill xmlns:a14="http://schemas.microsoft.com/office/drawing/2010/main">
                <a:solidFill>
                  <a:srgbClr val="A32020"/>
                </a:solidFill>
              </a14:hiddenFill>
            </a:ext>
          </a:ex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7156A10F-841B-448A-9386-67EF51445AD6}" type="datetime'Co''mpute''''r'', E''le''ctronic an''d Opt''ical Prod''ucts'''">
              <a:rPr lang="en-US" altLang="en-US" sz="800" b="1" smtClean="0"/>
              <a:pPr lvl="0">
                <a:spcBef>
                  <a:spcPct val="0"/>
                </a:spcBef>
                <a:spcAft>
                  <a:spcPct val="0"/>
                </a:spcAft>
              </a:pPr>
              <a:t>Computer, Electronic and Optical Products</a:t>
            </a:fld>
            <a:endParaRPr lang="en-US" sz="800" b="1" noProof="0"/>
          </a:p>
        </p:txBody>
      </p:sp>
      <p:sp>
        <p:nvSpPr>
          <p:cNvPr id="331" name="Text Placeholder 2">
            <a:extLst>
              <a:ext uri="{FF2B5EF4-FFF2-40B4-BE49-F238E27FC236}">
                <a16:creationId xmlns:a16="http://schemas.microsoft.com/office/drawing/2014/main" id="{A27D3657-5423-444D-92B5-DA09C4635463}"/>
              </a:ext>
            </a:extLst>
          </p:cNvPr>
          <p:cNvSpPr>
            <a:spLocks noGrp="1"/>
          </p:cNvSpPr>
          <p:nvPr>
            <p:custDataLst>
              <p:tags r:id="rId23"/>
            </p:custDataLst>
          </p:nvPr>
        </p:nvSpPr>
        <p:spPr bwMode="gray">
          <a:xfrm>
            <a:off x="2509838" y="2755900"/>
            <a:ext cx="104457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A9230F77-9E07-44DA-A24B-00A1F15E99A8}" type="datetime'''Elec''''''''trical'' E''q''u''i''pm''e''''''''''nt'''''''">
              <a:rPr lang="en-US" altLang="en-US" sz="800" b="1" smtClean="0"/>
              <a:pPr lvl="0">
                <a:spcBef>
                  <a:spcPct val="0"/>
                </a:spcBef>
                <a:spcAft>
                  <a:spcPct val="0"/>
                </a:spcAft>
              </a:pPr>
              <a:t>Electrical Equipment</a:t>
            </a:fld>
            <a:endParaRPr lang="en-US" sz="800" b="1" noProof="0"/>
          </a:p>
        </p:txBody>
      </p:sp>
      <p:sp>
        <p:nvSpPr>
          <p:cNvPr id="332" name="Text Placeholder 2">
            <a:extLst>
              <a:ext uri="{FF2B5EF4-FFF2-40B4-BE49-F238E27FC236}">
                <a16:creationId xmlns:a16="http://schemas.microsoft.com/office/drawing/2014/main" id="{FEE6F6CC-2875-4D24-BE05-59FE3CBDA646}"/>
              </a:ext>
            </a:extLst>
          </p:cNvPr>
          <p:cNvSpPr>
            <a:spLocks noGrp="1"/>
          </p:cNvSpPr>
          <p:nvPr>
            <p:custDataLst>
              <p:tags r:id="rId24"/>
            </p:custDataLst>
          </p:nvPr>
        </p:nvSpPr>
        <p:spPr bwMode="gray">
          <a:xfrm>
            <a:off x="576263" y="2771775"/>
            <a:ext cx="1631950"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52FF88DC-EBDD-4881-8DFD-8872F4049187}" type="datetime'Ma''''c''hi''n''ery ''and E''''quipm''ent'''' N''.''''E.C''.'">
              <a:rPr lang="en-US" altLang="en-US" sz="800" b="1" smtClean="0"/>
              <a:pPr lvl="0">
                <a:spcBef>
                  <a:spcPct val="0"/>
                </a:spcBef>
                <a:spcAft>
                  <a:spcPct val="0"/>
                </a:spcAft>
              </a:pPr>
              <a:t>Machinery and Equipment N.E.C.</a:t>
            </a:fld>
            <a:endParaRPr lang="en-US" sz="800" b="1" noProof="0"/>
          </a:p>
        </p:txBody>
      </p:sp>
      <p:sp useBgFill="1">
        <p:nvSpPr>
          <p:cNvPr id="335" name="Text Placeholder 2">
            <a:extLst>
              <a:ext uri="{FF2B5EF4-FFF2-40B4-BE49-F238E27FC236}">
                <a16:creationId xmlns:a16="http://schemas.microsoft.com/office/drawing/2014/main" id="{5AFC8D8B-E425-4A70-95B6-1BD10EAC4329}"/>
              </a:ext>
            </a:extLst>
          </p:cNvPr>
          <p:cNvSpPr>
            <a:spLocks noGrp="1"/>
          </p:cNvSpPr>
          <p:nvPr>
            <p:custDataLst>
              <p:tags r:id="rId25"/>
            </p:custDataLst>
          </p:nvPr>
        </p:nvSpPr>
        <p:spPr bwMode="gray">
          <a:xfrm>
            <a:off x="1389063" y="4329113"/>
            <a:ext cx="481013" cy="122238"/>
          </a:xfrm>
          <a:prstGeom prst="rect">
            <a:avLst/>
          </a:prstGeom>
          <a:ln>
            <a:noFill/>
          </a:ln>
          <a:effectLst/>
        </p:spPr>
        <p:txBody>
          <a:bodyPr vert="horz" wrap="none" lIns="17463" tIns="0" rIns="17463"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47EEFA50-8196-448A-A5AB-D1763DD63484}" type="datetime'''''''''''''''''''F''''''''''u''''''r''''ni''t''u''re'''''">
              <a:rPr lang="en-US" altLang="en-US" sz="800" b="1" smtClean="0"/>
              <a:pPr lvl="0">
                <a:spcBef>
                  <a:spcPct val="0"/>
                </a:spcBef>
                <a:spcAft>
                  <a:spcPct val="0"/>
                </a:spcAft>
              </a:pPr>
              <a:t>Furniture</a:t>
            </a:fld>
            <a:endParaRPr lang="en-US" sz="800" b="1" noProof="0"/>
          </a:p>
        </p:txBody>
      </p:sp>
      <p:cxnSp>
        <p:nvCxnSpPr>
          <p:cNvPr id="429" name="Straight Connector 428">
            <a:extLst>
              <a:ext uri="{FF2B5EF4-FFF2-40B4-BE49-F238E27FC236}">
                <a16:creationId xmlns:a16="http://schemas.microsoft.com/office/drawing/2014/main" id="{29B3A99A-BBAC-4BA6-BB7C-45253DC28811}"/>
              </a:ext>
            </a:extLst>
          </p:cNvPr>
          <p:cNvCxnSpPr>
            <a:cxnSpLocks/>
          </p:cNvCxnSpPr>
          <p:nvPr/>
        </p:nvCxnSpPr>
        <p:spPr>
          <a:xfrm>
            <a:off x="6587284" y="1186144"/>
            <a:ext cx="0" cy="5557557"/>
          </a:xfrm>
          <a:prstGeom prst="line">
            <a:avLst/>
          </a:prstGeom>
          <a:ln w="12700">
            <a:solidFill>
              <a:srgbClr val="DC6900"/>
            </a:solidFill>
          </a:ln>
        </p:spPr>
        <p:style>
          <a:lnRef idx="1">
            <a:schemeClr val="accent1"/>
          </a:lnRef>
          <a:fillRef idx="0">
            <a:schemeClr val="accent1"/>
          </a:fillRef>
          <a:effectRef idx="0">
            <a:schemeClr val="accent1"/>
          </a:effectRef>
          <a:fontRef idx="minor">
            <a:schemeClr val="tx1"/>
          </a:fontRef>
        </p:style>
      </p:cxnSp>
      <p:sp>
        <p:nvSpPr>
          <p:cNvPr id="124" name="Isosceles Triangle 123">
            <a:extLst>
              <a:ext uri="{FF2B5EF4-FFF2-40B4-BE49-F238E27FC236}">
                <a16:creationId xmlns:a16="http://schemas.microsoft.com/office/drawing/2014/main" id="{80C7596B-EF4B-40B8-8BD7-9514CF580CEC}"/>
              </a:ext>
            </a:extLst>
          </p:cNvPr>
          <p:cNvSpPr/>
          <p:nvPr/>
        </p:nvSpPr>
        <p:spPr>
          <a:xfrm rot="5400000">
            <a:off x="5307106" y="3912733"/>
            <a:ext cx="2712756" cy="104378"/>
          </a:xfrm>
          <a:prstGeom prst="triangle">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31" name="Google Shape;1022;p95">
            <a:extLst>
              <a:ext uri="{FF2B5EF4-FFF2-40B4-BE49-F238E27FC236}">
                <a16:creationId xmlns:a16="http://schemas.microsoft.com/office/drawing/2014/main" id="{BC22DC37-3E35-4C52-98FC-8B47D5AF9CAA}"/>
              </a:ext>
            </a:extLst>
          </p:cNvPr>
          <p:cNvSpPr txBox="1"/>
          <p:nvPr/>
        </p:nvSpPr>
        <p:spPr>
          <a:xfrm>
            <a:off x="7263484" y="1329020"/>
            <a:ext cx="4849745" cy="179576"/>
          </a:xfrm>
          <a:prstGeom prst="rect">
            <a:avLst/>
          </a:prstGeom>
          <a:noFill/>
          <a:ln>
            <a:noFill/>
          </a:ln>
        </p:spPr>
        <p:txBody>
          <a:bodyPr spcFirstLastPara="1" wrap="square" lIns="0" tIns="0" rIns="0" bIns="0" anchor="ctr" anchorCtr="0">
            <a:noAutofit/>
          </a:bodyPr>
          <a:lstStyle/>
          <a:p>
            <a:pPr marR="0" lvl="0" indent="0" algn="ctr" fontAlgn="auto">
              <a:lnSpc>
                <a:spcPct val="100000"/>
              </a:lnSpc>
              <a:spcBef>
                <a:spcPts val="0"/>
              </a:spcBef>
              <a:spcAft>
                <a:spcPts val="0"/>
              </a:spcAft>
              <a:buClr>
                <a:srgbClr val="000000"/>
              </a:buClr>
              <a:buSzTx/>
              <a:buFont typeface="Arial"/>
              <a:buNone/>
              <a:tabLst/>
              <a:defRPr/>
            </a:pPr>
            <a:r>
              <a:rPr lang="en-US" sz="1400" b="1" i="1" dirty="0">
                <a:cs typeface="Arial" pitchFamily="34" charset="0"/>
                <a:sym typeface="Arial"/>
              </a:rPr>
              <a:t>Step 2: </a:t>
            </a:r>
            <a:r>
              <a:rPr lang="en-US" sz="1400" i="1" dirty="0">
                <a:cs typeface="Arial" pitchFamily="34" charset="0"/>
                <a:sym typeface="Arial"/>
              </a:rPr>
              <a:t>With further shortlisting, 4 sectors were finalized</a:t>
            </a:r>
          </a:p>
        </p:txBody>
      </p:sp>
      <p:grpSp>
        <p:nvGrpSpPr>
          <p:cNvPr id="5" name="Group 4">
            <a:extLst>
              <a:ext uri="{FF2B5EF4-FFF2-40B4-BE49-F238E27FC236}">
                <a16:creationId xmlns:a16="http://schemas.microsoft.com/office/drawing/2014/main" id="{A32F3568-8E85-4345-B26B-6BA6C3C3FACB}"/>
              </a:ext>
            </a:extLst>
          </p:cNvPr>
          <p:cNvGrpSpPr/>
          <p:nvPr/>
        </p:nvGrpSpPr>
        <p:grpSpPr>
          <a:xfrm>
            <a:off x="6887704" y="1801865"/>
            <a:ext cx="5206475" cy="2527248"/>
            <a:chOff x="7467600" y="5318124"/>
            <a:chExt cx="4635357" cy="1288580"/>
          </a:xfrm>
        </p:grpSpPr>
        <p:grpSp>
          <p:nvGrpSpPr>
            <p:cNvPr id="44" name="Group 43">
              <a:extLst>
                <a:ext uri="{FF2B5EF4-FFF2-40B4-BE49-F238E27FC236}">
                  <a16:creationId xmlns:a16="http://schemas.microsoft.com/office/drawing/2014/main" id="{59E854C9-1A74-413A-8A94-5DF786202B96}"/>
                </a:ext>
              </a:extLst>
            </p:cNvPr>
            <p:cNvGrpSpPr/>
            <p:nvPr/>
          </p:nvGrpSpPr>
          <p:grpSpPr>
            <a:xfrm>
              <a:off x="7583885" y="5605925"/>
              <a:ext cx="4188266" cy="903135"/>
              <a:chOff x="7583885" y="5605932"/>
              <a:chExt cx="4188266" cy="903140"/>
            </a:xfrm>
          </p:grpSpPr>
          <p:sp>
            <p:nvSpPr>
              <p:cNvPr id="274" name="Rectangle: Rounded Corners 273">
                <a:extLst>
                  <a:ext uri="{FF2B5EF4-FFF2-40B4-BE49-F238E27FC236}">
                    <a16:creationId xmlns:a16="http://schemas.microsoft.com/office/drawing/2014/main" id="{C1F74464-E24C-4603-90D3-F9B21F25BAFF}"/>
                  </a:ext>
                </a:extLst>
              </p:cNvPr>
              <p:cNvSpPr/>
              <p:nvPr/>
            </p:nvSpPr>
            <p:spPr>
              <a:xfrm>
                <a:off x="8086726" y="5622502"/>
                <a:ext cx="1513725" cy="370728"/>
              </a:xfrm>
              <a:prstGeom prst="roundRect">
                <a:avLst/>
              </a:prstGeom>
              <a:solidFill>
                <a:schemeClr val="accent3"/>
              </a:solidFill>
              <a:ln w="6350">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cs typeface="Arial" panose="020B0604020202020204" pitchFamily="34" charset="0"/>
                  </a:rPr>
                  <a:t>Food Processing</a:t>
                </a:r>
              </a:p>
            </p:txBody>
          </p:sp>
          <p:sp>
            <p:nvSpPr>
              <p:cNvPr id="275" name="Rectangle: Rounded Corners 274">
                <a:extLst>
                  <a:ext uri="{FF2B5EF4-FFF2-40B4-BE49-F238E27FC236}">
                    <a16:creationId xmlns:a16="http://schemas.microsoft.com/office/drawing/2014/main" id="{37CEC687-CB0E-45BD-B3E3-02FBCA818BC0}"/>
                  </a:ext>
                </a:extLst>
              </p:cNvPr>
              <p:cNvSpPr/>
              <p:nvPr/>
            </p:nvSpPr>
            <p:spPr>
              <a:xfrm>
                <a:off x="7583885" y="5622502"/>
                <a:ext cx="453232" cy="370728"/>
              </a:xfrm>
              <a:prstGeom prst="roundRect">
                <a:avLst/>
              </a:prstGeom>
              <a:solidFill>
                <a:srgbClr val="ED7D31">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76" name="Graphic 275" descr="Lunch Box with solid fill">
                <a:extLst>
                  <a:ext uri="{FF2B5EF4-FFF2-40B4-BE49-F238E27FC236}">
                    <a16:creationId xmlns:a16="http://schemas.microsoft.com/office/drawing/2014/main" id="{D43BC098-665D-45F6-9392-C803AF433142}"/>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609297" y="5620521"/>
                <a:ext cx="354013" cy="354013"/>
              </a:xfrm>
              <a:prstGeom prst="rect">
                <a:avLst/>
              </a:prstGeom>
            </p:spPr>
          </p:pic>
          <p:sp>
            <p:nvSpPr>
              <p:cNvPr id="277" name="Rectangle: Rounded Corners 276">
                <a:extLst>
                  <a:ext uri="{FF2B5EF4-FFF2-40B4-BE49-F238E27FC236}">
                    <a16:creationId xmlns:a16="http://schemas.microsoft.com/office/drawing/2014/main" id="{E4CFCE75-7A2D-4199-952C-B040DD50ABA1}"/>
                  </a:ext>
                </a:extLst>
              </p:cNvPr>
              <p:cNvSpPr/>
              <p:nvPr/>
            </p:nvSpPr>
            <p:spPr>
              <a:xfrm>
                <a:off x="10258426" y="5620521"/>
                <a:ext cx="1513725" cy="370728"/>
              </a:xfrm>
              <a:prstGeom prst="roundRect">
                <a:avLst/>
              </a:prstGeom>
              <a:solidFill>
                <a:schemeClr val="accent3"/>
              </a:solidFill>
              <a:ln w="6350">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cs typeface="Arial" panose="020B0604020202020204" pitchFamily="34" charset="0"/>
                  </a:rPr>
                  <a:t>Pharmaceutical</a:t>
                </a:r>
              </a:p>
            </p:txBody>
          </p:sp>
          <p:sp>
            <p:nvSpPr>
              <p:cNvPr id="278" name="Rectangle: Rounded Corners 277">
                <a:extLst>
                  <a:ext uri="{FF2B5EF4-FFF2-40B4-BE49-F238E27FC236}">
                    <a16:creationId xmlns:a16="http://schemas.microsoft.com/office/drawing/2014/main" id="{92B27EE2-4D80-4171-B6DC-ED5ACB583C9C}"/>
                  </a:ext>
                </a:extLst>
              </p:cNvPr>
              <p:cNvSpPr/>
              <p:nvPr/>
            </p:nvSpPr>
            <p:spPr>
              <a:xfrm>
                <a:off x="9755585" y="5620521"/>
                <a:ext cx="453232" cy="370728"/>
              </a:xfrm>
              <a:prstGeom prst="roundRect">
                <a:avLst/>
              </a:prstGeom>
              <a:solidFill>
                <a:srgbClr val="ED7D31">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79" name="Graphic 278" descr="Heartbeat with solid fill">
                <a:extLst>
                  <a:ext uri="{FF2B5EF4-FFF2-40B4-BE49-F238E27FC236}">
                    <a16:creationId xmlns:a16="http://schemas.microsoft.com/office/drawing/2014/main" id="{4664A60E-600D-45FD-AA18-A8318498370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805192" y="5605932"/>
                <a:ext cx="354013" cy="354013"/>
              </a:xfrm>
              <a:prstGeom prst="rect">
                <a:avLst/>
              </a:prstGeom>
            </p:spPr>
          </p:pic>
          <p:sp>
            <p:nvSpPr>
              <p:cNvPr id="280" name="Rectangle: Rounded Corners 279">
                <a:extLst>
                  <a:ext uri="{FF2B5EF4-FFF2-40B4-BE49-F238E27FC236}">
                    <a16:creationId xmlns:a16="http://schemas.microsoft.com/office/drawing/2014/main" id="{86FEA137-0407-43A1-B0FA-3B47FE555E5A}"/>
                  </a:ext>
                </a:extLst>
              </p:cNvPr>
              <p:cNvSpPr/>
              <p:nvPr/>
            </p:nvSpPr>
            <p:spPr>
              <a:xfrm>
                <a:off x="8086726" y="6118780"/>
                <a:ext cx="1513725" cy="370728"/>
              </a:xfrm>
              <a:prstGeom prst="roundRect">
                <a:avLst/>
              </a:prstGeom>
              <a:solidFill>
                <a:schemeClr val="accent3"/>
              </a:solidFill>
              <a:ln w="6350">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cs typeface="Arial" panose="020B0604020202020204" pitchFamily="34" charset="0"/>
                  </a:rPr>
                  <a:t>Textile and Wearing apparel</a:t>
                </a:r>
              </a:p>
            </p:txBody>
          </p:sp>
          <p:sp>
            <p:nvSpPr>
              <p:cNvPr id="281" name="Rectangle: Rounded Corners 280">
                <a:extLst>
                  <a:ext uri="{FF2B5EF4-FFF2-40B4-BE49-F238E27FC236}">
                    <a16:creationId xmlns:a16="http://schemas.microsoft.com/office/drawing/2014/main" id="{6F37149E-4DF7-479F-9068-C037F122C96E}"/>
                  </a:ext>
                </a:extLst>
              </p:cNvPr>
              <p:cNvSpPr/>
              <p:nvPr/>
            </p:nvSpPr>
            <p:spPr>
              <a:xfrm>
                <a:off x="7583885" y="6118781"/>
                <a:ext cx="453232" cy="370728"/>
              </a:xfrm>
              <a:prstGeom prst="roundRect">
                <a:avLst/>
              </a:prstGeom>
              <a:solidFill>
                <a:srgbClr val="ED7D31">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82" name="Graphic 281" descr="Suit with solid fill">
                <a:extLst>
                  <a:ext uri="{FF2B5EF4-FFF2-40B4-BE49-F238E27FC236}">
                    <a16:creationId xmlns:a16="http://schemas.microsoft.com/office/drawing/2014/main" id="{72DAFA71-8073-42FB-8D7F-8CA32D51BAF0}"/>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7633493" y="6138344"/>
                <a:ext cx="354013" cy="354013"/>
              </a:xfrm>
              <a:prstGeom prst="rect">
                <a:avLst/>
              </a:prstGeom>
            </p:spPr>
          </p:pic>
          <p:sp>
            <p:nvSpPr>
              <p:cNvPr id="283" name="Rectangle: Rounded Corners 282">
                <a:extLst>
                  <a:ext uri="{FF2B5EF4-FFF2-40B4-BE49-F238E27FC236}">
                    <a16:creationId xmlns:a16="http://schemas.microsoft.com/office/drawing/2014/main" id="{F436215F-D6DC-4F88-9D8E-BA5786417697}"/>
                  </a:ext>
                </a:extLst>
              </p:cNvPr>
              <p:cNvSpPr/>
              <p:nvPr/>
            </p:nvSpPr>
            <p:spPr>
              <a:xfrm>
                <a:off x="10258426" y="6138344"/>
                <a:ext cx="1513725" cy="370728"/>
              </a:xfrm>
              <a:prstGeom prst="roundRect">
                <a:avLst/>
              </a:prstGeom>
              <a:solidFill>
                <a:schemeClr val="accent3"/>
              </a:solidFill>
              <a:ln w="6350">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cs typeface="Arial" panose="020B0604020202020204" pitchFamily="34" charset="0"/>
                  </a:rPr>
                  <a:t>Fast Moving Consumer Goods (FMCG)</a:t>
                </a:r>
              </a:p>
            </p:txBody>
          </p:sp>
          <p:sp>
            <p:nvSpPr>
              <p:cNvPr id="284" name="Rectangle: Rounded Corners 283">
                <a:extLst>
                  <a:ext uri="{FF2B5EF4-FFF2-40B4-BE49-F238E27FC236}">
                    <a16:creationId xmlns:a16="http://schemas.microsoft.com/office/drawing/2014/main" id="{AC7D4E80-5C0F-4D14-98D6-03CA9A4816E2}"/>
                  </a:ext>
                </a:extLst>
              </p:cNvPr>
              <p:cNvSpPr/>
              <p:nvPr/>
            </p:nvSpPr>
            <p:spPr>
              <a:xfrm>
                <a:off x="9758935" y="6138344"/>
                <a:ext cx="453232" cy="370728"/>
              </a:xfrm>
              <a:prstGeom prst="roundRect">
                <a:avLst/>
              </a:prstGeom>
              <a:solidFill>
                <a:srgbClr val="ED7D31">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85" name="Graphic 284" descr="Soap with solid fill">
                <a:extLst>
                  <a:ext uri="{FF2B5EF4-FFF2-40B4-BE49-F238E27FC236}">
                    <a16:creationId xmlns:a16="http://schemas.microsoft.com/office/drawing/2014/main" id="{22655475-649B-4C15-8088-AB68B96EBB4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9803203" y="6153065"/>
                <a:ext cx="356002" cy="356002"/>
              </a:xfrm>
              <a:prstGeom prst="rect">
                <a:avLst/>
              </a:prstGeom>
            </p:spPr>
          </p:pic>
        </p:grpSp>
        <p:sp>
          <p:nvSpPr>
            <p:cNvPr id="287" name="Rectangle 286">
              <a:extLst>
                <a:ext uri="{FF2B5EF4-FFF2-40B4-BE49-F238E27FC236}">
                  <a16:creationId xmlns:a16="http://schemas.microsoft.com/office/drawing/2014/main" id="{9DE6F3C1-684A-46CD-8DA3-C9047501AF0A}"/>
                </a:ext>
              </a:extLst>
            </p:cNvPr>
            <p:cNvSpPr/>
            <p:nvPr/>
          </p:nvSpPr>
          <p:spPr>
            <a:xfrm>
              <a:off x="7467600" y="5395719"/>
              <a:ext cx="4635357" cy="1210985"/>
            </a:xfrm>
            <a:prstGeom prst="rect">
              <a:avLst/>
            </a:prstGeom>
            <a:noFill/>
            <a:ln>
              <a:solidFill>
                <a:schemeClr val="accent5">
                  <a:lumMod val="75000"/>
                </a:schemeClr>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286" name="TextBox 285">
              <a:extLst>
                <a:ext uri="{FF2B5EF4-FFF2-40B4-BE49-F238E27FC236}">
                  <a16:creationId xmlns:a16="http://schemas.microsoft.com/office/drawing/2014/main" id="{05D5328E-76FD-4D78-ACF9-52896C1D146A}"/>
                </a:ext>
              </a:extLst>
            </p:cNvPr>
            <p:cNvSpPr txBox="1"/>
            <p:nvPr/>
          </p:nvSpPr>
          <p:spPr>
            <a:xfrm>
              <a:off x="8994479" y="5318124"/>
              <a:ext cx="1926948" cy="155800"/>
            </a:xfrm>
            <a:prstGeom prst="rect">
              <a:avLst/>
            </a:prstGeom>
            <a:solidFill>
              <a:schemeClr val="tx2">
                <a:lumMod val="20000"/>
                <a:lumOff val="80000"/>
              </a:schemeClr>
            </a:solidFill>
          </p:spPr>
          <p:txBody>
            <a:bodyPr wrap="square" anchor="ctr">
              <a:spAutoFit/>
            </a:bodyPr>
            <a:lstStyle/>
            <a:p>
              <a:r>
                <a:rPr lang="en-US" sz="1100" b="1" i="1">
                  <a:latin typeface="Arial"/>
                  <a:cs typeface="Arial"/>
                  <a:sym typeface="Arial"/>
                </a:rPr>
                <a:t>Final Shortlisted Sectors</a:t>
              </a:r>
              <a:endParaRPr lang="en-US" sz="1100" b="1" i="1"/>
            </a:p>
          </p:txBody>
        </p:sp>
      </p:grpSp>
      <p:sp>
        <p:nvSpPr>
          <p:cNvPr id="302" name="TextBox 301">
            <a:extLst>
              <a:ext uri="{FF2B5EF4-FFF2-40B4-BE49-F238E27FC236}">
                <a16:creationId xmlns:a16="http://schemas.microsoft.com/office/drawing/2014/main" id="{49AC2B24-8FC5-490D-95F4-BCA724C35AEB}"/>
              </a:ext>
            </a:extLst>
          </p:cNvPr>
          <p:cNvSpPr txBox="1"/>
          <p:nvPr/>
        </p:nvSpPr>
        <p:spPr>
          <a:xfrm>
            <a:off x="442914" y="6606712"/>
            <a:ext cx="4914898" cy="153888"/>
          </a:xfrm>
          <a:prstGeom prst="rect">
            <a:avLst/>
          </a:prstGeom>
          <a:noFill/>
          <a:ln>
            <a:noFill/>
          </a:ln>
        </p:spPr>
        <p:txBody>
          <a:bodyPr wrap="square" lIns="0" tIns="0" rIns="0" bIns="0" rtlCol="0">
            <a:spAutoFit/>
          </a:bodyPr>
          <a:lstStyle/>
          <a:p>
            <a:r>
              <a:rPr lang="en-US" sz="1000" noProof="0">
                <a:solidFill>
                  <a:schemeClr val="tx1"/>
                </a:solidFill>
                <a:cs typeface="Arial" pitchFamily="34" charset="0"/>
              </a:rPr>
              <a:t>Size of bubble represents current output of the sector in Kazakhstan and Uzbekistan</a:t>
            </a:r>
          </a:p>
        </p:txBody>
      </p:sp>
      <p:sp>
        <p:nvSpPr>
          <p:cNvPr id="138" name="Oval 137">
            <a:extLst>
              <a:ext uri="{FF2B5EF4-FFF2-40B4-BE49-F238E27FC236}">
                <a16:creationId xmlns:a16="http://schemas.microsoft.com/office/drawing/2014/main" id="{C0990C7A-AC7C-4934-A49D-4043BD1E7D69}"/>
              </a:ext>
            </a:extLst>
          </p:cNvPr>
          <p:cNvSpPr/>
          <p:nvPr/>
        </p:nvSpPr>
        <p:spPr>
          <a:xfrm>
            <a:off x="535540" y="6353125"/>
            <a:ext cx="274320" cy="274320"/>
          </a:xfrm>
          <a:prstGeom prst="ellipse">
            <a:avLst/>
          </a:prstGeom>
          <a:solidFill>
            <a:srgbClr val="D04A02"/>
          </a:solidFill>
          <a:ln w="6350">
            <a:solidFill>
              <a:srgbClr val="A3202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5" name="TextBox 304">
            <a:extLst>
              <a:ext uri="{FF2B5EF4-FFF2-40B4-BE49-F238E27FC236}">
                <a16:creationId xmlns:a16="http://schemas.microsoft.com/office/drawing/2014/main" id="{3676BA91-1125-42C0-880B-03678F948B5D}"/>
              </a:ext>
            </a:extLst>
          </p:cNvPr>
          <p:cNvSpPr txBox="1"/>
          <p:nvPr/>
        </p:nvSpPr>
        <p:spPr>
          <a:xfrm>
            <a:off x="925288" y="6413341"/>
            <a:ext cx="2011680" cy="153888"/>
          </a:xfrm>
          <a:prstGeom prst="rect">
            <a:avLst/>
          </a:prstGeom>
          <a:noFill/>
          <a:ln>
            <a:noFill/>
          </a:ln>
        </p:spPr>
        <p:txBody>
          <a:bodyPr wrap="square" lIns="0" tIns="0" rIns="0" bIns="0" rtlCol="0">
            <a:spAutoFit/>
          </a:bodyPr>
          <a:lstStyle/>
          <a:p>
            <a:r>
              <a:rPr lang="en-US" sz="1000" i="1" noProof="0">
                <a:solidFill>
                  <a:schemeClr val="tx1"/>
                </a:solidFill>
                <a:cs typeface="Arial" pitchFamily="34" charset="0"/>
              </a:rPr>
              <a:t>Shortlisted Sectors</a:t>
            </a:r>
          </a:p>
        </p:txBody>
      </p:sp>
      <p:sp>
        <p:nvSpPr>
          <p:cNvPr id="306" name="Oval 305">
            <a:extLst>
              <a:ext uri="{FF2B5EF4-FFF2-40B4-BE49-F238E27FC236}">
                <a16:creationId xmlns:a16="http://schemas.microsoft.com/office/drawing/2014/main" id="{B782013D-43E2-49E8-BA99-FDA5BABE3350}"/>
              </a:ext>
            </a:extLst>
          </p:cNvPr>
          <p:cNvSpPr/>
          <p:nvPr/>
        </p:nvSpPr>
        <p:spPr>
          <a:xfrm>
            <a:off x="2266591" y="6353125"/>
            <a:ext cx="274320" cy="274320"/>
          </a:xfrm>
          <a:prstGeom prst="ellipse">
            <a:avLst/>
          </a:prstGeom>
          <a:solidFill>
            <a:srgbClr val="FFB600"/>
          </a:solidFill>
          <a:ln w="6350">
            <a:solidFill>
              <a:srgbClr val="FFB60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7" name="TextBox 306">
            <a:extLst>
              <a:ext uri="{FF2B5EF4-FFF2-40B4-BE49-F238E27FC236}">
                <a16:creationId xmlns:a16="http://schemas.microsoft.com/office/drawing/2014/main" id="{C25D11D5-811F-404E-8EDC-964543399609}"/>
              </a:ext>
            </a:extLst>
          </p:cNvPr>
          <p:cNvSpPr txBox="1"/>
          <p:nvPr/>
        </p:nvSpPr>
        <p:spPr>
          <a:xfrm>
            <a:off x="2656339" y="6413341"/>
            <a:ext cx="3291840" cy="153888"/>
          </a:xfrm>
          <a:prstGeom prst="rect">
            <a:avLst/>
          </a:prstGeom>
          <a:noFill/>
          <a:ln>
            <a:noFill/>
          </a:ln>
        </p:spPr>
        <p:txBody>
          <a:bodyPr wrap="square" lIns="0" tIns="0" rIns="0" bIns="0" rtlCol="0">
            <a:spAutoFit/>
          </a:bodyPr>
          <a:lstStyle/>
          <a:p>
            <a:r>
              <a:rPr lang="en-US" sz="1000" i="1" noProof="0" dirty="0">
                <a:solidFill>
                  <a:schemeClr val="tx1"/>
                </a:solidFill>
                <a:cs typeface="Arial" pitchFamily="34" charset="0"/>
              </a:rPr>
              <a:t>Sectors didn’t get considered for initial development</a:t>
            </a:r>
          </a:p>
        </p:txBody>
      </p:sp>
      <p:graphicFrame>
        <p:nvGraphicFramePr>
          <p:cNvPr id="101" name="Diagram 100">
            <a:extLst>
              <a:ext uri="{FF2B5EF4-FFF2-40B4-BE49-F238E27FC236}">
                <a16:creationId xmlns:a16="http://schemas.microsoft.com/office/drawing/2014/main" id="{48923AD0-65B1-4D8D-ABEF-D021BD136FA0}"/>
              </a:ext>
            </a:extLst>
          </p:cNvPr>
          <p:cNvGraphicFramePr/>
          <p:nvPr>
            <p:extLst>
              <p:ext uri="{D42A27DB-BD31-4B8C-83A1-F6EECF244321}">
                <p14:modId xmlns:p14="http://schemas.microsoft.com/office/powerpoint/2010/main" val="4055838456"/>
              </p:ext>
            </p:extLst>
          </p:nvPr>
        </p:nvGraphicFramePr>
        <p:xfrm>
          <a:off x="442915" y="0"/>
          <a:ext cx="11749086" cy="223464"/>
        </p:xfrm>
        <a:graphic>
          <a:graphicData uri="http://schemas.openxmlformats.org/drawingml/2006/diagram">
            <dgm:relIds xmlns:dgm="http://schemas.openxmlformats.org/drawingml/2006/diagram" xmlns:r="http://schemas.openxmlformats.org/officeDocument/2006/relationships" r:dm="rId39" r:lo="rId40" r:qs="rId41" r:cs="rId42"/>
          </a:graphicData>
        </a:graphic>
      </p:graphicFrame>
      <p:sp>
        <p:nvSpPr>
          <p:cNvPr id="3" name="Date Placeholder 2">
            <a:extLst>
              <a:ext uri="{FF2B5EF4-FFF2-40B4-BE49-F238E27FC236}">
                <a16:creationId xmlns:a16="http://schemas.microsoft.com/office/drawing/2014/main" id="{08A7C030-3B19-4B2D-B4A6-29F4F3A77478}"/>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4" name="Slide Number Placeholder 3">
            <a:extLst>
              <a:ext uri="{FF2B5EF4-FFF2-40B4-BE49-F238E27FC236}">
                <a16:creationId xmlns:a16="http://schemas.microsoft.com/office/drawing/2014/main" id="{C68040C6-BD43-45D2-B294-833A7D09E9F9}"/>
              </a:ext>
            </a:extLst>
          </p:cNvPr>
          <p:cNvSpPr>
            <a:spLocks noGrp="1"/>
          </p:cNvSpPr>
          <p:nvPr>
            <p:ph type="sldNum" idx="12"/>
          </p:nvPr>
        </p:nvSpPr>
        <p:spPr/>
        <p:txBody>
          <a:bodyPr/>
          <a:lstStyle/>
          <a:p>
            <a:pPr lvl="0"/>
            <a:fld id="{00000000-1234-1234-1234-123412341234}" type="slidenum">
              <a:rPr lang="en-US" smtClean="0"/>
              <a:pPr lvl="0"/>
              <a:t>14</a:t>
            </a:fld>
            <a:endParaRPr lang="en-US"/>
          </a:p>
        </p:txBody>
      </p:sp>
      <p:sp>
        <p:nvSpPr>
          <p:cNvPr id="72" name="Google Shape;1022;p95">
            <a:extLst>
              <a:ext uri="{FF2B5EF4-FFF2-40B4-BE49-F238E27FC236}">
                <a16:creationId xmlns:a16="http://schemas.microsoft.com/office/drawing/2014/main" id="{523D13FD-09E5-4C15-9AD4-6D6E04B6BE93}"/>
              </a:ext>
            </a:extLst>
          </p:cNvPr>
          <p:cNvSpPr txBox="1"/>
          <p:nvPr/>
        </p:nvSpPr>
        <p:spPr>
          <a:xfrm>
            <a:off x="6906751" y="4344987"/>
            <a:ext cx="5206475" cy="1512295"/>
          </a:xfrm>
          <a:prstGeom prst="rect">
            <a:avLst/>
          </a:prstGeom>
          <a:noFill/>
          <a:ln>
            <a:noFill/>
          </a:ln>
        </p:spPr>
        <p:txBody>
          <a:bodyPr spcFirstLastPara="1" wrap="square" lIns="0" tIns="0" rIns="0" bIns="0" anchor="ctr" anchorCtr="0">
            <a:noAutofit/>
          </a:bodyPr>
          <a:lstStyle/>
          <a:p>
            <a:pPr marR="0" lvl="0" indent="0" fontAlgn="auto">
              <a:lnSpc>
                <a:spcPct val="100000"/>
              </a:lnSpc>
              <a:spcBef>
                <a:spcPts val="0"/>
              </a:spcBef>
              <a:spcAft>
                <a:spcPts val="0"/>
              </a:spcAft>
              <a:buClr>
                <a:srgbClr val="000000"/>
              </a:buClr>
              <a:buSzTx/>
              <a:buFont typeface="Arial"/>
              <a:buNone/>
              <a:tabLst/>
              <a:defRPr/>
            </a:pPr>
            <a:r>
              <a:rPr lang="en-US" sz="1200" i="1" dirty="0">
                <a:cs typeface="Arial" pitchFamily="34" charset="0"/>
                <a:sym typeface="Arial"/>
              </a:rPr>
              <a:t>Above were shortlisted based on</a:t>
            </a:r>
          </a:p>
          <a:p>
            <a:pPr marR="0" lvl="0" indent="0" fontAlgn="auto">
              <a:lnSpc>
                <a:spcPct val="100000"/>
              </a:lnSpc>
              <a:spcBef>
                <a:spcPts val="0"/>
              </a:spcBef>
              <a:spcAft>
                <a:spcPts val="0"/>
              </a:spcAft>
              <a:buClr>
                <a:srgbClr val="000000"/>
              </a:buClr>
              <a:buSzTx/>
              <a:buFont typeface="Arial"/>
              <a:buNone/>
              <a:tabLst/>
              <a:defRPr/>
            </a:pPr>
            <a:endParaRPr lang="en-US" sz="1200" i="1" dirty="0">
              <a:cs typeface="Arial" pitchFamily="34" charset="0"/>
              <a:sym typeface="Arial"/>
            </a:endParaRPr>
          </a:p>
          <a:p>
            <a:pPr>
              <a:buClr>
                <a:srgbClr val="000000"/>
              </a:buClr>
              <a:defRPr/>
            </a:pPr>
            <a:r>
              <a:rPr lang="en-US" sz="1200" b="1" i="1" dirty="0">
                <a:cs typeface="Arial"/>
                <a:sym typeface="Arial"/>
              </a:rPr>
              <a:t>1) Trade compliance requirement: </a:t>
            </a:r>
            <a:r>
              <a:rPr lang="en-US" sz="1200" i="1" noProof="0" dirty="0">
                <a:cs typeface="Arial" pitchFamily="34" charset="0"/>
              </a:rPr>
              <a:t>Sectors with high compliance requirement shall benefit from ICIC</a:t>
            </a:r>
          </a:p>
          <a:p>
            <a:pPr>
              <a:buClr>
                <a:srgbClr val="000000"/>
              </a:buClr>
              <a:defRPr/>
            </a:pPr>
            <a:r>
              <a:rPr lang="en-US" sz="1200" b="1" i="1" dirty="0">
                <a:cs typeface="Arial"/>
                <a:sym typeface="Arial"/>
              </a:rPr>
              <a:t> </a:t>
            </a:r>
            <a:endParaRPr lang="en-US" sz="1200" b="1" i="1" dirty="0"/>
          </a:p>
          <a:p>
            <a:pPr>
              <a:buClr>
                <a:srgbClr val="000000"/>
              </a:buClr>
              <a:defRPr/>
            </a:pPr>
            <a:r>
              <a:rPr lang="en-US" sz="1200" b="1" i="1" dirty="0">
                <a:cs typeface="Arial"/>
                <a:sym typeface="Arial"/>
              </a:rPr>
              <a:t>2) Time Sensitivity of goods: </a:t>
            </a:r>
            <a:r>
              <a:rPr lang="en-US" sz="1200" i="1" noProof="0" dirty="0">
                <a:cs typeface="Arial" pitchFamily="34" charset="0"/>
              </a:rPr>
              <a:t>Sectors with respectively shorter lifecycle sha</a:t>
            </a:r>
            <a:r>
              <a:rPr lang="en-US" sz="1200" i="1" dirty="0" err="1">
                <a:cs typeface="Arial" pitchFamily="34" charset="0"/>
              </a:rPr>
              <a:t>ll</a:t>
            </a:r>
            <a:r>
              <a:rPr lang="en-US" sz="1200" i="1" dirty="0">
                <a:cs typeface="Arial" pitchFamily="34" charset="0"/>
              </a:rPr>
              <a:t> benefit from ICIC</a:t>
            </a:r>
            <a:r>
              <a:rPr lang="en-US" sz="1200" i="1" noProof="0" dirty="0">
                <a:cs typeface="Arial" pitchFamily="34" charset="0"/>
              </a:rPr>
              <a:t> </a:t>
            </a:r>
            <a:endParaRPr lang="en-US" sz="1200" b="1" i="1" dirty="0"/>
          </a:p>
        </p:txBody>
      </p:sp>
    </p:spTree>
    <p:custDataLst>
      <p:custData r:id="rId1"/>
    </p:custDataLst>
    <p:extLst>
      <p:ext uri="{BB962C8B-B14F-4D97-AF65-F5344CB8AC3E}">
        <p14:creationId xmlns:p14="http://schemas.microsoft.com/office/powerpoint/2010/main" val="22898423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148693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pPr lvl="0"/>
            <a:r>
              <a:rPr lang="en-US" sz="2400" b="0" dirty="0">
                <a:latin typeface="Georgia" panose="02040502050405020303" pitchFamily="18" charset="0"/>
              </a:rPr>
              <a:t>Fiscal and Non-Fiscal Incentives for Investors</a:t>
            </a:r>
          </a:p>
        </p:txBody>
      </p:sp>
      <p:sp>
        <p:nvSpPr>
          <p:cNvPr id="6" name="Rectangle 5">
            <a:extLst>
              <a:ext uri="{FF2B5EF4-FFF2-40B4-BE49-F238E27FC236}">
                <a16:creationId xmlns:a16="http://schemas.microsoft.com/office/drawing/2014/main" id="{3AD7844C-F302-4880-9FD6-AB8C906C3B77}"/>
              </a:ext>
            </a:extLst>
          </p:cNvPr>
          <p:cNvSpPr/>
          <p:nvPr/>
        </p:nvSpPr>
        <p:spPr>
          <a:xfrm>
            <a:off x="442912" y="1318410"/>
            <a:ext cx="10549577" cy="22860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tIns="0" rIns="0" bIns="0" rtlCol="0" anchor="t" anchorCtr="0"/>
          <a:lstStyle/>
          <a:p>
            <a:pPr algn="ctr">
              <a:lnSpc>
                <a:spcPct val="100000"/>
              </a:lnSpc>
            </a:pPr>
            <a:r>
              <a:rPr lang="en-US" sz="1400" b="1">
                <a:solidFill>
                  <a:srgbClr val="FF0000"/>
                </a:solidFill>
              </a:rPr>
              <a:t>To attract investors to ICIC, the following incentives are proposed</a:t>
            </a:r>
          </a:p>
        </p:txBody>
      </p:sp>
      <p:sp>
        <p:nvSpPr>
          <p:cNvPr id="7" name="Google Shape;2235;p293">
            <a:extLst>
              <a:ext uri="{FF2B5EF4-FFF2-40B4-BE49-F238E27FC236}">
                <a16:creationId xmlns:a16="http://schemas.microsoft.com/office/drawing/2014/main" id="{673857C2-5CAB-4667-BB7D-131044649C11}"/>
              </a:ext>
            </a:extLst>
          </p:cNvPr>
          <p:cNvSpPr/>
          <p:nvPr/>
        </p:nvSpPr>
        <p:spPr>
          <a:xfrm>
            <a:off x="464586" y="1627794"/>
            <a:ext cx="11206858" cy="228601"/>
          </a:xfrm>
          <a:prstGeom prst="rect">
            <a:avLst/>
          </a:prstGeom>
          <a:solidFill>
            <a:schemeClr val="accent5">
              <a:lumMod val="75000"/>
            </a:schemeClr>
          </a:solidFill>
          <a:ln>
            <a:noFill/>
          </a:ln>
        </p:spPr>
        <p:txBody>
          <a:bodyPr spcFirstLastPara="1" wrap="square" lIns="91425" tIns="45700" rIns="91425" bIns="45700" anchor="ctr" anchorCtr="0">
            <a:noAutofit/>
          </a:bodyPr>
          <a:lstStyle/>
          <a:p>
            <a:pPr algn="ctr"/>
            <a:r>
              <a:rPr lang="en-GB" sz="1400" b="1">
                <a:solidFill>
                  <a:schemeClr val="bg1"/>
                </a:solidFill>
                <a:sym typeface="Helvetica Neue"/>
              </a:rPr>
              <a:t>Customized Incentive Package</a:t>
            </a:r>
            <a:endParaRPr lang="en-GB">
              <a:solidFill>
                <a:schemeClr val="bg1"/>
              </a:solidFill>
            </a:endParaRPr>
          </a:p>
        </p:txBody>
      </p:sp>
      <p:graphicFrame>
        <p:nvGraphicFramePr>
          <p:cNvPr id="16" name="Google Shape;2236;p293">
            <a:extLst>
              <a:ext uri="{FF2B5EF4-FFF2-40B4-BE49-F238E27FC236}">
                <a16:creationId xmlns:a16="http://schemas.microsoft.com/office/drawing/2014/main" id="{5E218DC0-DC9C-4423-94C4-A98753DBFBD3}"/>
              </a:ext>
            </a:extLst>
          </p:cNvPr>
          <p:cNvGraphicFramePr/>
          <p:nvPr>
            <p:extLst>
              <p:ext uri="{D42A27DB-BD31-4B8C-83A1-F6EECF244321}">
                <p14:modId xmlns:p14="http://schemas.microsoft.com/office/powerpoint/2010/main" val="2608163816"/>
              </p:ext>
            </p:extLst>
          </p:nvPr>
        </p:nvGraphicFramePr>
        <p:xfrm>
          <a:off x="453198" y="2373330"/>
          <a:ext cx="3445846" cy="4045240"/>
        </p:xfrm>
        <a:graphic>
          <a:graphicData uri="http://schemas.openxmlformats.org/drawingml/2006/table">
            <a:tbl>
              <a:tblPr bandRow="1">
                <a:effectLst>
                  <a:outerShdw blurRad="50800" dist="38100" algn="l" rotWithShape="0">
                    <a:prstClr val="black">
                      <a:alpha val="40000"/>
                    </a:prstClr>
                  </a:outerShdw>
                </a:effectLst>
                <a:tableStyleId>{0E3FDE45-AF77-4B5C-9715-49D594BDF05E}</a:tableStyleId>
              </a:tblPr>
              <a:tblGrid>
                <a:gridCol w="3445846">
                  <a:extLst>
                    <a:ext uri="{9D8B030D-6E8A-4147-A177-3AD203B41FA5}">
                      <a16:colId xmlns:a16="http://schemas.microsoft.com/office/drawing/2014/main" val="20001"/>
                    </a:ext>
                  </a:extLst>
                </a:gridCol>
              </a:tblGrid>
              <a:tr h="5056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Direct Tax benefits</a:t>
                      </a:r>
                      <a:endParaRPr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2360420061"/>
                  </a:ext>
                </a:extLst>
              </a:tr>
              <a:tr h="505655">
                <a:tc>
                  <a:txBody>
                    <a:bodyPr/>
                    <a:lstStyle/>
                    <a:p>
                      <a:pPr marL="0" marR="0" lvl="0" indent="0" algn="l" rtl="0">
                        <a:lnSpc>
                          <a:spcPct val="100000"/>
                        </a:lnSpc>
                        <a:spcBef>
                          <a:spcPts val="0"/>
                        </a:spcBef>
                        <a:spcAft>
                          <a:spcPts val="0"/>
                        </a:spcAft>
                        <a:buNone/>
                      </a:pPr>
                      <a:r>
                        <a:rPr lang="en-US" sz="1200" dirty="0"/>
                        <a:t>Subsidized land cost and incentive on registration duties</a:t>
                      </a:r>
                      <a:endParaRPr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3529080229"/>
                  </a:ext>
                </a:extLst>
              </a:tr>
              <a:tr h="505655">
                <a:tc>
                  <a:txBody>
                    <a:bodyPr/>
                    <a:lstStyle/>
                    <a:p>
                      <a:pPr marL="0" marR="0" lvl="0" indent="0" algn="l" rtl="0">
                        <a:lnSpc>
                          <a:spcPct val="100000"/>
                        </a:lnSpc>
                        <a:spcBef>
                          <a:spcPts val="0"/>
                        </a:spcBef>
                        <a:spcAft>
                          <a:spcPts val="0"/>
                        </a:spcAft>
                        <a:buNone/>
                      </a:pPr>
                      <a:r>
                        <a:rPr lang="en-US" sz="1200" dirty="0"/>
                        <a:t>Sector wise production linked incentives </a:t>
                      </a:r>
                      <a:endParaRPr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1736674040"/>
                  </a:ext>
                </a:extLst>
              </a:tr>
              <a:tr h="505655">
                <a:tc>
                  <a:txBody>
                    <a:bodyPr/>
                    <a:lstStyle/>
                    <a:p>
                      <a:pPr marL="0" marR="0" lvl="0" indent="0" algn="l" rtl="0">
                        <a:lnSpc>
                          <a:spcPct val="100000"/>
                        </a:lnSpc>
                        <a:spcBef>
                          <a:spcPts val="0"/>
                        </a:spcBef>
                        <a:spcAft>
                          <a:spcPts val="0"/>
                        </a:spcAft>
                        <a:buNone/>
                      </a:pPr>
                      <a:r>
                        <a:rPr lang="en-US" sz="1200" dirty="0"/>
                        <a:t>Capital subsidies for creation of new units </a:t>
                      </a:r>
                      <a:endParaRPr lang="en-US"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343982693"/>
                  </a:ext>
                </a:extLst>
              </a:tr>
              <a:tr h="505655">
                <a:tc>
                  <a:txBody>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lang="en-US" sz="1200" dirty="0"/>
                        <a:t>Incentives for introduction of new technology </a:t>
                      </a:r>
                      <a:endParaRPr lang="en-US" sz="1200" dirty="0">
                        <a:latin typeface="Arial" panose="020B0604020202020204" pitchFamily="34" charset="0"/>
                        <a:cs typeface="Arial" panose="020B0604020202020204" pitchFamily="34" charset="0"/>
                      </a:endParaRPr>
                    </a:p>
                  </a:txBody>
                  <a:tcPr marL="91450" marR="91450" marT="45725" marB="45725" anchor="ctr"/>
                </a:tc>
                <a:extLst>
                  <a:ext uri="{0D108BD9-81ED-4DB2-BD59-A6C34878D82A}">
                    <a16:rowId xmlns:a16="http://schemas.microsoft.com/office/drawing/2014/main" val="2197740471"/>
                  </a:ext>
                </a:extLst>
              </a:tr>
              <a:tr h="505655">
                <a:tc>
                  <a:txBody>
                    <a:bodyPr/>
                    <a:lstStyle/>
                    <a:p>
                      <a:pPr marL="0" marR="0" lvl="0" indent="0" algn="l" defTabSz="89901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Employment generation subsidy</a:t>
                      </a:r>
                    </a:p>
                  </a:txBody>
                  <a:tcPr marL="91450" marR="91450" marT="45725" marB="45725" anchor="ctr"/>
                </a:tc>
                <a:extLst>
                  <a:ext uri="{0D108BD9-81ED-4DB2-BD59-A6C34878D82A}">
                    <a16:rowId xmlns:a16="http://schemas.microsoft.com/office/drawing/2014/main" val="259328571"/>
                  </a:ext>
                </a:extLst>
              </a:tr>
              <a:tr h="505655">
                <a:tc>
                  <a:txBody>
                    <a:bodyPr/>
                    <a:lstStyle/>
                    <a:p>
                      <a:pPr marL="0" marR="0" lvl="0" indent="0" algn="l" rtl="0">
                        <a:lnSpc>
                          <a:spcPct val="100000"/>
                        </a:lnSpc>
                        <a:spcBef>
                          <a:spcPts val="0"/>
                        </a:spcBef>
                        <a:spcAft>
                          <a:spcPts val="0"/>
                        </a:spcAft>
                        <a:buNone/>
                      </a:pPr>
                      <a:r>
                        <a:rPr lang="en-US" sz="1200" dirty="0"/>
                        <a:t>Rebates on utilities costs </a:t>
                      </a:r>
                      <a:endParaRPr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3574465482"/>
                  </a:ext>
                </a:extLst>
              </a:tr>
              <a:tr h="505655">
                <a:tc>
                  <a:txBody>
                    <a:bodyPr/>
                    <a:lstStyle/>
                    <a:p>
                      <a:pPr marL="0" marR="0" lvl="0" indent="0" algn="l" rtl="0">
                        <a:lnSpc>
                          <a:spcPct val="100000"/>
                        </a:lnSpc>
                        <a:spcBef>
                          <a:spcPts val="0"/>
                        </a:spcBef>
                        <a:spcAft>
                          <a:spcPts val="0"/>
                        </a:spcAft>
                        <a:buNone/>
                      </a:pPr>
                      <a:r>
                        <a:rPr lang="en-US" sz="1200" dirty="0"/>
                        <a:t>Logistics cost reduction</a:t>
                      </a:r>
                      <a:endParaRPr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10006"/>
                  </a:ext>
                </a:extLst>
              </a:tr>
            </a:tbl>
          </a:graphicData>
        </a:graphic>
      </p:graphicFrame>
      <p:sp>
        <p:nvSpPr>
          <p:cNvPr id="22" name="Rectangle: Rounded Corners 21">
            <a:extLst>
              <a:ext uri="{FF2B5EF4-FFF2-40B4-BE49-F238E27FC236}">
                <a16:creationId xmlns:a16="http://schemas.microsoft.com/office/drawing/2014/main" id="{1766CB6B-6F72-4854-A66A-5C5278497C4E}"/>
              </a:ext>
            </a:extLst>
          </p:cNvPr>
          <p:cNvSpPr/>
          <p:nvPr/>
        </p:nvSpPr>
        <p:spPr>
          <a:xfrm>
            <a:off x="453198" y="1937179"/>
            <a:ext cx="3445846" cy="318499"/>
          </a:xfrm>
          <a:prstGeom prst="roundRect">
            <a:avLst/>
          </a:prstGeom>
          <a:solidFill>
            <a:schemeClr val="accent2">
              <a:lumMod val="60000"/>
              <a:lumOff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Fiscal Incentives</a:t>
            </a:r>
            <a:endParaRPr kumimoji="0" lang="en-US" sz="1400" i="0" u="none" strike="noStrike" kern="1200" cap="none" spc="0" normalizeH="0" baseline="0" noProof="0">
              <a:ln>
                <a:noFill/>
              </a:ln>
              <a:solidFill>
                <a:schemeClr val="tx1"/>
              </a:solidFill>
              <a:effectLst/>
              <a:uLnTx/>
              <a:uFillTx/>
              <a:ea typeface="+mn-ea"/>
              <a:cs typeface="+mn-cs"/>
            </a:endParaRPr>
          </a:p>
        </p:txBody>
      </p:sp>
      <p:cxnSp>
        <p:nvCxnSpPr>
          <p:cNvPr id="17" name="Straight Connector 16">
            <a:extLst>
              <a:ext uri="{FF2B5EF4-FFF2-40B4-BE49-F238E27FC236}">
                <a16:creationId xmlns:a16="http://schemas.microsoft.com/office/drawing/2014/main" id="{B87139CE-397A-4E39-A472-B7E49E459F65}"/>
              </a:ext>
            </a:extLst>
          </p:cNvPr>
          <p:cNvCxnSpPr>
            <a:cxnSpLocks/>
          </p:cNvCxnSpPr>
          <p:nvPr/>
        </p:nvCxnSpPr>
        <p:spPr>
          <a:xfrm>
            <a:off x="4053477" y="1971920"/>
            <a:ext cx="0" cy="4481391"/>
          </a:xfrm>
          <a:prstGeom prst="line">
            <a:avLst/>
          </a:prstGeom>
          <a:ln w="12700">
            <a:solidFill>
              <a:srgbClr val="DC6900"/>
            </a:solidFill>
          </a:ln>
        </p:spPr>
        <p:style>
          <a:lnRef idx="1">
            <a:schemeClr val="accent1"/>
          </a:lnRef>
          <a:fillRef idx="0">
            <a:schemeClr val="accent1"/>
          </a:fillRef>
          <a:effectRef idx="0">
            <a:schemeClr val="accent1"/>
          </a:effectRef>
          <a:fontRef idx="minor">
            <a:schemeClr val="tx1"/>
          </a:fontRef>
        </p:style>
      </p:cxnSp>
      <p:graphicFrame>
        <p:nvGraphicFramePr>
          <p:cNvPr id="21" name="Diagram 20">
            <a:extLst>
              <a:ext uri="{FF2B5EF4-FFF2-40B4-BE49-F238E27FC236}">
                <a16:creationId xmlns:a16="http://schemas.microsoft.com/office/drawing/2014/main" id="{E7C3B9C3-D94F-4478-9333-3A681F3CCD7A}"/>
              </a:ext>
            </a:extLst>
          </p:cNvPr>
          <p:cNvGraphicFramePr/>
          <p:nvPr>
            <p:extLst>
              <p:ext uri="{D42A27DB-BD31-4B8C-83A1-F6EECF244321}">
                <p14:modId xmlns:p14="http://schemas.microsoft.com/office/powerpoint/2010/main" val="3948193972"/>
              </p:ext>
            </p:extLst>
          </p:nvPr>
        </p:nvGraphicFramePr>
        <p:xfrm>
          <a:off x="442915" y="0"/>
          <a:ext cx="11749086" cy="2234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Date Placeholder 2">
            <a:extLst>
              <a:ext uri="{FF2B5EF4-FFF2-40B4-BE49-F238E27FC236}">
                <a16:creationId xmlns:a16="http://schemas.microsoft.com/office/drawing/2014/main" id="{FDAA787C-F432-4079-A821-7FF8A1BEE1EA}"/>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4" name="Slide Number Placeholder 3">
            <a:extLst>
              <a:ext uri="{FF2B5EF4-FFF2-40B4-BE49-F238E27FC236}">
                <a16:creationId xmlns:a16="http://schemas.microsoft.com/office/drawing/2014/main" id="{994FD92A-9DC5-459B-A44D-4F735DC666DC}"/>
              </a:ext>
            </a:extLst>
          </p:cNvPr>
          <p:cNvSpPr>
            <a:spLocks noGrp="1"/>
          </p:cNvSpPr>
          <p:nvPr>
            <p:ph type="sldNum" idx="12"/>
          </p:nvPr>
        </p:nvSpPr>
        <p:spPr/>
        <p:txBody>
          <a:bodyPr/>
          <a:lstStyle/>
          <a:p>
            <a:pPr lvl="0"/>
            <a:fld id="{00000000-1234-1234-1234-123412341234}" type="slidenum">
              <a:rPr lang="en-US" smtClean="0"/>
              <a:pPr lvl="0"/>
              <a:t>15</a:t>
            </a:fld>
            <a:endParaRPr lang="en-US"/>
          </a:p>
        </p:txBody>
      </p:sp>
      <p:sp>
        <p:nvSpPr>
          <p:cNvPr id="23" name="Footer Placeholder 11">
            <a:extLst>
              <a:ext uri="{FF2B5EF4-FFF2-40B4-BE49-F238E27FC236}">
                <a16:creationId xmlns:a16="http://schemas.microsoft.com/office/drawing/2014/main" id="{8C17CD34-F70A-4524-A0B5-BB346ACB2C3A}"/>
              </a:ext>
            </a:extLst>
          </p:cNvPr>
          <p:cNvSpPr txBox="1">
            <a:spLocks/>
          </p:cNvSpPr>
          <p:nvPr/>
        </p:nvSpPr>
        <p:spPr>
          <a:xfrm>
            <a:off x="442912" y="6492731"/>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graphicFrame>
        <p:nvGraphicFramePr>
          <p:cNvPr id="19" name="Google Shape;2236;p293">
            <a:extLst>
              <a:ext uri="{FF2B5EF4-FFF2-40B4-BE49-F238E27FC236}">
                <a16:creationId xmlns:a16="http://schemas.microsoft.com/office/drawing/2014/main" id="{92AA3D01-5DC5-478F-9FE8-4CE13EC8B0FC}"/>
              </a:ext>
            </a:extLst>
          </p:cNvPr>
          <p:cNvGraphicFramePr/>
          <p:nvPr>
            <p:extLst>
              <p:ext uri="{D42A27DB-BD31-4B8C-83A1-F6EECF244321}">
                <p14:modId xmlns:p14="http://schemas.microsoft.com/office/powerpoint/2010/main" val="974935561"/>
              </p:ext>
            </p:extLst>
          </p:nvPr>
        </p:nvGraphicFramePr>
        <p:xfrm>
          <a:off x="4207910" y="2373331"/>
          <a:ext cx="3542020" cy="4045240"/>
        </p:xfrm>
        <a:graphic>
          <a:graphicData uri="http://schemas.openxmlformats.org/drawingml/2006/table">
            <a:tbl>
              <a:tblPr bandRow="1">
                <a:effectLst>
                  <a:outerShdw blurRad="50800" dist="38100" dir="2700000" algn="tl" rotWithShape="0">
                    <a:prstClr val="black">
                      <a:alpha val="40000"/>
                    </a:prstClr>
                  </a:outerShdw>
                </a:effectLst>
                <a:tableStyleId>{D27102A9-8310-4765-A935-A1911B00CA55}</a:tableStyleId>
              </a:tblPr>
              <a:tblGrid>
                <a:gridCol w="3542020">
                  <a:extLst>
                    <a:ext uri="{9D8B030D-6E8A-4147-A177-3AD203B41FA5}">
                      <a16:colId xmlns:a16="http://schemas.microsoft.com/office/drawing/2014/main" val="20001"/>
                    </a:ext>
                  </a:extLst>
                </a:gridCol>
              </a:tblGrid>
              <a:tr h="10113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Utilities and internal infrastructure</a:t>
                      </a:r>
                      <a:endParaRPr sz="1200" dirty="0">
                        <a:latin typeface="Arial" panose="020B0604020202020204" pitchFamily="34" charset="0"/>
                        <a:cs typeface="Arial" panose="020B0604020202020204" pitchFamily="34" charset="0"/>
                      </a:endParaRPr>
                    </a:p>
                  </a:txBody>
                  <a:tcPr marL="91450" marR="91450" marT="45725" marB="45725" anchor="ctr"/>
                </a:tc>
                <a:extLst>
                  <a:ext uri="{0D108BD9-81ED-4DB2-BD59-A6C34878D82A}">
                    <a16:rowId xmlns:a16="http://schemas.microsoft.com/office/drawing/2014/main" val="2360420061"/>
                  </a:ext>
                </a:extLst>
              </a:tr>
              <a:tr h="1011310">
                <a:tc>
                  <a:txBody>
                    <a:bodyPr/>
                    <a:lstStyle/>
                    <a:p>
                      <a:pPr marL="0" marR="0" lvl="0" indent="0" algn="l" rtl="0">
                        <a:lnSpc>
                          <a:spcPct val="100000"/>
                        </a:lnSpc>
                        <a:spcBef>
                          <a:spcPts val="0"/>
                        </a:spcBef>
                        <a:spcAft>
                          <a:spcPts val="0"/>
                        </a:spcAft>
                        <a:buNone/>
                      </a:pPr>
                      <a:r>
                        <a:rPr lang="en-US" sz="1200" dirty="0"/>
                        <a:t>Provision of Labor housing facilities </a:t>
                      </a:r>
                      <a:endParaRPr sz="1200" dirty="0">
                        <a:latin typeface="Arial" panose="020B0604020202020204" pitchFamily="34" charset="0"/>
                        <a:cs typeface="Arial" panose="020B0604020202020204" pitchFamily="34" charset="0"/>
                      </a:endParaRPr>
                    </a:p>
                  </a:txBody>
                  <a:tcPr marL="91450" marR="91450" marT="45725" marB="45725" anchor="ctr"/>
                </a:tc>
                <a:extLst>
                  <a:ext uri="{0D108BD9-81ED-4DB2-BD59-A6C34878D82A}">
                    <a16:rowId xmlns:a16="http://schemas.microsoft.com/office/drawing/2014/main" val="3529080229"/>
                  </a:ext>
                </a:extLst>
              </a:tr>
              <a:tr h="1011310">
                <a:tc>
                  <a:txBody>
                    <a:bodyPr/>
                    <a:lstStyle/>
                    <a:p>
                      <a:pPr marL="0" marR="0" lvl="0" indent="0" algn="l" rtl="0">
                        <a:lnSpc>
                          <a:spcPct val="100000"/>
                        </a:lnSpc>
                        <a:spcBef>
                          <a:spcPts val="0"/>
                        </a:spcBef>
                        <a:spcAft>
                          <a:spcPts val="0"/>
                        </a:spcAft>
                        <a:buNone/>
                      </a:pPr>
                      <a:r>
                        <a:rPr lang="en-US" sz="1200" dirty="0"/>
                        <a:t>Provision of modern warehousing and cold storage infrastructure</a:t>
                      </a:r>
                      <a:endParaRPr lang="en-US" sz="1200" dirty="0">
                        <a:latin typeface="Arial" panose="020B0604020202020204" pitchFamily="34" charset="0"/>
                        <a:cs typeface="Arial" panose="020B0604020202020204" pitchFamily="34" charset="0"/>
                      </a:endParaRPr>
                    </a:p>
                  </a:txBody>
                  <a:tcPr marL="91450" marR="91450" marT="45725" marB="45725" anchor="ctr"/>
                </a:tc>
                <a:extLst>
                  <a:ext uri="{0D108BD9-81ED-4DB2-BD59-A6C34878D82A}">
                    <a16:rowId xmlns:a16="http://schemas.microsoft.com/office/drawing/2014/main" val="1736674040"/>
                  </a:ext>
                </a:extLst>
              </a:tr>
              <a:tr h="1011310">
                <a:tc>
                  <a:txBody>
                    <a:bodyPr/>
                    <a:lstStyle/>
                    <a:p>
                      <a:pPr marL="0" marR="0" lvl="0" indent="0" algn="l" rtl="0">
                        <a:lnSpc>
                          <a:spcPct val="100000"/>
                        </a:lnSpc>
                        <a:spcBef>
                          <a:spcPts val="0"/>
                        </a:spcBef>
                        <a:spcAft>
                          <a:spcPts val="0"/>
                        </a:spcAft>
                        <a:buNone/>
                      </a:pPr>
                      <a:r>
                        <a:rPr lang="en-US" sz="1200" dirty="0"/>
                        <a:t>Inhouse Quality Certifications and documentations by provision of inhouse laboratories</a:t>
                      </a:r>
                      <a:endParaRPr sz="1200" dirty="0">
                        <a:latin typeface="Arial" panose="020B0604020202020204" pitchFamily="34" charset="0"/>
                        <a:cs typeface="Arial" panose="020B0604020202020204" pitchFamily="34" charset="0"/>
                      </a:endParaRPr>
                    </a:p>
                  </a:txBody>
                  <a:tcPr marL="91450" marR="91450" marT="45725" marB="45725" anchor="ctr"/>
                </a:tc>
                <a:extLst>
                  <a:ext uri="{0D108BD9-81ED-4DB2-BD59-A6C34878D82A}">
                    <a16:rowId xmlns:a16="http://schemas.microsoft.com/office/drawing/2014/main" val="3574465482"/>
                  </a:ext>
                </a:extLst>
              </a:tr>
            </a:tbl>
          </a:graphicData>
        </a:graphic>
      </p:graphicFrame>
      <p:graphicFrame>
        <p:nvGraphicFramePr>
          <p:cNvPr id="20" name="Google Shape;2236;p293">
            <a:extLst>
              <a:ext uri="{FF2B5EF4-FFF2-40B4-BE49-F238E27FC236}">
                <a16:creationId xmlns:a16="http://schemas.microsoft.com/office/drawing/2014/main" id="{E32DF19C-D39F-45D8-9DA3-2A291674C9DD}"/>
              </a:ext>
            </a:extLst>
          </p:cNvPr>
          <p:cNvGraphicFramePr/>
          <p:nvPr>
            <p:extLst>
              <p:ext uri="{D42A27DB-BD31-4B8C-83A1-F6EECF244321}">
                <p14:modId xmlns:p14="http://schemas.microsoft.com/office/powerpoint/2010/main" val="2365856898"/>
              </p:ext>
            </p:extLst>
          </p:nvPr>
        </p:nvGraphicFramePr>
        <p:xfrm>
          <a:off x="8077582" y="2373331"/>
          <a:ext cx="3584555" cy="4045240"/>
        </p:xfrm>
        <a:graphic>
          <a:graphicData uri="http://schemas.openxmlformats.org/drawingml/2006/table">
            <a:tbl>
              <a:tblPr bandRow="1">
                <a:effectLst>
                  <a:outerShdw blurRad="50800" dist="38100" algn="l" rotWithShape="0">
                    <a:prstClr val="black">
                      <a:alpha val="40000"/>
                    </a:prstClr>
                  </a:outerShdw>
                </a:effectLst>
                <a:tableStyleId>{C083E6E3-FA7D-4D7B-A595-EF9225AFEA82}</a:tableStyleId>
              </a:tblPr>
              <a:tblGrid>
                <a:gridCol w="3584555">
                  <a:extLst>
                    <a:ext uri="{9D8B030D-6E8A-4147-A177-3AD203B41FA5}">
                      <a16:colId xmlns:a16="http://schemas.microsoft.com/office/drawing/2014/main" val="20001"/>
                    </a:ext>
                  </a:extLst>
                </a:gridCol>
              </a:tblGrid>
              <a:tr h="1011310">
                <a:tc>
                  <a:txBody>
                    <a:bodyPr/>
                    <a:lstStyle/>
                    <a:p>
                      <a:pPr marL="0" marR="0" lvl="0" indent="0" algn="l" rtl="0">
                        <a:lnSpc>
                          <a:spcPct val="100000"/>
                        </a:lnSpc>
                        <a:spcBef>
                          <a:spcPts val="0"/>
                        </a:spcBef>
                        <a:spcAft>
                          <a:spcPts val="0"/>
                        </a:spcAft>
                        <a:buNone/>
                      </a:pPr>
                      <a:r>
                        <a:rPr lang="en-US" sz="1200" dirty="0"/>
                        <a:t>Automatic clearance for access to countries under FTA with Kazakhstan and Uzbekistan</a:t>
                      </a:r>
                      <a:endParaRPr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3529080229"/>
                  </a:ext>
                </a:extLst>
              </a:tr>
              <a:tr h="1011310">
                <a:tc>
                  <a:txBody>
                    <a:bodyPr/>
                    <a:lstStyle/>
                    <a:p>
                      <a:pPr marL="0" marR="0" lvl="0" indent="0" algn="l" rtl="0">
                        <a:lnSpc>
                          <a:spcPct val="100000"/>
                        </a:lnSpc>
                        <a:spcBef>
                          <a:spcPts val="0"/>
                        </a:spcBef>
                        <a:spcAft>
                          <a:spcPts val="0"/>
                        </a:spcAft>
                        <a:buNone/>
                      </a:pPr>
                      <a:r>
                        <a:rPr lang="en-US" sz="1200" dirty="0"/>
                        <a:t>Single window clearances for setting up new units</a:t>
                      </a:r>
                      <a:endParaRPr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1736674040"/>
                  </a:ext>
                </a:extLst>
              </a:tr>
              <a:tr h="1011310">
                <a:tc>
                  <a:txBody>
                    <a:bodyPr/>
                    <a:lstStyle/>
                    <a:p>
                      <a:pPr marL="0" marR="0" lvl="0" indent="0" algn="l" rtl="0">
                        <a:lnSpc>
                          <a:spcPct val="100000"/>
                        </a:lnSpc>
                        <a:spcBef>
                          <a:spcPts val="0"/>
                        </a:spcBef>
                        <a:spcAft>
                          <a:spcPts val="0"/>
                        </a:spcAft>
                        <a:buNone/>
                      </a:pPr>
                      <a:r>
                        <a:rPr lang="en-US" sz="1200" dirty="0"/>
                        <a:t>Ability to transact in foreign currency</a:t>
                      </a:r>
                      <a:endParaRPr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3574465482"/>
                  </a:ext>
                </a:extLst>
              </a:tr>
              <a:tr h="1011310">
                <a:tc>
                  <a:txBody>
                    <a:bodyPr/>
                    <a:lstStyle/>
                    <a:p>
                      <a:pPr marL="0" marR="0" lvl="0" indent="0" algn="l" rtl="0">
                        <a:lnSpc>
                          <a:spcPct val="100000"/>
                        </a:lnSpc>
                        <a:spcBef>
                          <a:spcPts val="0"/>
                        </a:spcBef>
                        <a:spcAft>
                          <a:spcPts val="0"/>
                        </a:spcAft>
                        <a:buNone/>
                      </a:pPr>
                      <a:r>
                        <a:rPr lang="en-US" sz="1200" kern="1200" dirty="0">
                          <a:solidFill>
                            <a:schemeClr val="tx1"/>
                          </a:solidFill>
                          <a:effectLst/>
                        </a:rPr>
                        <a:t>Joint investment desk between Kazakhstan and Uzbekistan</a:t>
                      </a:r>
                      <a:endParaRPr sz="1200" dirty="0">
                        <a:latin typeface="Arial "/>
                        <a:cs typeface="Arial" panose="020B0604020202020204" pitchFamily="34" charset="0"/>
                      </a:endParaRPr>
                    </a:p>
                  </a:txBody>
                  <a:tcPr marL="91450" marR="91450" marT="45725" marB="45725" anchor="ctr"/>
                </a:tc>
                <a:extLst>
                  <a:ext uri="{0D108BD9-81ED-4DB2-BD59-A6C34878D82A}">
                    <a16:rowId xmlns:a16="http://schemas.microsoft.com/office/drawing/2014/main" val="10006"/>
                  </a:ext>
                </a:extLst>
              </a:tr>
            </a:tbl>
          </a:graphicData>
        </a:graphic>
      </p:graphicFrame>
      <p:sp>
        <p:nvSpPr>
          <p:cNvPr id="24" name="Rectangle: Rounded Corners 23">
            <a:extLst>
              <a:ext uri="{FF2B5EF4-FFF2-40B4-BE49-F238E27FC236}">
                <a16:creationId xmlns:a16="http://schemas.microsoft.com/office/drawing/2014/main" id="{2EE411D9-9B27-4F9F-8063-F606430CA497}"/>
              </a:ext>
            </a:extLst>
          </p:cNvPr>
          <p:cNvSpPr/>
          <p:nvPr/>
        </p:nvSpPr>
        <p:spPr>
          <a:xfrm>
            <a:off x="4207911" y="1937179"/>
            <a:ext cx="3584556" cy="318499"/>
          </a:xfrm>
          <a:prstGeom prst="roundRect">
            <a:avLst/>
          </a:prstGeom>
          <a:solidFill>
            <a:srgbClr val="C28A00"/>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FFFFFF"/>
                </a:solidFill>
                <a:effectLst/>
                <a:uLnTx/>
                <a:uFillTx/>
                <a:ea typeface="+mn-ea"/>
                <a:cs typeface="+mn-cs"/>
              </a:rPr>
              <a:t>Incentives for Infrastructure Development</a:t>
            </a:r>
          </a:p>
        </p:txBody>
      </p:sp>
      <p:sp>
        <p:nvSpPr>
          <p:cNvPr id="25" name="Rectangle: Rounded Corners 24">
            <a:extLst>
              <a:ext uri="{FF2B5EF4-FFF2-40B4-BE49-F238E27FC236}">
                <a16:creationId xmlns:a16="http://schemas.microsoft.com/office/drawing/2014/main" id="{719F473E-0EC2-4760-A2AF-CE7AA50B06C5}"/>
              </a:ext>
            </a:extLst>
          </p:cNvPr>
          <p:cNvSpPr/>
          <p:nvPr/>
        </p:nvSpPr>
        <p:spPr>
          <a:xfrm>
            <a:off x="8077581" y="1937179"/>
            <a:ext cx="3584556" cy="318499"/>
          </a:xfrm>
          <a:prstGeom prst="roundRect">
            <a:avLst/>
          </a:prstGeom>
          <a:solidFill>
            <a:schemeClr val="accent3">
              <a:lumMod val="60000"/>
              <a:lumOff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FFFFFF"/>
                </a:solidFill>
                <a:effectLst/>
                <a:uLnTx/>
                <a:uFillTx/>
                <a:ea typeface="+mn-ea"/>
                <a:cs typeface="+mn-cs"/>
              </a:rPr>
              <a:t>Incentives for Business Opportunities</a:t>
            </a:r>
          </a:p>
        </p:txBody>
      </p:sp>
      <p:cxnSp>
        <p:nvCxnSpPr>
          <p:cNvPr id="26" name="Straight Connector 25">
            <a:extLst>
              <a:ext uri="{FF2B5EF4-FFF2-40B4-BE49-F238E27FC236}">
                <a16:creationId xmlns:a16="http://schemas.microsoft.com/office/drawing/2014/main" id="{75EA4B40-6281-4F67-9525-92CE703ADFEC}"/>
              </a:ext>
            </a:extLst>
          </p:cNvPr>
          <p:cNvCxnSpPr>
            <a:cxnSpLocks/>
          </p:cNvCxnSpPr>
          <p:nvPr/>
        </p:nvCxnSpPr>
        <p:spPr>
          <a:xfrm>
            <a:off x="7917393" y="1971920"/>
            <a:ext cx="0" cy="4481391"/>
          </a:xfrm>
          <a:prstGeom prst="line">
            <a:avLst/>
          </a:prstGeom>
          <a:ln w="12700">
            <a:solidFill>
              <a:srgbClr val="DC6900"/>
            </a:solidFill>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1209487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273182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29917" y="273767"/>
            <a:ext cx="11571734" cy="581503"/>
          </a:xfrm>
        </p:spPr>
        <p:txBody>
          <a:bodyPr anchor="ctr" anchorCtr="0">
            <a:normAutofit/>
          </a:bodyPr>
          <a:lstStyle/>
          <a:p>
            <a:pPr lvl="0"/>
            <a:r>
              <a:rPr lang="en-US" sz="2400" b="0" dirty="0">
                <a:latin typeface="Georgia" panose="02040502050405020303" pitchFamily="18" charset="0"/>
              </a:rPr>
              <a:t>Institutional Structure for ICIC</a:t>
            </a:r>
          </a:p>
        </p:txBody>
      </p:sp>
      <p:sp>
        <p:nvSpPr>
          <p:cNvPr id="162" name="Arrow: Down 161">
            <a:extLst>
              <a:ext uri="{FF2B5EF4-FFF2-40B4-BE49-F238E27FC236}">
                <a16:creationId xmlns:a16="http://schemas.microsoft.com/office/drawing/2014/main" id="{FCFB130B-2016-4241-856E-601B589E9841}"/>
              </a:ext>
            </a:extLst>
          </p:cNvPr>
          <p:cNvSpPr/>
          <p:nvPr/>
        </p:nvSpPr>
        <p:spPr>
          <a:xfrm rot="16200000">
            <a:off x="1518165" y="7196426"/>
            <a:ext cx="420423" cy="309032"/>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3" name="Arrow: Down 172">
            <a:extLst>
              <a:ext uri="{FF2B5EF4-FFF2-40B4-BE49-F238E27FC236}">
                <a16:creationId xmlns:a16="http://schemas.microsoft.com/office/drawing/2014/main" id="{BBBB7B6A-4F3D-40F7-9EBB-2EFB39722F07}"/>
              </a:ext>
            </a:extLst>
          </p:cNvPr>
          <p:cNvSpPr/>
          <p:nvPr/>
        </p:nvSpPr>
        <p:spPr>
          <a:xfrm rot="16200000">
            <a:off x="4632867" y="7196426"/>
            <a:ext cx="420423" cy="309032"/>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5" name="Arrow: Down 174">
            <a:extLst>
              <a:ext uri="{FF2B5EF4-FFF2-40B4-BE49-F238E27FC236}">
                <a16:creationId xmlns:a16="http://schemas.microsoft.com/office/drawing/2014/main" id="{BD71D246-F177-4AED-8AD6-13A210A0FF5F}"/>
              </a:ext>
            </a:extLst>
          </p:cNvPr>
          <p:cNvSpPr/>
          <p:nvPr/>
        </p:nvSpPr>
        <p:spPr>
          <a:xfrm rot="16200000">
            <a:off x="6009431" y="7208760"/>
            <a:ext cx="420423" cy="309032"/>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3" name="Group 2">
            <a:extLst>
              <a:ext uri="{FF2B5EF4-FFF2-40B4-BE49-F238E27FC236}">
                <a16:creationId xmlns:a16="http://schemas.microsoft.com/office/drawing/2014/main" id="{49BA4F64-A1EC-4813-8A32-74A412FD710D}"/>
              </a:ext>
            </a:extLst>
          </p:cNvPr>
          <p:cNvGrpSpPr/>
          <p:nvPr/>
        </p:nvGrpSpPr>
        <p:grpSpPr>
          <a:xfrm>
            <a:off x="87341" y="1219089"/>
            <a:ext cx="12045689" cy="4965401"/>
            <a:chOff x="87341" y="1219089"/>
            <a:chExt cx="12045689" cy="5551581"/>
          </a:xfrm>
        </p:grpSpPr>
        <p:grpSp>
          <p:nvGrpSpPr>
            <p:cNvPr id="4" name="Group 3">
              <a:extLst>
                <a:ext uri="{FF2B5EF4-FFF2-40B4-BE49-F238E27FC236}">
                  <a16:creationId xmlns:a16="http://schemas.microsoft.com/office/drawing/2014/main" id="{3B7E6350-C4B3-42DE-A8DF-326D481523DE}"/>
                </a:ext>
              </a:extLst>
            </p:cNvPr>
            <p:cNvGrpSpPr/>
            <p:nvPr/>
          </p:nvGrpSpPr>
          <p:grpSpPr>
            <a:xfrm>
              <a:off x="176349" y="2638046"/>
              <a:ext cx="5192473" cy="2837113"/>
              <a:chOff x="176349" y="2638046"/>
              <a:chExt cx="5192473" cy="2837113"/>
            </a:xfrm>
          </p:grpSpPr>
          <p:sp>
            <p:nvSpPr>
              <p:cNvPr id="55" name="Rectangle 54">
                <a:extLst>
                  <a:ext uri="{FF2B5EF4-FFF2-40B4-BE49-F238E27FC236}">
                    <a16:creationId xmlns:a16="http://schemas.microsoft.com/office/drawing/2014/main" id="{86D4D0C7-438C-4BBB-B1BB-8CFFBF1AC4E8}"/>
                  </a:ext>
                </a:extLst>
              </p:cNvPr>
              <p:cNvSpPr/>
              <p:nvPr/>
            </p:nvSpPr>
            <p:spPr>
              <a:xfrm>
                <a:off x="2220712" y="4199219"/>
                <a:ext cx="1244094" cy="38735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Operation Executive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58" name="Rectangle 57">
                <a:extLst>
                  <a:ext uri="{FF2B5EF4-FFF2-40B4-BE49-F238E27FC236}">
                    <a16:creationId xmlns:a16="http://schemas.microsoft.com/office/drawing/2014/main" id="{CF790024-2FE6-4663-AAF5-55F5692480B7}"/>
                  </a:ext>
                </a:extLst>
              </p:cNvPr>
              <p:cNvSpPr/>
              <p:nvPr/>
            </p:nvSpPr>
            <p:spPr>
              <a:xfrm>
                <a:off x="3810607" y="4992441"/>
                <a:ext cx="552984" cy="48229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Legal</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60" name="Rectangle 59">
                <a:extLst>
                  <a:ext uri="{FF2B5EF4-FFF2-40B4-BE49-F238E27FC236}">
                    <a16:creationId xmlns:a16="http://schemas.microsoft.com/office/drawing/2014/main" id="{588FBE0A-445E-4B94-AE3F-F48BC72B8624}"/>
                  </a:ext>
                </a:extLst>
              </p:cNvPr>
              <p:cNvSpPr/>
              <p:nvPr/>
            </p:nvSpPr>
            <p:spPr>
              <a:xfrm>
                <a:off x="176349" y="4991578"/>
                <a:ext cx="853832" cy="48343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Sales &amp; Marketing</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65" name="Rectangle 64">
                <a:extLst>
                  <a:ext uri="{FF2B5EF4-FFF2-40B4-BE49-F238E27FC236}">
                    <a16:creationId xmlns:a16="http://schemas.microsoft.com/office/drawing/2014/main" id="{AA79FC7D-BD93-47A5-889B-172A6156CF76}"/>
                  </a:ext>
                </a:extLst>
              </p:cNvPr>
              <p:cNvSpPr/>
              <p:nvPr/>
            </p:nvSpPr>
            <p:spPr>
              <a:xfrm>
                <a:off x="1122276" y="4993548"/>
                <a:ext cx="767894" cy="44763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Finance</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66" name="Rectangle 65">
                <a:extLst>
                  <a:ext uri="{FF2B5EF4-FFF2-40B4-BE49-F238E27FC236}">
                    <a16:creationId xmlns:a16="http://schemas.microsoft.com/office/drawing/2014/main" id="{9C8969F2-1B13-4680-9DEB-393F11B8CAD5}"/>
                  </a:ext>
                </a:extLst>
              </p:cNvPr>
              <p:cNvSpPr/>
              <p:nvPr/>
            </p:nvSpPr>
            <p:spPr>
              <a:xfrm>
                <a:off x="1982265" y="4992543"/>
                <a:ext cx="792764" cy="48261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Investment Promotion</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69" name="Rectangle 68">
                <a:extLst>
                  <a:ext uri="{FF2B5EF4-FFF2-40B4-BE49-F238E27FC236}">
                    <a16:creationId xmlns:a16="http://schemas.microsoft.com/office/drawing/2014/main" id="{1C2E4E27-515C-4E57-AF06-0BC46F4C2E8A}"/>
                  </a:ext>
                </a:extLst>
              </p:cNvPr>
              <p:cNvSpPr/>
              <p:nvPr/>
            </p:nvSpPr>
            <p:spPr>
              <a:xfrm>
                <a:off x="2867124" y="4993445"/>
                <a:ext cx="851388" cy="48142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Urban Management</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0" name="Rectangle 69">
                <a:extLst>
                  <a:ext uri="{FF2B5EF4-FFF2-40B4-BE49-F238E27FC236}">
                    <a16:creationId xmlns:a16="http://schemas.microsoft.com/office/drawing/2014/main" id="{30C67D86-8672-40B5-A46F-77BFF69B437C}"/>
                  </a:ext>
                </a:extLst>
              </p:cNvPr>
              <p:cNvSpPr/>
              <p:nvPr/>
            </p:nvSpPr>
            <p:spPr>
              <a:xfrm>
                <a:off x="4455684" y="4993122"/>
                <a:ext cx="913138" cy="48107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Administration</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71" name="Connector: Elbow 70">
                <a:extLst>
                  <a:ext uri="{FF2B5EF4-FFF2-40B4-BE49-F238E27FC236}">
                    <a16:creationId xmlns:a16="http://schemas.microsoft.com/office/drawing/2014/main" id="{C353FCAA-C759-463E-82CE-A2172DAD069D}"/>
                  </a:ext>
                </a:extLst>
              </p:cNvPr>
              <p:cNvCxnSpPr>
                <a:cxnSpLocks/>
                <a:stCxn id="55" idx="2"/>
                <a:endCxn id="69" idx="0"/>
              </p:cNvCxnSpPr>
              <p:nvPr/>
            </p:nvCxnSpPr>
            <p:spPr>
              <a:xfrm rot="16200000" flipH="1">
                <a:off x="2864354" y="4564980"/>
                <a:ext cx="406869" cy="45005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362BAB83-0FE1-419F-85CF-8AB286023D22}"/>
                  </a:ext>
                </a:extLst>
              </p:cNvPr>
              <p:cNvCxnSpPr>
                <a:cxnSpLocks/>
                <a:endCxn id="66" idx="0"/>
              </p:cNvCxnSpPr>
              <p:nvPr/>
            </p:nvCxnSpPr>
            <p:spPr>
              <a:xfrm rot="10800000" flipV="1">
                <a:off x="2378648" y="4779863"/>
                <a:ext cx="464117" cy="212679"/>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E5CF005D-1306-4258-A7C6-886353E3B3FE}"/>
                  </a:ext>
                </a:extLst>
              </p:cNvPr>
              <p:cNvCxnSpPr>
                <a:cxnSpLocks/>
                <a:stCxn id="55" idx="2"/>
                <a:endCxn id="65" idx="0"/>
              </p:cNvCxnSpPr>
              <p:nvPr/>
            </p:nvCxnSpPr>
            <p:spPr>
              <a:xfrm rot="5400000">
                <a:off x="1971005" y="4121794"/>
                <a:ext cx="406972" cy="1336536"/>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804CC052-191E-4417-956C-D753FD155937}"/>
                  </a:ext>
                </a:extLst>
              </p:cNvPr>
              <p:cNvCxnSpPr>
                <a:cxnSpLocks/>
                <a:stCxn id="55" idx="2"/>
                <a:endCxn id="60" idx="0"/>
              </p:cNvCxnSpPr>
              <p:nvPr/>
            </p:nvCxnSpPr>
            <p:spPr>
              <a:xfrm rot="5400000">
                <a:off x="1520511" y="3669330"/>
                <a:ext cx="405002" cy="223949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617D19CA-1B4F-4BF4-A749-8E698932CAE6}"/>
                  </a:ext>
                </a:extLst>
              </p:cNvPr>
              <p:cNvCxnSpPr>
                <a:cxnSpLocks/>
                <a:stCxn id="55" idx="2"/>
                <a:endCxn id="70" idx="0"/>
              </p:cNvCxnSpPr>
              <p:nvPr/>
            </p:nvCxnSpPr>
            <p:spPr>
              <a:xfrm rot="16200000" flipH="1">
                <a:off x="3674233" y="3755102"/>
                <a:ext cx="406546" cy="206949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1A8462BC-B719-41F8-8648-AD78CA7382A8}"/>
                  </a:ext>
                </a:extLst>
              </p:cNvPr>
              <p:cNvCxnSpPr>
                <a:cxnSpLocks/>
                <a:stCxn id="55" idx="2"/>
                <a:endCxn id="58" idx="0"/>
              </p:cNvCxnSpPr>
              <p:nvPr/>
            </p:nvCxnSpPr>
            <p:spPr>
              <a:xfrm rot="16200000" flipH="1">
                <a:off x="3261997" y="4167338"/>
                <a:ext cx="405865" cy="124434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B09A6CAC-FDCA-425B-B098-2F2C98B0E4D3}"/>
                  </a:ext>
                </a:extLst>
              </p:cNvPr>
              <p:cNvSpPr/>
              <p:nvPr/>
            </p:nvSpPr>
            <p:spPr>
              <a:xfrm>
                <a:off x="2437236" y="2638046"/>
                <a:ext cx="868601" cy="32677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 Chairma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8" name="Rectangle 77">
                <a:extLst>
                  <a:ext uri="{FF2B5EF4-FFF2-40B4-BE49-F238E27FC236}">
                    <a16:creationId xmlns:a16="http://schemas.microsoft.com/office/drawing/2014/main" id="{000CBB93-3998-47F3-993E-ED459937B14B}"/>
                  </a:ext>
                </a:extLst>
              </p:cNvPr>
              <p:cNvSpPr/>
              <p:nvPr/>
            </p:nvSpPr>
            <p:spPr>
              <a:xfrm>
                <a:off x="1537717" y="3150937"/>
                <a:ext cx="1181179" cy="31935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Vice Chairman 1</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9" name="Rectangle 78">
                <a:extLst>
                  <a:ext uri="{FF2B5EF4-FFF2-40B4-BE49-F238E27FC236}">
                    <a16:creationId xmlns:a16="http://schemas.microsoft.com/office/drawing/2014/main" id="{DE80FE34-2343-43AA-A40E-12FA4DF75A8E}"/>
                  </a:ext>
                </a:extLst>
              </p:cNvPr>
              <p:cNvSpPr/>
              <p:nvPr/>
            </p:nvSpPr>
            <p:spPr>
              <a:xfrm>
                <a:off x="1469808" y="3727792"/>
                <a:ext cx="2822717" cy="36333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Intergovernmental Supervisory Board</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80" name="Rectangle 79">
                <a:extLst>
                  <a:ext uri="{FF2B5EF4-FFF2-40B4-BE49-F238E27FC236}">
                    <a16:creationId xmlns:a16="http://schemas.microsoft.com/office/drawing/2014/main" id="{D8B7236D-BE26-47B1-AF7B-56A1E62E3F8B}"/>
                  </a:ext>
                </a:extLst>
              </p:cNvPr>
              <p:cNvSpPr/>
              <p:nvPr/>
            </p:nvSpPr>
            <p:spPr>
              <a:xfrm>
                <a:off x="3305838" y="3158105"/>
                <a:ext cx="1098670" cy="328119"/>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Vice Chairman 2</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81" name="Connector: Elbow 80">
                <a:extLst>
                  <a:ext uri="{FF2B5EF4-FFF2-40B4-BE49-F238E27FC236}">
                    <a16:creationId xmlns:a16="http://schemas.microsoft.com/office/drawing/2014/main" id="{7DDB7EDA-A14B-453B-8913-C9FBCA3418E2}"/>
                  </a:ext>
                </a:extLst>
              </p:cNvPr>
              <p:cNvCxnSpPr>
                <a:cxnSpLocks/>
                <a:stCxn id="77" idx="2"/>
                <a:endCxn id="80" idx="0"/>
              </p:cNvCxnSpPr>
              <p:nvPr/>
            </p:nvCxnSpPr>
            <p:spPr>
              <a:xfrm rot="16200000" flipH="1">
                <a:off x="3266711" y="2569643"/>
                <a:ext cx="193288" cy="983636"/>
              </a:xfrm>
              <a:prstGeom prst="bentConnector3">
                <a:avLst>
                  <a:gd name="adj1" fmla="val 5000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32900AC2-75FD-40DE-8D0B-B5832528B58F}"/>
                  </a:ext>
                </a:extLst>
              </p:cNvPr>
              <p:cNvCxnSpPr>
                <a:cxnSpLocks/>
                <a:stCxn id="77" idx="2"/>
                <a:endCxn id="78" idx="0"/>
              </p:cNvCxnSpPr>
              <p:nvPr/>
            </p:nvCxnSpPr>
            <p:spPr>
              <a:xfrm rot="5400000">
                <a:off x="2406862" y="2686262"/>
                <a:ext cx="186120" cy="743230"/>
              </a:xfrm>
              <a:prstGeom prst="bentConnector3">
                <a:avLst>
                  <a:gd name="adj1" fmla="val 5000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64215F37-9C81-4445-A4DA-31737075C8AB}"/>
                  </a:ext>
                </a:extLst>
              </p:cNvPr>
              <p:cNvCxnSpPr>
                <a:cxnSpLocks/>
                <a:stCxn id="80" idx="2"/>
                <a:endCxn id="79" idx="0"/>
              </p:cNvCxnSpPr>
              <p:nvPr/>
            </p:nvCxnSpPr>
            <p:spPr>
              <a:xfrm rot="5400000">
                <a:off x="3247386" y="3120005"/>
                <a:ext cx="241568" cy="974006"/>
              </a:xfrm>
              <a:prstGeom prst="bentConnector3">
                <a:avLst>
                  <a:gd name="adj1" fmla="val 4593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12C0BE9D-E52F-44E3-914B-B6447D5F0DAE}"/>
                  </a:ext>
                </a:extLst>
              </p:cNvPr>
              <p:cNvCxnSpPr>
                <a:cxnSpLocks/>
                <a:stCxn id="78" idx="2"/>
                <a:endCxn id="79" idx="0"/>
              </p:cNvCxnSpPr>
              <p:nvPr/>
            </p:nvCxnSpPr>
            <p:spPr>
              <a:xfrm rot="16200000" flipH="1">
                <a:off x="2375986" y="3222611"/>
                <a:ext cx="257502" cy="752860"/>
              </a:xfrm>
              <a:prstGeom prst="bentConnector3">
                <a:avLst>
                  <a:gd name="adj1" fmla="val 50000"/>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E89F5B8F-34DD-46A9-8E3B-EBD4328E03CE}"/>
                  </a:ext>
                </a:extLst>
              </p:cNvPr>
              <p:cNvCxnSpPr/>
              <p:nvPr/>
            </p:nvCxnSpPr>
            <p:spPr>
              <a:xfrm>
                <a:off x="2881167" y="4042402"/>
                <a:ext cx="0" cy="175594"/>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sp>
          <p:nvSpPr>
            <p:cNvPr id="116" name="TextBox 115">
              <a:extLst>
                <a:ext uri="{FF2B5EF4-FFF2-40B4-BE49-F238E27FC236}">
                  <a16:creationId xmlns:a16="http://schemas.microsoft.com/office/drawing/2014/main" id="{3B90ED71-0B81-48A1-8849-8F3CF246959F}"/>
                </a:ext>
              </a:extLst>
            </p:cNvPr>
            <p:cNvSpPr txBox="1"/>
            <p:nvPr/>
          </p:nvSpPr>
          <p:spPr>
            <a:xfrm>
              <a:off x="176349" y="1540792"/>
              <a:ext cx="5104567" cy="430887"/>
            </a:xfrm>
            <a:prstGeom prst="rect">
              <a:avLst/>
            </a:prstGeom>
            <a:noFill/>
            <a:ln>
              <a:noFill/>
            </a:ln>
          </p:spPr>
          <p:txBody>
            <a:bodyPr wrap="square" lIns="0" tIns="0" rIns="0" bIns="0" rtlCol="0">
              <a:spAutoFit/>
            </a:bodyPr>
            <a:lstStyle/>
            <a:p>
              <a:pPr algn="ctr"/>
              <a:r>
                <a:rPr lang="en-US" sz="1400" i="1">
                  <a:cs typeface="Arial" pitchFamily="34" charset="0"/>
                </a:rPr>
                <a:t>I</a:t>
              </a:r>
              <a:r>
                <a:rPr lang="en-US" sz="1400" i="1" noProof="0">
                  <a:solidFill>
                    <a:schemeClr val="tx1"/>
                  </a:solidFill>
                  <a:cs typeface="Arial" pitchFamily="34" charset="0"/>
                </a:rPr>
                <a:t>n this model, ICIC shall be set up as a Joint Venture between Kazakhstan and Uzbekistan</a:t>
              </a:r>
            </a:p>
          </p:txBody>
        </p:sp>
        <p:sp>
          <p:nvSpPr>
            <p:cNvPr id="117" name="TextBox 116">
              <a:extLst>
                <a:ext uri="{FF2B5EF4-FFF2-40B4-BE49-F238E27FC236}">
                  <a16:creationId xmlns:a16="http://schemas.microsoft.com/office/drawing/2014/main" id="{017390D2-809A-4C5D-A228-CF7AE6467EBB}"/>
                </a:ext>
              </a:extLst>
            </p:cNvPr>
            <p:cNvSpPr txBox="1"/>
            <p:nvPr/>
          </p:nvSpPr>
          <p:spPr>
            <a:xfrm>
              <a:off x="203489" y="2089419"/>
              <a:ext cx="5104567" cy="430887"/>
            </a:xfrm>
            <a:prstGeom prst="rect">
              <a:avLst/>
            </a:prstGeom>
            <a:noFill/>
            <a:ln>
              <a:noFill/>
            </a:ln>
          </p:spPr>
          <p:txBody>
            <a:bodyPr wrap="square" lIns="0" tIns="0" rIns="0" bIns="0" rtlCol="0">
              <a:spAutoFit/>
            </a:bodyPr>
            <a:lstStyle/>
            <a:p>
              <a:pPr algn="ctr"/>
              <a:r>
                <a:rPr lang="en-US" sz="1400" i="1" dirty="0">
                  <a:cs typeface="Arial" pitchFamily="34" charset="0"/>
                </a:rPr>
                <a:t>The Board shall consist of Single Chairman appointed on rotational basis and Two Vice Chairman one from each country </a:t>
              </a:r>
            </a:p>
          </p:txBody>
        </p:sp>
        <p:grpSp>
          <p:nvGrpSpPr>
            <p:cNvPr id="11" name="Group 10">
              <a:extLst>
                <a:ext uri="{FF2B5EF4-FFF2-40B4-BE49-F238E27FC236}">
                  <a16:creationId xmlns:a16="http://schemas.microsoft.com/office/drawing/2014/main" id="{AE876DD9-FA58-42DD-B766-2DD5A41BC8F2}"/>
                </a:ext>
              </a:extLst>
            </p:cNvPr>
            <p:cNvGrpSpPr/>
            <p:nvPr/>
          </p:nvGrpSpPr>
          <p:grpSpPr>
            <a:xfrm>
              <a:off x="5631367" y="1540792"/>
              <a:ext cx="6383328" cy="4013936"/>
              <a:chOff x="5631367" y="1540792"/>
              <a:chExt cx="6383328" cy="4013936"/>
            </a:xfrm>
          </p:grpSpPr>
          <p:cxnSp>
            <p:nvCxnSpPr>
              <p:cNvPr id="121" name="Connector: Elbow 120">
                <a:extLst>
                  <a:ext uri="{FF2B5EF4-FFF2-40B4-BE49-F238E27FC236}">
                    <a16:creationId xmlns:a16="http://schemas.microsoft.com/office/drawing/2014/main" id="{588FE7C8-9714-44A2-B89A-D3AAD51B6D77}"/>
                  </a:ext>
                </a:extLst>
              </p:cNvPr>
              <p:cNvCxnSpPr>
                <a:cxnSpLocks/>
                <a:stCxn id="150" idx="3"/>
                <a:endCxn id="122" idx="0"/>
              </p:cNvCxnSpPr>
              <p:nvPr/>
            </p:nvCxnSpPr>
            <p:spPr>
              <a:xfrm>
                <a:off x="8412244" y="3655011"/>
                <a:ext cx="573420" cy="1311798"/>
              </a:xfrm>
              <a:prstGeom prst="bentConnector3">
                <a:avLst>
                  <a:gd name="adj1" fmla="val 50000"/>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C3699B6D-7651-4EC1-A65A-E6949FBAF170}"/>
                  </a:ext>
                </a:extLst>
              </p:cNvPr>
              <p:cNvSpPr/>
              <p:nvPr/>
            </p:nvSpPr>
            <p:spPr>
              <a:xfrm rot="16200000">
                <a:off x="8652222" y="4751358"/>
                <a:ext cx="1097784" cy="4309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State / Region Administrative Council</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23" name="Rectangle 122">
                <a:extLst>
                  <a:ext uri="{FF2B5EF4-FFF2-40B4-BE49-F238E27FC236}">
                    <a16:creationId xmlns:a16="http://schemas.microsoft.com/office/drawing/2014/main" id="{9566701A-2A0C-46A8-B79B-139AFD57A08D}"/>
                  </a:ext>
                </a:extLst>
              </p:cNvPr>
              <p:cNvSpPr/>
              <p:nvPr/>
            </p:nvSpPr>
            <p:spPr>
              <a:xfrm>
                <a:off x="9529647" y="4436598"/>
                <a:ext cx="1166038" cy="111813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Khokimiyat of </a:t>
                </a:r>
                <a:r>
                  <a:rPr lang="en-US" sz="900" kern="1200" err="1">
                    <a:solidFill>
                      <a:schemeClr val="tx1"/>
                    </a:solidFill>
                    <a:effectLst/>
                    <a:latin typeface="Arial" panose="020B0604020202020204" pitchFamily="34" charset="0"/>
                    <a:ea typeface="SimSun" panose="02010600030101010101" pitchFamily="2" charset="-122"/>
                    <a:cs typeface="Times New Roman" panose="02020603050405020304" pitchFamily="18" charset="0"/>
                  </a:rPr>
                  <a:t>Syrdarya</a:t>
                </a: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 region</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24" name="Rectangle 123">
                <a:extLst>
                  <a:ext uri="{FF2B5EF4-FFF2-40B4-BE49-F238E27FC236}">
                    <a16:creationId xmlns:a16="http://schemas.microsoft.com/office/drawing/2014/main" id="{46846221-8C18-441D-912B-FABEDB82A0B2}"/>
                  </a:ext>
                </a:extLst>
              </p:cNvPr>
              <p:cNvSpPr/>
              <p:nvPr/>
            </p:nvSpPr>
            <p:spPr>
              <a:xfrm>
                <a:off x="10772598" y="5100697"/>
                <a:ext cx="1242097" cy="4150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err="1">
                    <a:solidFill>
                      <a:schemeClr val="tx1"/>
                    </a:solidFill>
                    <a:effectLst/>
                    <a:latin typeface="Arial" panose="020B0604020202020204" pitchFamily="34" charset="0"/>
                    <a:ea typeface="SimSun" panose="02010600030101010101" pitchFamily="2" charset="-122"/>
                    <a:cs typeface="Times New Roman" panose="02020603050405020304" pitchFamily="18" charset="0"/>
                  </a:rPr>
                  <a:t>Akimat</a:t>
                </a: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 of Shymkent City</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25" name="Rectangle 124">
                <a:extLst>
                  <a:ext uri="{FF2B5EF4-FFF2-40B4-BE49-F238E27FC236}">
                    <a16:creationId xmlns:a16="http://schemas.microsoft.com/office/drawing/2014/main" id="{BF6FEBC9-4D84-4429-87D9-C4414C503187}"/>
                  </a:ext>
                </a:extLst>
              </p:cNvPr>
              <p:cNvSpPr/>
              <p:nvPr/>
            </p:nvSpPr>
            <p:spPr>
              <a:xfrm>
                <a:off x="9529647" y="3385058"/>
                <a:ext cx="1166038" cy="4150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Ministry of Finance </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26" name="Rectangle 125">
                <a:extLst>
                  <a:ext uri="{FF2B5EF4-FFF2-40B4-BE49-F238E27FC236}">
                    <a16:creationId xmlns:a16="http://schemas.microsoft.com/office/drawing/2014/main" id="{3EC1AF70-3FE6-4A1C-9D9B-B1AD53EBD950}"/>
                  </a:ext>
                </a:extLst>
              </p:cNvPr>
              <p:cNvSpPr/>
              <p:nvPr/>
            </p:nvSpPr>
            <p:spPr>
              <a:xfrm>
                <a:off x="9529647" y="3905491"/>
                <a:ext cx="1166038" cy="4150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State Customs Committee</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27" name="Rectangle 126">
                <a:extLst>
                  <a:ext uri="{FF2B5EF4-FFF2-40B4-BE49-F238E27FC236}">
                    <a16:creationId xmlns:a16="http://schemas.microsoft.com/office/drawing/2014/main" id="{01580418-CC30-40C2-9DE8-2A15D2616228}"/>
                  </a:ext>
                </a:extLst>
              </p:cNvPr>
              <p:cNvSpPr/>
              <p:nvPr/>
            </p:nvSpPr>
            <p:spPr>
              <a:xfrm>
                <a:off x="9529647" y="2857176"/>
                <a:ext cx="1166038" cy="4150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Ministry of investments and Foreign Trade</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28" name="Rectangle 127">
                <a:extLst>
                  <a:ext uri="{FF2B5EF4-FFF2-40B4-BE49-F238E27FC236}">
                    <a16:creationId xmlns:a16="http://schemas.microsoft.com/office/drawing/2014/main" id="{FF02E2B0-49A3-465B-8B3A-3074FD22D806}"/>
                  </a:ext>
                </a:extLst>
              </p:cNvPr>
              <p:cNvSpPr/>
              <p:nvPr/>
            </p:nvSpPr>
            <p:spPr>
              <a:xfrm>
                <a:off x="9529647" y="2339658"/>
                <a:ext cx="1166038" cy="4150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Ministry of Economy </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29" name="Rectangle 128">
                <a:extLst>
                  <a:ext uri="{FF2B5EF4-FFF2-40B4-BE49-F238E27FC236}">
                    <a16:creationId xmlns:a16="http://schemas.microsoft.com/office/drawing/2014/main" id="{525A2941-5488-40E4-8860-91DBA8FDA5EE}"/>
                  </a:ext>
                </a:extLst>
              </p:cNvPr>
              <p:cNvSpPr/>
              <p:nvPr/>
            </p:nvSpPr>
            <p:spPr>
              <a:xfrm>
                <a:off x="10772598" y="2339658"/>
                <a:ext cx="1242097" cy="46779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Minister of Economy and Trade development</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0" name="Rectangle 129">
                <a:extLst>
                  <a:ext uri="{FF2B5EF4-FFF2-40B4-BE49-F238E27FC236}">
                    <a16:creationId xmlns:a16="http://schemas.microsoft.com/office/drawing/2014/main" id="{9B48B817-D927-4D7E-8C58-69B6D6E2AB60}"/>
                  </a:ext>
                </a:extLst>
              </p:cNvPr>
              <p:cNvSpPr/>
              <p:nvPr/>
            </p:nvSpPr>
            <p:spPr>
              <a:xfrm>
                <a:off x="10772598" y="2857176"/>
                <a:ext cx="1242097" cy="4150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Ministry of trade and infrastructure development</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1" name="Rectangle 130">
                <a:extLst>
                  <a:ext uri="{FF2B5EF4-FFF2-40B4-BE49-F238E27FC236}">
                    <a16:creationId xmlns:a16="http://schemas.microsoft.com/office/drawing/2014/main" id="{5927CBFE-9931-44EB-910D-6890A7F2C446}"/>
                  </a:ext>
                </a:extLst>
              </p:cNvPr>
              <p:cNvSpPr/>
              <p:nvPr/>
            </p:nvSpPr>
            <p:spPr>
              <a:xfrm>
                <a:off x="10772598" y="3385058"/>
                <a:ext cx="1242097" cy="4150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State Revenue Committee Ministry of Finance</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2" name="Rectangle 131">
                <a:extLst>
                  <a:ext uri="{FF2B5EF4-FFF2-40B4-BE49-F238E27FC236}">
                    <a16:creationId xmlns:a16="http://schemas.microsoft.com/office/drawing/2014/main" id="{21E494EA-CBDF-4E30-8D27-891A1897B3E2}"/>
                  </a:ext>
                </a:extLst>
              </p:cNvPr>
              <p:cNvSpPr/>
              <p:nvPr/>
            </p:nvSpPr>
            <p:spPr>
              <a:xfrm>
                <a:off x="10772598" y="3905491"/>
                <a:ext cx="1242097" cy="4150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State Customs department</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3" name="Rectangle 132">
                <a:extLst>
                  <a:ext uri="{FF2B5EF4-FFF2-40B4-BE49-F238E27FC236}">
                    <a16:creationId xmlns:a16="http://schemas.microsoft.com/office/drawing/2014/main" id="{3BCDBADC-947B-45DD-8356-ACD8C0CF8009}"/>
                  </a:ext>
                </a:extLst>
              </p:cNvPr>
              <p:cNvSpPr/>
              <p:nvPr/>
            </p:nvSpPr>
            <p:spPr>
              <a:xfrm rot="16200000">
                <a:off x="8210693" y="3143349"/>
                <a:ext cx="1980841" cy="4309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Representation from key economic ministrie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4" name="Rectangle 133">
                <a:extLst>
                  <a:ext uri="{FF2B5EF4-FFF2-40B4-BE49-F238E27FC236}">
                    <a16:creationId xmlns:a16="http://schemas.microsoft.com/office/drawing/2014/main" id="{C09D00C8-1371-4540-953F-CC363EBE4CB6}"/>
                  </a:ext>
                </a:extLst>
              </p:cNvPr>
              <p:cNvSpPr/>
              <p:nvPr/>
            </p:nvSpPr>
            <p:spPr>
              <a:xfrm>
                <a:off x="10772598" y="4519304"/>
                <a:ext cx="1242097" cy="4150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Turkestan District Akimat</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5" name="Rectangle 134">
                <a:extLst>
                  <a:ext uri="{FF2B5EF4-FFF2-40B4-BE49-F238E27FC236}">
                    <a16:creationId xmlns:a16="http://schemas.microsoft.com/office/drawing/2014/main" id="{8098EC3B-D70D-4B58-AF72-98CA818D4FA1}"/>
                  </a:ext>
                </a:extLst>
              </p:cNvPr>
              <p:cNvSpPr/>
              <p:nvPr/>
            </p:nvSpPr>
            <p:spPr>
              <a:xfrm>
                <a:off x="10772598" y="1973933"/>
                <a:ext cx="1242096" cy="2528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Kazakhsta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6" name="Rectangle 135">
                <a:extLst>
                  <a:ext uri="{FF2B5EF4-FFF2-40B4-BE49-F238E27FC236}">
                    <a16:creationId xmlns:a16="http://schemas.microsoft.com/office/drawing/2014/main" id="{78B6912D-0776-47F4-B56A-9F60E7C52C62}"/>
                  </a:ext>
                </a:extLst>
              </p:cNvPr>
              <p:cNvSpPr/>
              <p:nvPr/>
            </p:nvSpPr>
            <p:spPr>
              <a:xfrm>
                <a:off x="9529647" y="1973933"/>
                <a:ext cx="1166038" cy="2627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Uzbekista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7" name="Rectangle 136">
                <a:extLst>
                  <a:ext uri="{FF2B5EF4-FFF2-40B4-BE49-F238E27FC236}">
                    <a16:creationId xmlns:a16="http://schemas.microsoft.com/office/drawing/2014/main" id="{0704CD88-62E9-4365-BA24-526773F6A8E0}"/>
                  </a:ext>
                </a:extLst>
              </p:cNvPr>
              <p:cNvSpPr/>
              <p:nvPr/>
            </p:nvSpPr>
            <p:spPr>
              <a:xfrm>
                <a:off x="6485966" y="1933846"/>
                <a:ext cx="1929817" cy="65061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Dual Development Model</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8" name="Rectangle 137">
                <a:extLst>
                  <a:ext uri="{FF2B5EF4-FFF2-40B4-BE49-F238E27FC236}">
                    <a16:creationId xmlns:a16="http://schemas.microsoft.com/office/drawing/2014/main" id="{FC9EEAE4-B94F-4176-8E13-2E8BA2836A93}"/>
                  </a:ext>
                </a:extLst>
              </p:cNvPr>
              <p:cNvSpPr/>
              <p:nvPr/>
            </p:nvSpPr>
            <p:spPr>
              <a:xfrm>
                <a:off x="5631735" y="4048101"/>
                <a:ext cx="754581" cy="4843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Ownership</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9" name="Rectangle 138">
                <a:extLst>
                  <a:ext uri="{FF2B5EF4-FFF2-40B4-BE49-F238E27FC236}">
                    <a16:creationId xmlns:a16="http://schemas.microsoft.com/office/drawing/2014/main" id="{975534C2-B279-40E0-89FB-6B1A70003345}"/>
                  </a:ext>
                </a:extLst>
              </p:cNvPr>
              <p:cNvSpPr/>
              <p:nvPr/>
            </p:nvSpPr>
            <p:spPr>
              <a:xfrm>
                <a:off x="6520954" y="2851709"/>
                <a:ext cx="912350" cy="3724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Uzbekista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0" name="Rectangle 139">
                <a:extLst>
                  <a:ext uri="{FF2B5EF4-FFF2-40B4-BE49-F238E27FC236}">
                    <a16:creationId xmlns:a16="http://schemas.microsoft.com/office/drawing/2014/main" id="{99EA6645-3258-4C9B-8E81-04853E88101A}"/>
                  </a:ext>
                </a:extLst>
              </p:cNvPr>
              <p:cNvSpPr/>
              <p:nvPr/>
            </p:nvSpPr>
            <p:spPr>
              <a:xfrm>
                <a:off x="7497040" y="2853928"/>
                <a:ext cx="918222" cy="3848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Kazakhsta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1" name="Rectangle 140">
                <a:extLst>
                  <a:ext uri="{FF2B5EF4-FFF2-40B4-BE49-F238E27FC236}">
                    <a16:creationId xmlns:a16="http://schemas.microsoft.com/office/drawing/2014/main" id="{2D24D40B-0EE4-48A3-8B5C-A30D57698A15}"/>
                  </a:ext>
                </a:extLst>
              </p:cNvPr>
              <p:cNvSpPr/>
              <p:nvPr/>
            </p:nvSpPr>
            <p:spPr>
              <a:xfrm>
                <a:off x="6520520" y="4056494"/>
                <a:ext cx="874063" cy="44404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Uzbekistan / PPP</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2" name="Rectangle 141">
                <a:extLst>
                  <a:ext uri="{FF2B5EF4-FFF2-40B4-BE49-F238E27FC236}">
                    <a16:creationId xmlns:a16="http://schemas.microsoft.com/office/drawing/2014/main" id="{B347D25A-7D4A-45A4-8C9A-7615A8D4BA04}"/>
                  </a:ext>
                </a:extLst>
              </p:cNvPr>
              <p:cNvSpPr/>
              <p:nvPr/>
            </p:nvSpPr>
            <p:spPr>
              <a:xfrm>
                <a:off x="5631735" y="4659810"/>
                <a:ext cx="754582" cy="4843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Operation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3" name="Rectangle 142">
                <a:extLst>
                  <a:ext uri="{FF2B5EF4-FFF2-40B4-BE49-F238E27FC236}">
                    <a16:creationId xmlns:a16="http://schemas.microsoft.com/office/drawing/2014/main" id="{61929719-1D90-4BDD-88B0-16466C99CE14}"/>
                  </a:ext>
                </a:extLst>
              </p:cNvPr>
              <p:cNvSpPr/>
              <p:nvPr/>
            </p:nvSpPr>
            <p:spPr>
              <a:xfrm>
                <a:off x="6520520" y="4668204"/>
                <a:ext cx="874063" cy="43249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Uzbekistan / Private Entity</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4" name="Rectangle 143">
                <a:extLst>
                  <a:ext uri="{FF2B5EF4-FFF2-40B4-BE49-F238E27FC236}">
                    <a16:creationId xmlns:a16="http://schemas.microsoft.com/office/drawing/2014/main" id="{BEADEF07-FA05-46E3-8298-0199966A0447}"/>
                  </a:ext>
                </a:extLst>
              </p:cNvPr>
              <p:cNvSpPr/>
              <p:nvPr/>
            </p:nvSpPr>
            <p:spPr>
              <a:xfrm>
                <a:off x="7516103" y="4668207"/>
                <a:ext cx="899679" cy="43249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Kazakhstan / Private Entity</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5" name="Rectangle 144">
                <a:extLst>
                  <a:ext uri="{FF2B5EF4-FFF2-40B4-BE49-F238E27FC236}">
                    <a16:creationId xmlns:a16="http://schemas.microsoft.com/office/drawing/2014/main" id="{A581583F-0AB7-4DD0-9EFC-4836CE99EE17}"/>
                  </a:ext>
                </a:extLst>
              </p:cNvPr>
              <p:cNvSpPr/>
              <p:nvPr/>
            </p:nvSpPr>
            <p:spPr>
              <a:xfrm>
                <a:off x="7516103" y="4056494"/>
                <a:ext cx="896142" cy="48439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chemeClr val="tx1"/>
                    </a:solidFill>
                    <a:effectLst/>
                    <a:latin typeface="Arial" panose="020B0604020202020204" pitchFamily="34" charset="0"/>
                    <a:ea typeface="SimSun" panose="02010600030101010101" pitchFamily="2" charset="-122"/>
                    <a:cs typeface="Times New Roman" panose="02020603050405020304" pitchFamily="18" charset="0"/>
                  </a:rPr>
                  <a:t>Kazakhstan / PPP</a:t>
                </a:r>
                <a:endParaRPr lang="en-US" sz="1100">
                  <a:solidFill>
                    <a:schemeClr val="tx1"/>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6" name="Rectangle 145">
                <a:extLst>
                  <a:ext uri="{FF2B5EF4-FFF2-40B4-BE49-F238E27FC236}">
                    <a16:creationId xmlns:a16="http://schemas.microsoft.com/office/drawing/2014/main" id="{8C6DB9C8-EEE4-4CC1-BBF3-C53B787A89F8}"/>
                  </a:ext>
                </a:extLst>
              </p:cNvPr>
              <p:cNvSpPr/>
              <p:nvPr/>
            </p:nvSpPr>
            <p:spPr>
              <a:xfrm>
                <a:off x="5631367" y="3417247"/>
                <a:ext cx="763896" cy="4843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Advisory Body</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147" name="Connector: Elbow 146">
                <a:extLst>
                  <a:ext uri="{FF2B5EF4-FFF2-40B4-BE49-F238E27FC236}">
                    <a16:creationId xmlns:a16="http://schemas.microsoft.com/office/drawing/2014/main" id="{0BB79A36-7265-4567-B93E-B91145CF0735}"/>
                  </a:ext>
                </a:extLst>
              </p:cNvPr>
              <p:cNvCxnSpPr>
                <a:cxnSpLocks/>
                <a:stCxn id="150" idx="3"/>
                <a:endCxn id="149" idx="1"/>
              </p:cNvCxnSpPr>
              <p:nvPr/>
            </p:nvCxnSpPr>
            <p:spPr>
              <a:xfrm flipV="1">
                <a:off x="8412244" y="1731251"/>
                <a:ext cx="1108110" cy="1923760"/>
              </a:xfrm>
              <a:prstGeom prst="bentConnector3">
                <a:avLst>
                  <a:gd name="adj1" fmla="val 26043"/>
                </a:avLst>
              </a:prstGeom>
              <a:ln w="190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48" name="Rectangle 147">
                <a:extLst>
                  <a:ext uri="{FF2B5EF4-FFF2-40B4-BE49-F238E27FC236}">
                    <a16:creationId xmlns:a16="http://schemas.microsoft.com/office/drawing/2014/main" id="{E961D024-AEBE-43AE-B979-56F67A4BFBAE}"/>
                  </a:ext>
                </a:extLst>
              </p:cNvPr>
              <p:cNvSpPr/>
              <p:nvPr/>
            </p:nvSpPr>
            <p:spPr>
              <a:xfrm>
                <a:off x="6483429" y="3324816"/>
                <a:ext cx="2012472" cy="650611"/>
              </a:xfrm>
              <a:prstGeom prst="rect">
                <a:avLst/>
              </a:prstGeom>
              <a:noFill/>
              <a:ln w="28575">
                <a:solidFill>
                  <a:srgbClr val="00B0F0"/>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endParaRPr lang="en-US"/>
              </a:p>
            </p:txBody>
          </p:sp>
          <p:sp>
            <p:nvSpPr>
              <p:cNvPr id="149" name="Rectangle 148">
                <a:extLst>
                  <a:ext uri="{FF2B5EF4-FFF2-40B4-BE49-F238E27FC236}">
                    <a16:creationId xmlns:a16="http://schemas.microsoft.com/office/drawing/2014/main" id="{6779A7C9-E57A-4F56-BA10-974B24B8EE0A}"/>
                  </a:ext>
                </a:extLst>
              </p:cNvPr>
              <p:cNvSpPr/>
              <p:nvPr/>
            </p:nvSpPr>
            <p:spPr>
              <a:xfrm>
                <a:off x="9520354" y="1540792"/>
                <a:ext cx="2494294" cy="38091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1100">
                    <a:effectLst/>
                    <a:latin typeface="Arial" panose="020B0604020202020204" pitchFamily="34" charset="0"/>
                    <a:ea typeface="SimSun" panose="02010600030101010101" pitchFamily="2" charset="-122"/>
                    <a:cs typeface="Times New Roman" panose="02020603050405020304" pitchFamily="18" charset="0"/>
                  </a:rPr>
                  <a:t>Supervisory Board</a:t>
                </a:r>
              </a:p>
            </p:txBody>
          </p:sp>
          <p:sp>
            <p:nvSpPr>
              <p:cNvPr id="150" name="Rectangle 149">
                <a:extLst>
                  <a:ext uri="{FF2B5EF4-FFF2-40B4-BE49-F238E27FC236}">
                    <a16:creationId xmlns:a16="http://schemas.microsoft.com/office/drawing/2014/main" id="{D61299D5-A2EB-4780-B4F5-D713C0C85C49}"/>
                  </a:ext>
                </a:extLst>
              </p:cNvPr>
              <p:cNvSpPr/>
              <p:nvPr/>
            </p:nvSpPr>
            <p:spPr>
              <a:xfrm>
                <a:off x="6520520" y="3395738"/>
                <a:ext cx="1891724" cy="51854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kern="1200">
                    <a:solidFill>
                      <a:srgbClr val="FFFFFF"/>
                    </a:solidFill>
                    <a:effectLst/>
                    <a:latin typeface="Arial" panose="020B0604020202020204" pitchFamily="34" charset="0"/>
                    <a:ea typeface="SimSun" panose="02010600030101010101" pitchFamily="2" charset="-122"/>
                    <a:cs typeface="Times New Roman" panose="02020603050405020304" pitchFamily="18" charset="0"/>
                  </a:rPr>
                  <a:t>Intergovernmental supervisory board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sp>
          <p:nvSpPr>
            <p:cNvPr id="152" name="Rectangle 151">
              <a:extLst>
                <a:ext uri="{FF2B5EF4-FFF2-40B4-BE49-F238E27FC236}">
                  <a16:creationId xmlns:a16="http://schemas.microsoft.com/office/drawing/2014/main" id="{2DD61C37-B4C0-47D7-9A20-C798CB37151C}"/>
                </a:ext>
              </a:extLst>
            </p:cNvPr>
            <p:cNvSpPr/>
            <p:nvPr/>
          </p:nvSpPr>
          <p:spPr>
            <a:xfrm>
              <a:off x="145232" y="5648765"/>
              <a:ext cx="2668522" cy="299356"/>
            </a:xfrm>
            <a:prstGeom prst="rect">
              <a:avLst/>
            </a:prstGeom>
            <a:solidFill>
              <a:srgbClr val="464646"/>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b="1"/>
                <a:t>Pros</a:t>
              </a:r>
            </a:p>
          </p:txBody>
        </p:sp>
        <p:sp>
          <p:nvSpPr>
            <p:cNvPr id="154" name="Rectangle 153">
              <a:extLst>
                <a:ext uri="{FF2B5EF4-FFF2-40B4-BE49-F238E27FC236}">
                  <a16:creationId xmlns:a16="http://schemas.microsoft.com/office/drawing/2014/main" id="{523F56A1-4AC7-40A8-8ACF-2AC7048D7C29}"/>
                </a:ext>
              </a:extLst>
            </p:cNvPr>
            <p:cNvSpPr/>
            <p:nvPr/>
          </p:nvSpPr>
          <p:spPr>
            <a:xfrm>
              <a:off x="179174" y="6007783"/>
              <a:ext cx="2594167" cy="24163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a:solidFill>
                    <a:schemeClr val="tx1"/>
                  </a:solidFill>
                </a:rPr>
                <a:t>Harmonized laws may be achieved</a:t>
              </a:r>
            </a:p>
          </p:txBody>
        </p:sp>
        <p:sp>
          <p:nvSpPr>
            <p:cNvPr id="163" name="Rectangle 162">
              <a:extLst>
                <a:ext uri="{FF2B5EF4-FFF2-40B4-BE49-F238E27FC236}">
                  <a16:creationId xmlns:a16="http://schemas.microsoft.com/office/drawing/2014/main" id="{49C7BB6C-F8DB-48BE-B6B2-C54B03AD466B}"/>
                </a:ext>
              </a:extLst>
            </p:cNvPr>
            <p:cNvSpPr/>
            <p:nvPr/>
          </p:nvSpPr>
          <p:spPr>
            <a:xfrm>
              <a:off x="2845271" y="5644584"/>
              <a:ext cx="2462785" cy="31445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b="1"/>
                <a:t>Cons</a:t>
              </a:r>
            </a:p>
          </p:txBody>
        </p:sp>
        <p:sp>
          <p:nvSpPr>
            <p:cNvPr id="176" name="Rectangle 175">
              <a:extLst>
                <a:ext uri="{FF2B5EF4-FFF2-40B4-BE49-F238E27FC236}">
                  <a16:creationId xmlns:a16="http://schemas.microsoft.com/office/drawing/2014/main" id="{FF40D368-F35A-418D-95AD-F70670BA44A6}"/>
                </a:ext>
              </a:extLst>
            </p:cNvPr>
            <p:cNvSpPr/>
            <p:nvPr/>
          </p:nvSpPr>
          <p:spPr>
            <a:xfrm>
              <a:off x="179174" y="6296175"/>
              <a:ext cx="2594167" cy="33278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a:solidFill>
                    <a:schemeClr val="tx1"/>
                  </a:solidFill>
                </a:rPr>
                <a:t>Ease of Co-ordination</a:t>
              </a:r>
            </a:p>
          </p:txBody>
        </p:sp>
        <p:sp>
          <p:nvSpPr>
            <p:cNvPr id="178" name="Rectangle 177">
              <a:extLst>
                <a:ext uri="{FF2B5EF4-FFF2-40B4-BE49-F238E27FC236}">
                  <a16:creationId xmlns:a16="http://schemas.microsoft.com/office/drawing/2014/main" id="{7A5F37E7-9C3D-4A9C-9D08-61C9638C2C19}"/>
                </a:ext>
              </a:extLst>
            </p:cNvPr>
            <p:cNvSpPr/>
            <p:nvPr/>
          </p:nvSpPr>
          <p:spPr>
            <a:xfrm>
              <a:off x="2843439" y="6014240"/>
              <a:ext cx="2462785" cy="24163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a:solidFill>
                    <a:schemeClr val="tx1"/>
                  </a:solidFill>
                </a:rPr>
                <a:t>ICIC to set up its own regulations</a:t>
              </a:r>
            </a:p>
          </p:txBody>
        </p:sp>
        <p:sp>
          <p:nvSpPr>
            <p:cNvPr id="179" name="Rectangle 178">
              <a:extLst>
                <a:ext uri="{FF2B5EF4-FFF2-40B4-BE49-F238E27FC236}">
                  <a16:creationId xmlns:a16="http://schemas.microsoft.com/office/drawing/2014/main" id="{34C0AC29-DF44-4DB7-82CF-80F8492438C5}"/>
                </a:ext>
              </a:extLst>
            </p:cNvPr>
            <p:cNvSpPr/>
            <p:nvPr/>
          </p:nvSpPr>
          <p:spPr>
            <a:xfrm>
              <a:off x="2843439" y="6302633"/>
              <a:ext cx="2462785" cy="33278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a:solidFill>
                    <a:schemeClr val="tx1"/>
                  </a:solidFill>
                </a:rPr>
                <a:t>Chances of disagreement between stakeholders</a:t>
              </a:r>
            </a:p>
          </p:txBody>
        </p:sp>
        <p:sp>
          <p:nvSpPr>
            <p:cNvPr id="180" name="Rectangle 179">
              <a:extLst>
                <a:ext uri="{FF2B5EF4-FFF2-40B4-BE49-F238E27FC236}">
                  <a16:creationId xmlns:a16="http://schemas.microsoft.com/office/drawing/2014/main" id="{58768C5A-DBB2-4B64-B528-701327377389}"/>
                </a:ext>
              </a:extLst>
            </p:cNvPr>
            <p:cNvSpPr/>
            <p:nvPr/>
          </p:nvSpPr>
          <p:spPr>
            <a:xfrm>
              <a:off x="6181842" y="5645039"/>
              <a:ext cx="2668522" cy="299356"/>
            </a:xfrm>
            <a:prstGeom prst="rect">
              <a:avLst/>
            </a:prstGeom>
            <a:solidFill>
              <a:srgbClr val="464646"/>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b="1"/>
                <a:t>Pros</a:t>
              </a:r>
            </a:p>
          </p:txBody>
        </p:sp>
        <p:sp>
          <p:nvSpPr>
            <p:cNvPr id="181" name="Rectangle 180">
              <a:extLst>
                <a:ext uri="{FF2B5EF4-FFF2-40B4-BE49-F238E27FC236}">
                  <a16:creationId xmlns:a16="http://schemas.microsoft.com/office/drawing/2014/main" id="{A5E064E5-E793-45AB-B10D-D5CD7D62DE0B}"/>
                </a:ext>
              </a:extLst>
            </p:cNvPr>
            <p:cNvSpPr/>
            <p:nvPr/>
          </p:nvSpPr>
          <p:spPr>
            <a:xfrm>
              <a:off x="6215784" y="6004057"/>
              <a:ext cx="2594167" cy="24163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a:solidFill>
                    <a:schemeClr val="tx1"/>
                  </a:solidFill>
                </a:rPr>
                <a:t>Mature Model in Central Asia</a:t>
              </a:r>
            </a:p>
          </p:txBody>
        </p:sp>
        <p:sp>
          <p:nvSpPr>
            <p:cNvPr id="182" name="Rectangle 181">
              <a:extLst>
                <a:ext uri="{FF2B5EF4-FFF2-40B4-BE49-F238E27FC236}">
                  <a16:creationId xmlns:a16="http://schemas.microsoft.com/office/drawing/2014/main" id="{46711D77-90D5-4F83-861A-F4D4021213A6}"/>
                </a:ext>
              </a:extLst>
            </p:cNvPr>
            <p:cNvSpPr/>
            <p:nvPr/>
          </p:nvSpPr>
          <p:spPr>
            <a:xfrm>
              <a:off x="8902429" y="5645039"/>
              <a:ext cx="2668522" cy="299356"/>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b="1"/>
                <a:t>Cons</a:t>
              </a:r>
            </a:p>
          </p:txBody>
        </p:sp>
        <p:sp>
          <p:nvSpPr>
            <p:cNvPr id="183" name="Rectangle 182">
              <a:extLst>
                <a:ext uri="{FF2B5EF4-FFF2-40B4-BE49-F238E27FC236}">
                  <a16:creationId xmlns:a16="http://schemas.microsoft.com/office/drawing/2014/main" id="{70E901B9-8249-454B-9FB5-295DDCD92372}"/>
                </a:ext>
              </a:extLst>
            </p:cNvPr>
            <p:cNvSpPr/>
            <p:nvPr/>
          </p:nvSpPr>
          <p:spPr>
            <a:xfrm>
              <a:off x="6215784" y="6292449"/>
              <a:ext cx="2594167" cy="34338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a:solidFill>
                    <a:schemeClr val="tx1"/>
                  </a:solidFill>
                </a:rPr>
                <a:t>Change of laws may be avoided</a:t>
              </a:r>
            </a:p>
          </p:txBody>
        </p:sp>
        <p:sp>
          <p:nvSpPr>
            <p:cNvPr id="184" name="Rectangle 183">
              <a:extLst>
                <a:ext uri="{FF2B5EF4-FFF2-40B4-BE49-F238E27FC236}">
                  <a16:creationId xmlns:a16="http://schemas.microsoft.com/office/drawing/2014/main" id="{FECF8E6D-78CB-406C-A78F-C36AFFD00693}"/>
                </a:ext>
              </a:extLst>
            </p:cNvPr>
            <p:cNvSpPr/>
            <p:nvPr/>
          </p:nvSpPr>
          <p:spPr>
            <a:xfrm>
              <a:off x="8960318" y="5989776"/>
              <a:ext cx="2594167" cy="24163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a:solidFill>
                    <a:schemeClr val="tx1"/>
                  </a:solidFill>
                </a:rPr>
                <a:t>Unharmonized laws</a:t>
              </a:r>
            </a:p>
          </p:txBody>
        </p:sp>
        <p:sp>
          <p:nvSpPr>
            <p:cNvPr id="185" name="Rectangle 184">
              <a:extLst>
                <a:ext uri="{FF2B5EF4-FFF2-40B4-BE49-F238E27FC236}">
                  <a16:creationId xmlns:a16="http://schemas.microsoft.com/office/drawing/2014/main" id="{8D02E544-A2A2-4C07-A3A3-4D33BE2480D8}"/>
                </a:ext>
              </a:extLst>
            </p:cNvPr>
            <p:cNvSpPr/>
            <p:nvPr/>
          </p:nvSpPr>
          <p:spPr>
            <a:xfrm>
              <a:off x="8960318" y="6278168"/>
              <a:ext cx="2668522" cy="35948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0000" bIns="90000" rtlCol="0" anchor="ctr"/>
            <a:lstStyle/>
            <a:p>
              <a:pPr>
                <a:lnSpc>
                  <a:spcPct val="100000"/>
                </a:lnSpc>
              </a:pPr>
              <a:r>
                <a:rPr lang="en-US" sz="1200">
                  <a:solidFill>
                    <a:schemeClr val="tx1"/>
                  </a:solidFill>
                </a:rPr>
                <a:t>Co-ordination issues might occur</a:t>
              </a:r>
            </a:p>
          </p:txBody>
        </p:sp>
        <p:sp>
          <p:nvSpPr>
            <p:cNvPr id="186" name="Rectangle 185">
              <a:extLst>
                <a:ext uri="{FF2B5EF4-FFF2-40B4-BE49-F238E27FC236}">
                  <a16:creationId xmlns:a16="http://schemas.microsoft.com/office/drawing/2014/main" id="{798B5FF1-23EA-4D0C-AD49-220BBB980F2C}"/>
                </a:ext>
              </a:extLst>
            </p:cNvPr>
            <p:cNvSpPr/>
            <p:nvPr/>
          </p:nvSpPr>
          <p:spPr>
            <a:xfrm>
              <a:off x="87341" y="1382841"/>
              <a:ext cx="5485967" cy="5387829"/>
            </a:xfrm>
            <a:prstGeom prst="rect">
              <a:avLst/>
            </a:prstGeom>
            <a:noFill/>
            <a:ln>
              <a:solidFill>
                <a:schemeClr val="accent5">
                  <a:lumMod val="75000"/>
                </a:schemeClr>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4" name="Google Shape;1631;g114e5dc4418_1_0">
              <a:extLst>
                <a:ext uri="{FF2B5EF4-FFF2-40B4-BE49-F238E27FC236}">
                  <a16:creationId xmlns:a16="http://schemas.microsoft.com/office/drawing/2014/main" id="{6DA0C537-A819-4F20-85C2-F1B72BE623BF}"/>
                </a:ext>
              </a:extLst>
            </p:cNvPr>
            <p:cNvSpPr/>
            <p:nvPr/>
          </p:nvSpPr>
          <p:spPr>
            <a:xfrm flipH="1">
              <a:off x="282450" y="1219681"/>
              <a:ext cx="4998467" cy="297494"/>
            </a:xfrm>
            <a:prstGeom prst="rect">
              <a:avLst/>
            </a:prstGeom>
            <a:solidFill>
              <a:schemeClr val="accent5">
                <a:lumMod val="75000"/>
              </a:schemeClr>
            </a:solidFill>
            <a:ln w="9525" cap="flat" cmpd="sng">
              <a:noFill/>
              <a:prstDash val="solid"/>
              <a:round/>
              <a:headEnd type="none" w="sm" len="sm"/>
              <a:tailEnd type="none" w="sm" len="sm"/>
            </a:ln>
          </p:spPr>
          <p:txBody>
            <a:bodyPr spcFirstLastPara="1" wrap="square" lIns="98375" tIns="98375" rIns="98375" bIns="983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79"/>
                <a:buFont typeface="Arial"/>
                <a:buNone/>
                <a:tabLst/>
                <a:defRPr/>
              </a:pPr>
              <a:r>
                <a:rPr kumimoji="0" lang="en-US" sz="1200" b="1" i="0" u="none" strike="noStrike" kern="0" cap="none" spc="0" normalizeH="0" baseline="0" noProof="0">
                  <a:ln>
                    <a:noFill/>
                  </a:ln>
                  <a:solidFill>
                    <a:schemeClr val="bg1"/>
                  </a:solidFill>
                  <a:effectLst/>
                  <a:uLnTx/>
                  <a:uFillTx/>
                  <a:latin typeface="Arial"/>
                  <a:ea typeface="Arial"/>
                  <a:cs typeface="Arial"/>
                  <a:sym typeface="Arial"/>
                </a:rPr>
                <a:t>Model I: Single Entity Model</a:t>
              </a:r>
              <a:endParaRPr kumimoji="0" sz="1200" b="1" i="0" u="none" strike="noStrike" kern="0" cap="none" spc="0" normalizeH="0" baseline="0" noProof="0">
                <a:ln>
                  <a:noFill/>
                </a:ln>
                <a:solidFill>
                  <a:schemeClr val="bg1"/>
                </a:solidFill>
                <a:effectLst/>
                <a:uLnTx/>
                <a:uFillTx/>
                <a:latin typeface="Arial"/>
                <a:ea typeface="Arial"/>
                <a:cs typeface="Arial"/>
                <a:sym typeface="Arial"/>
              </a:endParaRPr>
            </a:p>
          </p:txBody>
        </p:sp>
        <p:sp>
          <p:nvSpPr>
            <p:cNvPr id="187" name="Rectangle 186">
              <a:extLst>
                <a:ext uri="{FF2B5EF4-FFF2-40B4-BE49-F238E27FC236}">
                  <a16:creationId xmlns:a16="http://schemas.microsoft.com/office/drawing/2014/main" id="{6FE2C861-F23D-4064-A1D2-F7BABC70E91D}"/>
                </a:ext>
              </a:extLst>
            </p:cNvPr>
            <p:cNvSpPr/>
            <p:nvPr/>
          </p:nvSpPr>
          <p:spPr>
            <a:xfrm>
              <a:off x="5544769" y="1382840"/>
              <a:ext cx="6588261" cy="5387829"/>
            </a:xfrm>
            <a:prstGeom prst="rect">
              <a:avLst/>
            </a:prstGeom>
            <a:noFill/>
            <a:ln>
              <a:solidFill>
                <a:schemeClr val="accent5">
                  <a:lumMod val="75000"/>
                </a:schemeClr>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18" name="Google Shape;1631;g114e5dc4418_1_0">
              <a:extLst>
                <a:ext uri="{FF2B5EF4-FFF2-40B4-BE49-F238E27FC236}">
                  <a16:creationId xmlns:a16="http://schemas.microsoft.com/office/drawing/2014/main" id="{363F2147-5DB4-4E56-84CF-97607149CFBB}"/>
                </a:ext>
              </a:extLst>
            </p:cNvPr>
            <p:cNvSpPr/>
            <p:nvPr/>
          </p:nvSpPr>
          <p:spPr>
            <a:xfrm flipH="1">
              <a:off x="6750622" y="1219089"/>
              <a:ext cx="4998467" cy="297494"/>
            </a:xfrm>
            <a:prstGeom prst="rect">
              <a:avLst/>
            </a:prstGeom>
            <a:solidFill>
              <a:schemeClr val="accent5">
                <a:lumMod val="75000"/>
              </a:schemeClr>
            </a:solidFill>
            <a:ln w="9525" cap="flat" cmpd="sng">
              <a:noFill/>
              <a:prstDash val="solid"/>
              <a:round/>
              <a:headEnd type="none" w="sm" len="sm"/>
              <a:tailEnd type="none" w="sm" len="sm"/>
            </a:ln>
          </p:spPr>
          <p:txBody>
            <a:bodyPr spcFirstLastPara="1" wrap="square" lIns="98375" tIns="98375" rIns="98375" bIns="983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79"/>
                <a:buFont typeface="Arial"/>
                <a:buNone/>
                <a:tabLst/>
                <a:defRPr/>
              </a:pPr>
              <a:r>
                <a:rPr kumimoji="0" lang="en-US" sz="1200" b="1" i="0" u="none" strike="noStrike" kern="0" cap="none" spc="0" normalizeH="0" baseline="0" noProof="0">
                  <a:ln>
                    <a:noFill/>
                  </a:ln>
                  <a:solidFill>
                    <a:schemeClr val="bg1"/>
                  </a:solidFill>
                  <a:effectLst/>
                  <a:uLnTx/>
                  <a:uFillTx/>
                  <a:latin typeface="Arial"/>
                  <a:ea typeface="Arial"/>
                  <a:cs typeface="Arial"/>
                  <a:sym typeface="Arial"/>
                </a:rPr>
                <a:t>Model II: Dual Entity Model</a:t>
              </a:r>
              <a:endParaRPr kumimoji="0" sz="1200" b="1" i="0" u="none" strike="noStrike" kern="0" cap="none" spc="0" normalizeH="0" baseline="0" noProof="0">
                <a:ln>
                  <a:noFill/>
                </a:ln>
                <a:solidFill>
                  <a:schemeClr val="bg1"/>
                </a:solidFill>
                <a:effectLst/>
                <a:uLnTx/>
                <a:uFillTx/>
                <a:latin typeface="Arial"/>
                <a:ea typeface="Arial"/>
                <a:cs typeface="Arial"/>
                <a:sym typeface="Arial"/>
              </a:endParaRPr>
            </a:p>
          </p:txBody>
        </p:sp>
      </p:grpSp>
      <p:graphicFrame>
        <p:nvGraphicFramePr>
          <p:cNvPr id="87" name="Diagram 86">
            <a:extLst>
              <a:ext uri="{FF2B5EF4-FFF2-40B4-BE49-F238E27FC236}">
                <a16:creationId xmlns:a16="http://schemas.microsoft.com/office/drawing/2014/main" id="{00E7B1A8-E122-419E-8B72-F2DF24589729}"/>
              </a:ext>
            </a:extLst>
          </p:cNvPr>
          <p:cNvGraphicFramePr/>
          <p:nvPr>
            <p:extLst>
              <p:ext uri="{D42A27DB-BD31-4B8C-83A1-F6EECF244321}">
                <p14:modId xmlns:p14="http://schemas.microsoft.com/office/powerpoint/2010/main" val="1721442812"/>
              </p:ext>
            </p:extLst>
          </p:nvPr>
        </p:nvGraphicFramePr>
        <p:xfrm>
          <a:off x="442915" y="0"/>
          <a:ext cx="11749086" cy="2234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2" name="Date Placeholder 21">
            <a:extLst>
              <a:ext uri="{FF2B5EF4-FFF2-40B4-BE49-F238E27FC236}">
                <a16:creationId xmlns:a16="http://schemas.microsoft.com/office/drawing/2014/main" id="{D2A0C9C0-3C8C-44CC-B88F-A732A130B26A}"/>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23" name="Slide Number Placeholder 22">
            <a:extLst>
              <a:ext uri="{FF2B5EF4-FFF2-40B4-BE49-F238E27FC236}">
                <a16:creationId xmlns:a16="http://schemas.microsoft.com/office/drawing/2014/main" id="{FCD6137E-88D6-488C-9704-E215982240A8}"/>
              </a:ext>
            </a:extLst>
          </p:cNvPr>
          <p:cNvSpPr>
            <a:spLocks noGrp="1"/>
          </p:cNvSpPr>
          <p:nvPr>
            <p:ph type="sldNum" idx="12"/>
          </p:nvPr>
        </p:nvSpPr>
        <p:spPr/>
        <p:txBody>
          <a:bodyPr/>
          <a:lstStyle/>
          <a:p>
            <a:pPr lvl="0"/>
            <a:fld id="{00000000-1234-1234-1234-123412341234}" type="slidenum">
              <a:rPr lang="en-US" smtClean="0"/>
              <a:pPr lvl="0"/>
              <a:t>16</a:t>
            </a:fld>
            <a:endParaRPr lang="en-US"/>
          </a:p>
        </p:txBody>
      </p:sp>
      <p:sp>
        <p:nvSpPr>
          <p:cNvPr id="85" name="Freeform 18">
            <a:extLst>
              <a:ext uri="{FF2B5EF4-FFF2-40B4-BE49-F238E27FC236}">
                <a16:creationId xmlns:a16="http://schemas.microsoft.com/office/drawing/2014/main" id="{CF466A34-3063-4DE3-B52B-54FDD78C9BBA}"/>
              </a:ext>
            </a:extLst>
          </p:cNvPr>
          <p:cNvSpPr>
            <a:spLocks noChangeAspect="1"/>
          </p:cNvSpPr>
          <p:nvPr/>
        </p:nvSpPr>
        <p:spPr bwMode="auto">
          <a:xfrm>
            <a:off x="1573860" y="6263079"/>
            <a:ext cx="389231" cy="303447"/>
          </a:xfrm>
          <a:custGeom>
            <a:avLst/>
            <a:gdLst>
              <a:gd name="T0" fmla="*/ 263 w 304"/>
              <a:gd name="T1" fmla="*/ 0 h 237"/>
              <a:gd name="T2" fmla="*/ 108 w 304"/>
              <a:gd name="T3" fmla="*/ 157 h 237"/>
              <a:gd name="T4" fmla="*/ 40 w 304"/>
              <a:gd name="T5" fmla="*/ 88 h 237"/>
              <a:gd name="T6" fmla="*/ 0 w 304"/>
              <a:gd name="T7" fmla="*/ 128 h 237"/>
              <a:gd name="T8" fmla="*/ 108 w 304"/>
              <a:gd name="T9" fmla="*/ 237 h 237"/>
              <a:gd name="T10" fmla="*/ 304 w 304"/>
              <a:gd name="T11" fmla="*/ 41 h 237"/>
              <a:gd name="T12" fmla="*/ 263 w 304"/>
              <a:gd name="T13" fmla="*/ 0 h 237"/>
            </a:gdLst>
            <a:ahLst/>
            <a:cxnLst>
              <a:cxn ang="0">
                <a:pos x="T0" y="T1"/>
              </a:cxn>
              <a:cxn ang="0">
                <a:pos x="T2" y="T3"/>
              </a:cxn>
              <a:cxn ang="0">
                <a:pos x="T4" y="T5"/>
              </a:cxn>
              <a:cxn ang="0">
                <a:pos x="T6" y="T7"/>
              </a:cxn>
              <a:cxn ang="0">
                <a:pos x="T8" y="T9"/>
              </a:cxn>
              <a:cxn ang="0">
                <a:pos x="T10" y="T11"/>
              </a:cxn>
              <a:cxn ang="0">
                <a:pos x="T12" y="T13"/>
              </a:cxn>
            </a:cxnLst>
            <a:rect l="0" t="0" r="r" b="b"/>
            <a:pathLst>
              <a:path w="304" h="237">
                <a:moveTo>
                  <a:pt x="263" y="0"/>
                </a:moveTo>
                <a:lnTo>
                  <a:pt x="108" y="157"/>
                </a:lnTo>
                <a:lnTo>
                  <a:pt x="40" y="88"/>
                </a:lnTo>
                <a:lnTo>
                  <a:pt x="0" y="128"/>
                </a:lnTo>
                <a:lnTo>
                  <a:pt x="108" y="237"/>
                </a:lnTo>
                <a:lnTo>
                  <a:pt x="304" y="41"/>
                </a:lnTo>
                <a:lnTo>
                  <a:pt x="263" y="0"/>
                </a:ln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88" name="TextBox 87">
            <a:extLst>
              <a:ext uri="{FF2B5EF4-FFF2-40B4-BE49-F238E27FC236}">
                <a16:creationId xmlns:a16="http://schemas.microsoft.com/office/drawing/2014/main" id="{4F5A3444-F444-4E7C-A7C9-3368B6E18E19}"/>
              </a:ext>
            </a:extLst>
          </p:cNvPr>
          <p:cNvSpPr txBox="1"/>
          <p:nvPr/>
        </p:nvSpPr>
        <p:spPr>
          <a:xfrm>
            <a:off x="1418964" y="6332057"/>
            <a:ext cx="2619335" cy="215444"/>
          </a:xfrm>
          <a:prstGeom prst="rect">
            <a:avLst/>
          </a:prstGeom>
          <a:noFill/>
          <a:ln>
            <a:noFill/>
          </a:ln>
        </p:spPr>
        <p:txBody>
          <a:bodyPr wrap="square" lIns="0" tIns="0" rIns="0" bIns="0" rtlCol="0">
            <a:spAutoFit/>
          </a:bodyPr>
          <a:lstStyle/>
          <a:p>
            <a:pPr algn="ctr"/>
            <a:r>
              <a:rPr lang="en-US" sz="1400" i="1" dirty="0">
                <a:cs typeface="Arial" pitchFamily="34" charset="0"/>
              </a:rPr>
              <a:t>Preferred Model</a:t>
            </a:r>
          </a:p>
        </p:txBody>
      </p:sp>
    </p:spTree>
    <p:custDataLst>
      <p:custData r:id="rId1"/>
    </p:custDataLst>
    <p:extLst>
      <p:ext uri="{BB962C8B-B14F-4D97-AF65-F5344CB8AC3E}">
        <p14:creationId xmlns:p14="http://schemas.microsoft.com/office/powerpoint/2010/main" val="18433577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alpha val="94000"/>
          </a:schemeClr>
        </a:solidFill>
        <a:effectLst/>
      </p:bgPr>
    </p:bg>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4128650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pPr lvl="0"/>
            <a:r>
              <a:rPr lang="en-US" sz="2400" b="0" dirty="0">
                <a:latin typeface="Georgia" panose="02040502050405020303" pitchFamily="18" charset="0"/>
              </a:rPr>
              <a:t>Components for ICIC</a:t>
            </a:r>
          </a:p>
        </p:txBody>
      </p:sp>
      <p:grpSp>
        <p:nvGrpSpPr>
          <p:cNvPr id="9" name="Group 8">
            <a:extLst>
              <a:ext uri="{FF2B5EF4-FFF2-40B4-BE49-F238E27FC236}">
                <a16:creationId xmlns:a16="http://schemas.microsoft.com/office/drawing/2014/main" id="{0E484AB1-E3A2-43DB-8A80-4C8FDA93039F}"/>
              </a:ext>
            </a:extLst>
          </p:cNvPr>
          <p:cNvGrpSpPr/>
          <p:nvPr/>
        </p:nvGrpSpPr>
        <p:grpSpPr>
          <a:xfrm>
            <a:off x="482005" y="1127359"/>
            <a:ext cx="11227990" cy="5611096"/>
            <a:chOff x="186802" y="1127359"/>
            <a:chExt cx="8417880" cy="5611096"/>
          </a:xfrm>
        </p:grpSpPr>
        <p:sp>
          <p:nvSpPr>
            <p:cNvPr id="23" name="TextBox 22">
              <a:extLst>
                <a:ext uri="{FF2B5EF4-FFF2-40B4-BE49-F238E27FC236}">
                  <a16:creationId xmlns:a16="http://schemas.microsoft.com/office/drawing/2014/main" id="{0268B00F-0A99-4FF6-B2D7-F9F1DB753DDB}"/>
                </a:ext>
              </a:extLst>
            </p:cNvPr>
            <p:cNvSpPr txBox="1"/>
            <p:nvPr/>
          </p:nvSpPr>
          <p:spPr>
            <a:xfrm>
              <a:off x="645677" y="1140740"/>
              <a:ext cx="2201678" cy="215162"/>
            </a:xfrm>
            <a:prstGeom prst="rect">
              <a:avLst/>
            </a:prstGeom>
            <a:solidFill>
              <a:srgbClr val="FFC000"/>
            </a:solidFill>
            <a:ln w="12700" cap="sq" cmpd="sng" algn="ctr">
              <a:noFill/>
              <a:prstDash val="solid"/>
            </a:ln>
            <a:effectLst/>
          </p:spPr>
          <p:txBody>
            <a:bodyPr wrap="square" lIns="72000" tIns="10973" rIns="72000" bIns="10973" rtlCol="0">
              <a:spAutoFit/>
            </a:bodyPr>
            <a:lstStyle/>
            <a:p>
              <a:pPr marL="0" marR="0" lvl="0" indent="0" algn="l" defTabSz="1097280" rtl="0" eaLnBrk="1" fontAlgn="auto" latinLnBrk="0" hangingPunct="1">
                <a:lnSpc>
                  <a:spcPct val="114000"/>
                </a:lnSpc>
                <a:spcBef>
                  <a:spcPts val="0"/>
                </a:spcBef>
                <a:spcAft>
                  <a:spcPts val="720"/>
                </a:spcAft>
                <a:buClr>
                  <a:srgbClr val="000000"/>
                </a:buClr>
                <a:buSzPct val="100000"/>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Components</a:t>
              </a:r>
            </a:p>
          </p:txBody>
        </p:sp>
        <p:sp>
          <p:nvSpPr>
            <p:cNvPr id="24" name="TextBox 23">
              <a:extLst>
                <a:ext uri="{FF2B5EF4-FFF2-40B4-BE49-F238E27FC236}">
                  <a16:creationId xmlns:a16="http://schemas.microsoft.com/office/drawing/2014/main" id="{F7798E95-4AC4-42A0-B580-1AC6D3E03C1C}"/>
                </a:ext>
              </a:extLst>
            </p:cNvPr>
            <p:cNvSpPr txBox="1"/>
            <p:nvPr/>
          </p:nvSpPr>
          <p:spPr>
            <a:xfrm>
              <a:off x="3108081" y="1140739"/>
              <a:ext cx="3537509" cy="217490"/>
            </a:xfrm>
            <a:prstGeom prst="rect">
              <a:avLst/>
            </a:prstGeom>
            <a:solidFill>
              <a:srgbClr val="FFC000"/>
            </a:solidFill>
            <a:ln w="12700" cap="sq" cmpd="sng" algn="ctr">
              <a:noFill/>
              <a:prstDash val="solid"/>
            </a:ln>
            <a:effectLst/>
          </p:spPr>
          <p:txBody>
            <a:bodyPr wrap="square" lIns="72000" tIns="10973" rIns="72000" bIns="10973" rtlCol="0">
              <a:spAutoFit/>
            </a:bodyPr>
            <a:lstStyle/>
            <a:p>
              <a:pPr marL="0" marR="0" lvl="0" indent="0" algn="l" defTabSz="1097280" rtl="0" eaLnBrk="1" fontAlgn="auto" latinLnBrk="0" hangingPunct="1">
                <a:lnSpc>
                  <a:spcPct val="114000"/>
                </a:lnSpc>
                <a:spcBef>
                  <a:spcPts val="0"/>
                </a:spcBef>
                <a:spcAft>
                  <a:spcPts val="720"/>
                </a:spcAft>
                <a:buClr>
                  <a:srgbClr val="000000"/>
                </a:buClr>
                <a:buSzPct val="100000"/>
                <a:buFont typeface="Arial"/>
                <a:buNone/>
                <a:tabLst/>
                <a:defRPr/>
              </a:pPr>
              <a:r>
                <a:rPr kumimoji="0" lang="en-US" sz="1200" b="1" i="0" u="none" strike="noStrike" kern="0" cap="none" spc="0" normalizeH="0" baseline="0" noProof="0">
                  <a:ln>
                    <a:noFill/>
                  </a:ln>
                  <a:solidFill>
                    <a:srgbClr val="000000"/>
                  </a:solidFill>
                  <a:effectLst/>
                  <a:uLnTx/>
                  <a:uFillTx/>
                  <a:latin typeface="Arial"/>
                  <a:cs typeface="Arial"/>
                  <a:sym typeface="Arial"/>
                </a:rPr>
                <a:t>Need for Components</a:t>
              </a:r>
            </a:p>
          </p:txBody>
        </p:sp>
        <p:cxnSp>
          <p:nvCxnSpPr>
            <p:cNvPr id="25" name="Straight Connector 24">
              <a:extLst>
                <a:ext uri="{FF2B5EF4-FFF2-40B4-BE49-F238E27FC236}">
                  <a16:creationId xmlns:a16="http://schemas.microsoft.com/office/drawing/2014/main" id="{5BBB735B-F34E-47CD-98F8-D09DAC2EB901}"/>
                </a:ext>
              </a:extLst>
            </p:cNvPr>
            <p:cNvCxnSpPr>
              <a:cxnSpLocks/>
            </p:cNvCxnSpPr>
            <p:nvPr/>
          </p:nvCxnSpPr>
          <p:spPr>
            <a:xfrm>
              <a:off x="3066208" y="1127359"/>
              <a:ext cx="0" cy="561109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84" name="Rectangle 183">
              <a:extLst>
                <a:ext uri="{FF2B5EF4-FFF2-40B4-BE49-F238E27FC236}">
                  <a16:creationId xmlns:a16="http://schemas.microsoft.com/office/drawing/2014/main" id="{A3C9D1CD-269C-4785-8D6D-B754288077DF}"/>
                </a:ext>
              </a:extLst>
            </p:cNvPr>
            <p:cNvSpPr/>
            <p:nvPr/>
          </p:nvSpPr>
          <p:spPr>
            <a:xfrm>
              <a:off x="679603" y="1422296"/>
              <a:ext cx="7746641" cy="2079099"/>
            </a:xfrm>
            <a:prstGeom prst="rect">
              <a:avLst/>
            </a:prstGeom>
            <a:solidFill>
              <a:schemeClr val="accent2">
                <a:lumMod val="20000"/>
                <a:lumOff val="8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TextBox 21">
              <a:extLst>
                <a:ext uri="{FF2B5EF4-FFF2-40B4-BE49-F238E27FC236}">
                  <a16:creationId xmlns:a16="http://schemas.microsoft.com/office/drawing/2014/main" id="{CE2DE33B-1D58-4BA8-8FB3-B0B85BC46171}"/>
                </a:ext>
              </a:extLst>
            </p:cNvPr>
            <p:cNvSpPr txBox="1"/>
            <p:nvPr/>
          </p:nvSpPr>
          <p:spPr>
            <a:xfrm>
              <a:off x="1876592" y="1659108"/>
              <a:ext cx="1128781"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sym typeface="Arial"/>
              </a:endParaRPr>
            </a:p>
          </p:txBody>
        </p:sp>
        <p:pic>
          <p:nvPicPr>
            <p:cNvPr id="28" name="Picture 27" descr="PwC_Pictograms_CarManufacturing.zip">
              <a:extLst>
                <a:ext uri="{FF2B5EF4-FFF2-40B4-BE49-F238E27FC236}">
                  <a16:creationId xmlns:a16="http://schemas.microsoft.com/office/drawing/2014/main" id="{7E63A1AC-E7F9-4381-8AF7-8D0B88BD5F19}"/>
                </a:ext>
              </a:extLst>
            </p:cNvPr>
            <p:cNvPicPr>
              <a:picLocks noChangeArrowheads="1"/>
            </p:cNvPicPr>
            <p:nvPr/>
          </p:nvPicPr>
          <p:blipFill rotWithShape="1">
            <a:blip r:embed="rId7" cstate="screen">
              <a:extLst>
                <a:ext uri="{28A0092B-C50C-407E-A947-70E740481C1C}">
                  <a14:useLocalDpi xmlns:a14="http://schemas.microsoft.com/office/drawing/2010/main"/>
                </a:ext>
              </a:extLst>
            </a:blip>
            <a:srcRect l="18587" t="10794" r="19062" b="10955"/>
            <a:stretch/>
          </p:blipFill>
          <p:spPr bwMode="auto">
            <a:xfrm>
              <a:off x="818025" y="2468037"/>
              <a:ext cx="283138" cy="322632"/>
            </a:xfrm>
            <a:prstGeom prst="rect">
              <a:avLst/>
            </a:prstGeom>
            <a:solidFill>
              <a:schemeClr val="tx1"/>
            </a:solidFill>
            <a:ln>
              <a:noFill/>
            </a:ln>
          </p:spPr>
        </p:pic>
        <p:sp>
          <p:nvSpPr>
            <p:cNvPr id="30" name="TextBox 29">
              <a:extLst>
                <a:ext uri="{FF2B5EF4-FFF2-40B4-BE49-F238E27FC236}">
                  <a16:creationId xmlns:a16="http://schemas.microsoft.com/office/drawing/2014/main" id="{BF600D90-F696-42A2-8FC8-590A98A0E587}"/>
                </a:ext>
              </a:extLst>
            </p:cNvPr>
            <p:cNvSpPr txBox="1"/>
            <p:nvPr/>
          </p:nvSpPr>
          <p:spPr>
            <a:xfrm>
              <a:off x="1327750" y="2047186"/>
              <a:ext cx="1369205"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sym typeface="Arial"/>
                </a:rPr>
                <a:t>Office Buildings</a:t>
              </a:r>
            </a:p>
          </p:txBody>
        </p:sp>
        <p:grpSp>
          <p:nvGrpSpPr>
            <p:cNvPr id="38" name="Group 37">
              <a:extLst>
                <a:ext uri="{FF2B5EF4-FFF2-40B4-BE49-F238E27FC236}">
                  <a16:creationId xmlns:a16="http://schemas.microsoft.com/office/drawing/2014/main" id="{FA46E3D3-DC17-49E9-BC65-08ECFFE7870C}"/>
                </a:ext>
              </a:extLst>
            </p:cNvPr>
            <p:cNvGrpSpPr/>
            <p:nvPr/>
          </p:nvGrpSpPr>
          <p:grpSpPr>
            <a:xfrm>
              <a:off x="828304" y="1484809"/>
              <a:ext cx="2042090" cy="282184"/>
              <a:chOff x="6275388" y="3866573"/>
              <a:chExt cx="1266168" cy="288015"/>
            </a:xfrm>
          </p:grpSpPr>
          <p:sp>
            <p:nvSpPr>
              <p:cNvPr id="39" name="TextBox 49">
                <a:extLst>
                  <a:ext uri="{FF2B5EF4-FFF2-40B4-BE49-F238E27FC236}">
                    <a16:creationId xmlns:a16="http://schemas.microsoft.com/office/drawing/2014/main" id="{B442EEBB-27C1-4D48-BF6C-28AFECB128F0}"/>
                  </a:ext>
                </a:extLst>
              </p:cNvPr>
              <p:cNvSpPr txBox="1"/>
              <p:nvPr/>
            </p:nvSpPr>
            <p:spPr>
              <a:xfrm>
                <a:off x="6604040" y="3916340"/>
                <a:ext cx="937516" cy="18848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sym typeface="Arial"/>
                  </a:rPr>
                  <a:t>Manufacturing zone</a:t>
                </a:r>
              </a:p>
            </p:txBody>
          </p:sp>
          <p:pic>
            <p:nvPicPr>
              <p:cNvPr id="40" name="Picture 39" descr="PwC_Pictograms_Maintenance.zip">
                <a:extLst>
                  <a:ext uri="{FF2B5EF4-FFF2-40B4-BE49-F238E27FC236}">
                    <a16:creationId xmlns:a16="http://schemas.microsoft.com/office/drawing/2014/main" id="{8F8F941E-0C2F-46D0-A51B-7EBE4961C449}"/>
                  </a:ext>
                </a:extLst>
              </p:cNvPr>
              <p:cNvPicPr>
                <a:picLocks noChangeArrowheads="1"/>
              </p:cNvPicPr>
              <p:nvPr/>
            </p:nvPicPr>
            <p:blipFill rotWithShape="1">
              <a:blip r:embed="rId8" cstate="screen">
                <a:extLst>
                  <a:ext uri="{28A0092B-C50C-407E-A947-70E740481C1C}">
                    <a14:useLocalDpi xmlns:a14="http://schemas.microsoft.com/office/drawing/2010/main"/>
                  </a:ext>
                </a:extLst>
              </a:blip>
              <a:srcRect l="19083" t="10794" r="18566" b="10899"/>
              <a:stretch/>
            </p:blipFill>
            <p:spPr bwMode="auto">
              <a:xfrm>
                <a:off x="6275388" y="3866573"/>
                <a:ext cx="155399" cy="288015"/>
              </a:xfrm>
              <a:prstGeom prst="rect">
                <a:avLst/>
              </a:prstGeom>
              <a:solidFill>
                <a:schemeClr val="tx1"/>
              </a:solidFill>
              <a:ln>
                <a:noFill/>
              </a:ln>
            </p:spPr>
          </p:pic>
        </p:grpSp>
        <p:sp>
          <p:nvSpPr>
            <p:cNvPr id="45" name="TextBox 59">
              <a:extLst>
                <a:ext uri="{FF2B5EF4-FFF2-40B4-BE49-F238E27FC236}">
                  <a16:creationId xmlns:a16="http://schemas.microsoft.com/office/drawing/2014/main" id="{E6B1917F-66AE-4303-A93A-9689CFB7B090}"/>
                </a:ext>
              </a:extLst>
            </p:cNvPr>
            <p:cNvSpPr txBox="1"/>
            <p:nvPr/>
          </p:nvSpPr>
          <p:spPr>
            <a:xfrm>
              <a:off x="1242633" y="5791118"/>
              <a:ext cx="831111"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sym typeface="Arial"/>
              </a:endParaRPr>
            </a:p>
          </p:txBody>
        </p:sp>
        <p:pic>
          <p:nvPicPr>
            <p:cNvPr id="46" name="Picture 45" descr="PwC_Pictograms_Chemicals.zip">
              <a:extLst>
                <a:ext uri="{FF2B5EF4-FFF2-40B4-BE49-F238E27FC236}">
                  <a16:creationId xmlns:a16="http://schemas.microsoft.com/office/drawing/2014/main" id="{34643F5C-46F2-4AB9-B969-E259707415AC}"/>
                </a:ext>
              </a:extLst>
            </p:cNvPr>
            <p:cNvPicPr>
              <a:picLocks noChangeArrowheads="1"/>
            </p:cNvPicPr>
            <p:nvPr/>
          </p:nvPicPr>
          <p:blipFill rotWithShape="1">
            <a:blip r:embed="rId9" cstate="screen">
              <a:extLst>
                <a:ext uri="{28A0092B-C50C-407E-A947-70E740481C1C}">
                  <a14:useLocalDpi xmlns:a14="http://schemas.microsoft.com/office/drawing/2010/main"/>
                </a:ext>
              </a:extLst>
            </a:blip>
            <a:srcRect l="18918" t="10582" r="18731" b="10476"/>
            <a:stretch/>
          </p:blipFill>
          <p:spPr bwMode="auto">
            <a:xfrm>
              <a:off x="768857" y="5609048"/>
              <a:ext cx="310065" cy="310391"/>
            </a:xfrm>
            <a:prstGeom prst="rect">
              <a:avLst/>
            </a:prstGeom>
            <a:solidFill>
              <a:schemeClr val="tx1"/>
            </a:solidFill>
            <a:ln>
              <a:noFill/>
            </a:ln>
          </p:spPr>
        </p:pic>
        <p:sp>
          <p:nvSpPr>
            <p:cNvPr id="48" name="TextBox 64">
              <a:extLst>
                <a:ext uri="{FF2B5EF4-FFF2-40B4-BE49-F238E27FC236}">
                  <a16:creationId xmlns:a16="http://schemas.microsoft.com/office/drawing/2014/main" id="{48128F2B-4D80-4A35-B1D1-D048D3CDC6CF}"/>
                </a:ext>
              </a:extLst>
            </p:cNvPr>
            <p:cNvSpPr txBox="1"/>
            <p:nvPr/>
          </p:nvSpPr>
          <p:spPr>
            <a:xfrm>
              <a:off x="1201897" y="4699897"/>
              <a:ext cx="1620910"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sym typeface="Arial"/>
              </a:endParaRPr>
            </a:p>
          </p:txBody>
        </p:sp>
        <p:pic>
          <p:nvPicPr>
            <p:cNvPr id="49" name="Picture 48" descr="PwC_Pictograms_Pharmaceuticals.zip">
              <a:extLst>
                <a:ext uri="{FF2B5EF4-FFF2-40B4-BE49-F238E27FC236}">
                  <a16:creationId xmlns:a16="http://schemas.microsoft.com/office/drawing/2014/main" id="{791E295A-D7AF-4BAC-B180-98B924755103}"/>
                </a:ext>
              </a:extLst>
            </p:cNvPr>
            <p:cNvPicPr>
              <a:picLocks noChangeArrowheads="1"/>
            </p:cNvPicPr>
            <p:nvPr/>
          </p:nvPicPr>
          <p:blipFill rotWithShape="1">
            <a:blip r:embed="rId10" cstate="screen">
              <a:extLst>
                <a:ext uri="{28A0092B-C50C-407E-A947-70E740481C1C}">
                  <a14:useLocalDpi xmlns:a14="http://schemas.microsoft.com/office/drawing/2010/main"/>
                </a:ext>
              </a:extLst>
            </a:blip>
            <a:srcRect l="18752" t="10956" r="18897" b="10956"/>
            <a:stretch/>
          </p:blipFill>
          <p:spPr bwMode="auto">
            <a:xfrm>
              <a:off x="785380" y="4454804"/>
              <a:ext cx="322348" cy="282731"/>
            </a:xfrm>
            <a:prstGeom prst="rect">
              <a:avLst/>
            </a:prstGeom>
            <a:solidFill>
              <a:schemeClr val="tx1"/>
            </a:solidFill>
            <a:ln>
              <a:noFill/>
            </a:ln>
          </p:spPr>
        </p:pic>
        <p:cxnSp>
          <p:nvCxnSpPr>
            <p:cNvPr id="54" name="Straight Connector 53">
              <a:extLst>
                <a:ext uri="{FF2B5EF4-FFF2-40B4-BE49-F238E27FC236}">
                  <a16:creationId xmlns:a16="http://schemas.microsoft.com/office/drawing/2014/main" id="{0927D1A0-58B7-4C07-905A-C5E8345525A6}"/>
                </a:ext>
              </a:extLst>
            </p:cNvPr>
            <p:cNvCxnSpPr>
              <a:cxnSpLocks/>
            </p:cNvCxnSpPr>
            <p:nvPr/>
          </p:nvCxnSpPr>
          <p:spPr>
            <a:xfrm>
              <a:off x="828300" y="1937964"/>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7C85D25-38EC-48E7-AFD2-C1ADCFA72A7E}"/>
                </a:ext>
              </a:extLst>
            </p:cNvPr>
            <p:cNvCxnSpPr>
              <a:cxnSpLocks/>
            </p:cNvCxnSpPr>
            <p:nvPr/>
          </p:nvCxnSpPr>
          <p:spPr>
            <a:xfrm>
              <a:off x="828300" y="2337335"/>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2D865DC-4D24-4B48-86FC-99BC74AE06BF}"/>
                </a:ext>
              </a:extLst>
            </p:cNvPr>
            <p:cNvCxnSpPr>
              <a:cxnSpLocks/>
            </p:cNvCxnSpPr>
            <p:nvPr/>
          </p:nvCxnSpPr>
          <p:spPr>
            <a:xfrm>
              <a:off x="828300" y="2921372"/>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7A43D6D-6DE7-4DF7-9521-2ADB47AC6D09}"/>
                </a:ext>
              </a:extLst>
            </p:cNvPr>
            <p:cNvCxnSpPr>
              <a:cxnSpLocks/>
            </p:cNvCxnSpPr>
            <p:nvPr/>
          </p:nvCxnSpPr>
          <p:spPr>
            <a:xfrm>
              <a:off x="686264" y="3505409"/>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0C30EB6-E6DC-4BB0-9718-65A890407090}"/>
                </a:ext>
              </a:extLst>
            </p:cNvPr>
            <p:cNvCxnSpPr>
              <a:cxnSpLocks/>
            </p:cNvCxnSpPr>
            <p:nvPr/>
          </p:nvCxnSpPr>
          <p:spPr>
            <a:xfrm>
              <a:off x="828300" y="4304151"/>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F1FC063-E7AC-49DF-86E8-F728B860A428}"/>
                </a:ext>
              </a:extLst>
            </p:cNvPr>
            <p:cNvCxnSpPr>
              <a:cxnSpLocks/>
            </p:cNvCxnSpPr>
            <p:nvPr/>
          </p:nvCxnSpPr>
          <p:spPr>
            <a:xfrm>
              <a:off x="828300" y="4888188"/>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BDA6E48-F575-4BF1-AD97-3853D4DD200A}"/>
                </a:ext>
              </a:extLst>
            </p:cNvPr>
            <p:cNvCxnSpPr>
              <a:cxnSpLocks/>
            </p:cNvCxnSpPr>
            <p:nvPr/>
          </p:nvCxnSpPr>
          <p:spPr>
            <a:xfrm>
              <a:off x="828300" y="5472225"/>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9489E400-7FB9-4F8A-99BC-0D660C9CFF1D}"/>
                </a:ext>
              </a:extLst>
            </p:cNvPr>
            <p:cNvGrpSpPr/>
            <p:nvPr/>
          </p:nvGrpSpPr>
          <p:grpSpPr>
            <a:xfrm>
              <a:off x="708359" y="1999350"/>
              <a:ext cx="477898" cy="276598"/>
              <a:chOff x="6165721" y="2324672"/>
              <a:chExt cx="477898" cy="282314"/>
            </a:xfrm>
          </p:grpSpPr>
          <p:sp>
            <p:nvSpPr>
              <p:cNvPr id="63" name="Rectangle 62">
                <a:extLst>
                  <a:ext uri="{FF2B5EF4-FFF2-40B4-BE49-F238E27FC236}">
                    <a16:creationId xmlns:a16="http://schemas.microsoft.com/office/drawing/2014/main" id="{6A7CCFD0-12C1-4ACB-8AC7-677A33562EDE}"/>
                  </a:ext>
                </a:extLst>
              </p:cNvPr>
              <p:cNvSpPr/>
              <p:nvPr/>
            </p:nvSpPr>
            <p:spPr>
              <a:xfrm>
                <a:off x="6275387" y="2324672"/>
                <a:ext cx="250625" cy="282314"/>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 name="Graphic 3" descr="Building outline">
                <a:extLst>
                  <a:ext uri="{FF2B5EF4-FFF2-40B4-BE49-F238E27FC236}">
                    <a16:creationId xmlns:a16="http://schemas.microsoft.com/office/drawing/2014/main" id="{AF275E6F-63CE-4426-91B3-5974AE036B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65721" y="2376237"/>
                <a:ext cx="477898" cy="230747"/>
              </a:xfrm>
              <a:prstGeom prst="rect">
                <a:avLst/>
              </a:prstGeom>
            </p:spPr>
          </p:pic>
        </p:grpSp>
        <p:sp>
          <p:nvSpPr>
            <p:cNvPr id="66" name="TextBox 65">
              <a:extLst>
                <a:ext uri="{FF2B5EF4-FFF2-40B4-BE49-F238E27FC236}">
                  <a16:creationId xmlns:a16="http://schemas.microsoft.com/office/drawing/2014/main" id="{8888978B-B5FD-42D2-8525-DE2EAE2C2925}"/>
                </a:ext>
              </a:extLst>
            </p:cNvPr>
            <p:cNvSpPr txBox="1"/>
            <p:nvPr/>
          </p:nvSpPr>
          <p:spPr>
            <a:xfrm>
              <a:off x="1327750" y="2538890"/>
              <a:ext cx="1369205"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sym typeface="Arial"/>
                </a:rPr>
                <a:t>Logistics Zone</a:t>
              </a:r>
            </a:p>
          </p:txBody>
        </p:sp>
        <p:grpSp>
          <p:nvGrpSpPr>
            <p:cNvPr id="72" name="Group 71">
              <a:extLst>
                <a:ext uri="{FF2B5EF4-FFF2-40B4-BE49-F238E27FC236}">
                  <a16:creationId xmlns:a16="http://schemas.microsoft.com/office/drawing/2014/main" id="{DE26AD86-2C46-4334-B073-AE98FCE96823}"/>
                </a:ext>
              </a:extLst>
            </p:cNvPr>
            <p:cNvGrpSpPr/>
            <p:nvPr/>
          </p:nvGrpSpPr>
          <p:grpSpPr>
            <a:xfrm>
              <a:off x="818025" y="3075091"/>
              <a:ext cx="283140" cy="276598"/>
              <a:chOff x="6275387" y="3376007"/>
              <a:chExt cx="283140" cy="282314"/>
            </a:xfrm>
          </p:grpSpPr>
          <p:sp>
            <p:nvSpPr>
              <p:cNvPr id="70" name="Rectangle 69">
                <a:extLst>
                  <a:ext uri="{FF2B5EF4-FFF2-40B4-BE49-F238E27FC236}">
                    <a16:creationId xmlns:a16="http://schemas.microsoft.com/office/drawing/2014/main" id="{9A399A01-6C3B-44A4-AEF4-DDF9BAB6C70E}"/>
                  </a:ext>
                </a:extLst>
              </p:cNvPr>
              <p:cNvSpPr/>
              <p:nvPr/>
            </p:nvSpPr>
            <p:spPr>
              <a:xfrm>
                <a:off x="6275387" y="3376007"/>
                <a:ext cx="283140" cy="282314"/>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9" name="Graphic 68" descr="Electric Tower outline">
                <a:extLst>
                  <a:ext uri="{FF2B5EF4-FFF2-40B4-BE49-F238E27FC236}">
                    <a16:creationId xmlns:a16="http://schemas.microsoft.com/office/drawing/2014/main" id="{BDFCE7A9-631F-4D65-9E96-9499BD803E0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91029" y="3388883"/>
                <a:ext cx="251855" cy="251855"/>
              </a:xfrm>
              <a:prstGeom prst="rect">
                <a:avLst/>
              </a:prstGeom>
            </p:spPr>
          </p:pic>
        </p:grpSp>
        <p:sp>
          <p:nvSpPr>
            <p:cNvPr id="74" name="TextBox 73">
              <a:extLst>
                <a:ext uri="{FF2B5EF4-FFF2-40B4-BE49-F238E27FC236}">
                  <a16:creationId xmlns:a16="http://schemas.microsoft.com/office/drawing/2014/main" id="{7AD07E76-9BE3-4A93-8739-B7F59A916920}"/>
                </a:ext>
              </a:extLst>
            </p:cNvPr>
            <p:cNvSpPr txBox="1"/>
            <p:nvPr/>
          </p:nvSpPr>
          <p:spPr>
            <a:xfrm>
              <a:off x="1327750" y="3122927"/>
              <a:ext cx="1369205"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sym typeface="Arial"/>
                </a:rPr>
                <a:t>Utilities </a:t>
              </a:r>
              <a:r>
                <a:rPr lang="en-US" sz="1200" b="1">
                  <a:solidFill>
                    <a:srgbClr val="000000"/>
                  </a:solidFill>
                  <a:latin typeface="Arial"/>
                  <a:sym typeface="Arial"/>
                </a:rPr>
                <a:t>Z</a:t>
              </a:r>
              <a:r>
                <a:rPr kumimoji="0" lang="en-US" sz="1200" b="1" i="0" u="none" strike="noStrike" kern="1200" cap="none" spc="0" normalizeH="0" baseline="0" noProof="0">
                  <a:ln>
                    <a:noFill/>
                  </a:ln>
                  <a:solidFill>
                    <a:srgbClr val="000000"/>
                  </a:solidFill>
                  <a:effectLst/>
                  <a:uLnTx/>
                  <a:uFillTx/>
                  <a:latin typeface="Arial"/>
                  <a:ea typeface="+mn-ea"/>
                  <a:cs typeface="+mn-cs"/>
                  <a:sym typeface="Arial"/>
                </a:rPr>
                <a:t>one</a:t>
              </a:r>
            </a:p>
          </p:txBody>
        </p:sp>
        <p:sp>
          <p:nvSpPr>
            <p:cNvPr id="73" name="TextBox 72">
              <a:extLst>
                <a:ext uri="{FF2B5EF4-FFF2-40B4-BE49-F238E27FC236}">
                  <a16:creationId xmlns:a16="http://schemas.microsoft.com/office/drawing/2014/main" id="{18387D11-CA6B-4FD2-9690-BF343CEB008E}"/>
                </a:ext>
              </a:extLst>
            </p:cNvPr>
            <p:cNvSpPr txBox="1"/>
            <p:nvPr/>
          </p:nvSpPr>
          <p:spPr>
            <a:xfrm>
              <a:off x="3031995" y="1415113"/>
              <a:ext cx="5572687" cy="461665"/>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Will allow industries to conduct value added processing and get access to shared resource base</a:t>
              </a:r>
            </a:p>
          </p:txBody>
        </p:sp>
        <p:sp>
          <p:nvSpPr>
            <p:cNvPr id="76" name="TextBox 75">
              <a:extLst>
                <a:ext uri="{FF2B5EF4-FFF2-40B4-BE49-F238E27FC236}">
                  <a16:creationId xmlns:a16="http://schemas.microsoft.com/office/drawing/2014/main" id="{F079FA4D-C561-4E8A-BF15-2EDD1C494170}"/>
                </a:ext>
              </a:extLst>
            </p:cNvPr>
            <p:cNvSpPr txBox="1"/>
            <p:nvPr/>
          </p:nvSpPr>
          <p:spPr>
            <a:xfrm>
              <a:off x="3031995" y="1999150"/>
              <a:ext cx="5572687" cy="276999"/>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For primary administrative and managerial staff working at ICIC</a:t>
              </a:r>
            </a:p>
          </p:txBody>
        </p:sp>
        <p:sp>
          <p:nvSpPr>
            <p:cNvPr id="77" name="TextBox 76">
              <a:extLst>
                <a:ext uri="{FF2B5EF4-FFF2-40B4-BE49-F238E27FC236}">
                  <a16:creationId xmlns:a16="http://schemas.microsoft.com/office/drawing/2014/main" id="{42FFCEFD-1AC2-4523-8961-52460A45A7CF}"/>
                </a:ext>
              </a:extLst>
            </p:cNvPr>
            <p:cNvSpPr txBox="1"/>
            <p:nvPr/>
          </p:nvSpPr>
          <p:spPr>
            <a:xfrm>
              <a:off x="3005372" y="2398521"/>
              <a:ext cx="5572687" cy="461665"/>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Will enable industries to manage inventories more efficiently, will include cold storage , cargo handling centers , distribution centers and packaging facilities</a:t>
              </a:r>
            </a:p>
          </p:txBody>
        </p:sp>
        <p:sp>
          <p:nvSpPr>
            <p:cNvPr id="78" name="TextBox 77">
              <a:extLst>
                <a:ext uri="{FF2B5EF4-FFF2-40B4-BE49-F238E27FC236}">
                  <a16:creationId xmlns:a16="http://schemas.microsoft.com/office/drawing/2014/main" id="{EE03B256-E09E-4F31-B90E-4E00CF80CA04}"/>
                </a:ext>
              </a:extLst>
            </p:cNvPr>
            <p:cNvSpPr txBox="1"/>
            <p:nvPr/>
          </p:nvSpPr>
          <p:spPr>
            <a:xfrm>
              <a:off x="3031995" y="2982558"/>
              <a:ext cx="5572687" cy="461665"/>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Will enable supply of essential utilities such as water, modern power storage, waste management </a:t>
              </a:r>
              <a:r>
                <a:rPr lang="en-US" sz="1200" err="1">
                  <a:latin typeface="Arial" panose="020B0604020202020204" pitchFamily="34" charset="0"/>
                  <a:cs typeface="Arial" panose="020B0604020202020204" pitchFamily="34" charset="0"/>
                </a:rPr>
                <a:t>etc</a:t>
              </a:r>
              <a:endParaRPr lang="en-US" sz="1200">
                <a:latin typeface="Arial" panose="020B0604020202020204" pitchFamily="34" charset="0"/>
                <a:cs typeface="Arial" panose="020B0604020202020204" pitchFamily="34" charset="0"/>
              </a:endParaRPr>
            </a:p>
          </p:txBody>
        </p:sp>
        <p:cxnSp>
          <p:nvCxnSpPr>
            <p:cNvPr id="79" name="Straight Connector 78">
              <a:extLst>
                <a:ext uri="{FF2B5EF4-FFF2-40B4-BE49-F238E27FC236}">
                  <a16:creationId xmlns:a16="http://schemas.microsoft.com/office/drawing/2014/main" id="{4DF162A0-6AB2-45B4-8367-912E104C3E83}"/>
                </a:ext>
              </a:extLst>
            </p:cNvPr>
            <p:cNvCxnSpPr>
              <a:cxnSpLocks/>
            </p:cNvCxnSpPr>
            <p:nvPr/>
          </p:nvCxnSpPr>
          <p:spPr>
            <a:xfrm>
              <a:off x="686264" y="3904780"/>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8C9D6E85-261A-4E9D-8B1F-26C6F67175A2}"/>
                </a:ext>
              </a:extLst>
            </p:cNvPr>
            <p:cNvSpPr txBox="1"/>
            <p:nvPr/>
          </p:nvSpPr>
          <p:spPr>
            <a:xfrm>
              <a:off x="1327750" y="4505706"/>
              <a:ext cx="1369205"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sym typeface="Arial"/>
                </a:rPr>
                <a:t>Laboratories</a:t>
              </a:r>
            </a:p>
          </p:txBody>
        </p:sp>
        <p:sp>
          <p:nvSpPr>
            <p:cNvPr id="81" name="TextBox 80">
              <a:extLst>
                <a:ext uri="{FF2B5EF4-FFF2-40B4-BE49-F238E27FC236}">
                  <a16:creationId xmlns:a16="http://schemas.microsoft.com/office/drawing/2014/main" id="{DE62754A-EE23-44A2-A7C4-B3BF4CD4EAFC}"/>
                </a:ext>
              </a:extLst>
            </p:cNvPr>
            <p:cNvSpPr txBox="1"/>
            <p:nvPr/>
          </p:nvSpPr>
          <p:spPr>
            <a:xfrm>
              <a:off x="3031995" y="4365337"/>
              <a:ext cx="5572687" cy="461665"/>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To carry out food safety, veterinary, phytosanitary and pharmaceutical quality tests within ICIC</a:t>
              </a:r>
            </a:p>
          </p:txBody>
        </p:sp>
        <p:grpSp>
          <p:nvGrpSpPr>
            <p:cNvPr id="7" name="Group 6">
              <a:extLst>
                <a:ext uri="{FF2B5EF4-FFF2-40B4-BE49-F238E27FC236}">
                  <a16:creationId xmlns:a16="http://schemas.microsoft.com/office/drawing/2014/main" id="{5561540B-C636-4949-A0EB-6B4DF92EC435}"/>
                </a:ext>
              </a:extLst>
            </p:cNvPr>
            <p:cNvGrpSpPr/>
            <p:nvPr/>
          </p:nvGrpSpPr>
          <p:grpSpPr>
            <a:xfrm>
              <a:off x="774741" y="3569675"/>
              <a:ext cx="335873" cy="270839"/>
              <a:chOff x="1079541" y="3642442"/>
              <a:chExt cx="335873" cy="270839"/>
            </a:xfrm>
          </p:grpSpPr>
          <p:sp>
            <p:nvSpPr>
              <p:cNvPr id="90" name="Rectangle 89">
                <a:extLst>
                  <a:ext uri="{FF2B5EF4-FFF2-40B4-BE49-F238E27FC236}">
                    <a16:creationId xmlns:a16="http://schemas.microsoft.com/office/drawing/2014/main" id="{6B63D3CB-76CD-402C-8B26-A6487F3823B8}"/>
                  </a:ext>
                </a:extLst>
              </p:cNvPr>
              <p:cNvSpPr/>
              <p:nvPr/>
            </p:nvSpPr>
            <p:spPr>
              <a:xfrm>
                <a:off x="1101604" y="3642442"/>
                <a:ext cx="283140" cy="270839"/>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9" name="Graphic 88" descr="Checklist outline">
                <a:extLst>
                  <a:ext uri="{FF2B5EF4-FFF2-40B4-BE49-F238E27FC236}">
                    <a16:creationId xmlns:a16="http://schemas.microsoft.com/office/drawing/2014/main" id="{E2BBF5D8-B512-4618-8DE0-D648B3440DE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79541" y="3694922"/>
                <a:ext cx="335873" cy="180384"/>
              </a:xfrm>
              <a:prstGeom prst="rect">
                <a:avLst/>
              </a:prstGeom>
            </p:spPr>
          </p:pic>
        </p:grpSp>
        <p:sp>
          <p:nvSpPr>
            <p:cNvPr id="91" name="TextBox 90">
              <a:extLst>
                <a:ext uri="{FF2B5EF4-FFF2-40B4-BE49-F238E27FC236}">
                  <a16:creationId xmlns:a16="http://schemas.microsoft.com/office/drawing/2014/main" id="{FEA68DFD-D0AF-4CC7-BF39-632694636E44}"/>
                </a:ext>
              </a:extLst>
            </p:cNvPr>
            <p:cNvSpPr txBox="1"/>
            <p:nvPr/>
          </p:nvSpPr>
          <p:spPr>
            <a:xfrm>
              <a:off x="1312280" y="3612761"/>
              <a:ext cx="1795801"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lang="en-US" sz="1200" b="1">
                  <a:solidFill>
                    <a:srgbClr val="000000"/>
                  </a:solidFill>
                  <a:latin typeface="Arial"/>
                  <a:sym typeface="Arial"/>
                </a:rPr>
                <a:t>Custom Clearance zone</a:t>
              </a:r>
              <a:endParaRPr kumimoji="0" lang="en-US" sz="1200" b="1" i="0" u="none" strike="noStrike" kern="1200" cap="none" spc="0" normalizeH="0" baseline="0" noProof="0">
                <a:ln>
                  <a:noFill/>
                </a:ln>
                <a:solidFill>
                  <a:srgbClr val="000000"/>
                </a:solidFill>
                <a:effectLst/>
                <a:uLnTx/>
                <a:uFillTx/>
                <a:latin typeface="Arial"/>
                <a:ea typeface="+mn-ea"/>
                <a:cs typeface="+mn-cs"/>
                <a:sym typeface="Arial"/>
              </a:endParaRPr>
            </a:p>
          </p:txBody>
        </p:sp>
        <p:sp>
          <p:nvSpPr>
            <p:cNvPr id="92" name="TextBox 91">
              <a:extLst>
                <a:ext uri="{FF2B5EF4-FFF2-40B4-BE49-F238E27FC236}">
                  <a16:creationId xmlns:a16="http://schemas.microsoft.com/office/drawing/2014/main" id="{FD8F9F4E-CEAA-4598-A6AE-74672C03AB2F}"/>
                </a:ext>
              </a:extLst>
            </p:cNvPr>
            <p:cNvSpPr txBox="1"/>
            <p:nvPr/>
          </p:nvSpPr>
          <p:spPr>
            <a:xfrm>
              <a:off x="3031995" y="3566595"/>
              <a:ext cx="5572687" cy="276999"/>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Provide custom clearance and facilitate goods produced in ICIC</a:t>
              </a:r>
            </a:p>
          </p:txBody>
        </p:sp>
        <p:sp>
          <p:nvSpPr>
            <p:cNvPr id="96" name="TextBox 95">
              <a:extLst>
                <a:ext uri="{FF2B5EF4-FFF2-40B4-BE49-F238E27FC236}">
                  <a16:creationId xmlns:a16="http://schemas.microsoft.com/office/drawing/2014/main" id="{7F009D41-D7F3-4BCD-9C83-43B61C09D1FF}"/>
                </a:ext>
              </a:extLst>
            </p:cNvPr>
            <p:cNvSpPr txBox="1"/>
            <p:nvPr/>
          </p:nvSpPr>
          <p:spPr>
            <a:xfrm>
              <a:off x="1312280" y="4030295"/>
              <a:ext cx="1795801" cy="1846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sym typeface="Arial"/>
                </a:rPr>
                <a:t>Border Crossing point</a:t>
              </a:r>
            </a:p>
          </p:txBody>
        </p:sp>
        <p:sp>
          <p:nvSpPr>
            <p:cNvPr id="98" name="TextBox 97">
              <a:extLst>
                <a:ext uri="{FF2B5EF4-FFF2-40B4-BE49-F238E27FC236}">
                  <a16:creationId xmlns:a16="http://schemas.microsoft.com/office/drawing/2014/main" id="{B5CCA21A-5389-496A-BA91-1083D972C0B9}"/>
                </a:ext>
              </a:extLst>
            </p:cNvPr>
            <p:cNvSpPr txBox="1"/>
            <p:nvPr/>
          </p:nvSpPr>
          <p:spPr>
            <a:xfrm>
              <a:off x="3031995" y="3984129"/>
              <a:ext cx="5572687" cy="276999"/>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Facilitate faster movement of goods produced within ICIC</a:t>
              </a:r>
            </a:p>
          </p:txBody>
        </p:sp>
        <p:sp>
          <p:nvSpPr>
            <p:cNvPr id="102" name="TextBox 101">
              <a:extLst>
                <a:ext uri="{FF2B5EF4-FFF2-40B4-BE49-F238E27FC236}">
                  <a16:creationId xmlns:a16="http://schemas.microsoft.com/office/drawing/2014/main" id="{1AFDF7AC-C452-4AEF-90FA-328DE7967ECC}"/>
                </a:ext>
              </a:extLst>
            </p:cNvPr>
            <p:cNvSpPr txBox="1"/>
            <p:nvPr/>
          </p:nvSpPr>
          <p:spPr>
            <a:xfrm>
              <a:off x="1327750" y="5089743"/>
              <a:ext cx="1369205"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sym typeface="Arial"/>
                </a:rPr>
                <a:t>Training center</a:t>
              </a:r>
            </a:p>
          </p:txBody>
        </p:sp>
        <p:grpSp>
          <p:nvGrpSpPr>
            <p:cNvPr id="106" name="Group 105">
              <a:extLst>
                <a:ext uri="{FF2B5EF4-FFF2-40B4-BE49-F238E27FC236}">
                  <a16:creationId xmlns:a16="http://schemas.microsoft.com/office/drawing/2014/main" id="{44F57DD1-BF59-47A8-9C56-AF323C690826}"/>
                </a:ext>
              </a:extLst>
            </p:cNvPr>
            <p:cNvGrpSpPr/>
            <p:nvPr/>
          </p:nvGrpSpPr>
          <p:grpSpPr>
            <a:xfrm>
              <a:off x="774741" y="4997016"/>
              <a:ext cx="310780" cy="366380"/>
              <a:chOff x="6316122" y="5979841"/>
              <a:chExt cx="266843" cy="277701"/>
            </a:xfrm>
          </p:grpSpPr>
          <p:sp>
            <p:nvSpPr>
              <p:cNvPr id="105" name="Rectangle 104">
                <a:extLst>
                  <a:ext uri="{FF2B5EF4-FFF2-40B4-BE49-F238E27FC236}">
                    <a16:creationId xmlns:a16="http://schemas.microsoft.com/office/drawing/2014/main" id="{3174919C-0600-4F69-AFA9-665AD1023526}"/>
                  </a:ext>
                </a:extLst>
              </p:cNvPr>
              <p:cNvSpPr/>
              <p:nvPr/>
            </p:nvSpPr>
            <p:spPr>
              <a:xfrm>
                <a:off x="6316122" y="6000932"/>
                <a:ext cx="266843" cy="256610"/>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4" name="Graphic 103" descr="Teacher outline">
                <a:extLst>
                  <a:ext uri="{FF2B5EF4-FFF2-40B4-BE49-F238E27FC236}">
                    <a16:creationId xmlns:a16="http://schemas.microsoft.com/office/drawing/2014/main" id="{5D127072-D174-4C06-A919-0DD1E9FDDFC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316122" y="5979841"/>
                <a:ext cx="244988" cy="244988"/>
              </a:xfrm>
              <a:prstGeom prst="rect">
                <a:avLst/>
              </a:prstGeom>
            </p:spPr>
          </p:pic>
        </p:grpSp>
        <p:cxnSp>
          <p:nvCxnSpPr>
            <p:cNvPr id="107" name="Straight Connector 106">
              <a:extLst>
                <a:ext uri="{FF2B5EF4-FFF2-40B4-BE49-F238E27FC236}">
                  <a16:creationId xmlns:a16="http://schemas.microsoft.com/office/drawing/2014/main" id="{032517AC-A707-43A7-87CC-5564861DF53E}"/>
                </a:ext>
              </a:extLst>
            </p:cNvPr>
            <p:cNvCxnSpPr>
              <a:cxnSpLocks/>
            </p:cNvCxnSpPr>
            <p:nvPr/>
          </p:nvCxnSpPr>
          <p:spPr>
            <a:xfrm>
              <a:off x="718633" y="6056262"/>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72DFF440-D18F-4762-90B8-B8EA069160E1}"/>
                </a:ext>
              </a:extLst>
            </p:cNvPr>
            <p:cNvSpPr txBox="1"/>
            <p:nvPr/>
          </p:nvSpPr>
          <p:spPr>
            <a:xfrm>
              <a:off x="1327750" y="5673780"/>
              <a:ext cx="1369205"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lang="en-US" sz="1200" b="1">
                  <a:solidFill>
                    <a:srgbClr val="000000"/>
                  </a:solidFill>
                  <a:latin typeface="Arial"/>
                  <a:sym typeface="Arial"/>
                </a:rPr>
                <a:t>Exhibition Center</a:t>
              </a:r>
              <a:endParaRPr kumimoji="0" lang="en-US" sz="1200" b="1" i="0" u="none" strike="noStrike" kern="1200" cap="none" spc="0" normalizeH="0" baseline="0" noProof="0">
                <a:ln>
                  <a:noFill/>
                </a:ln>
                <a:solidFill>
                  <a:srgbClr val="000000"/>
                </a:solidFill>
                <a:effectLst/>
                <a:uLnTx/>
                <a:uFillTx/>
                <a:latin typeface="Arial"/>
                <a:ea typeface="+mn-ea"/>
                <a:cs typeface="+mn-cs"/>
                <a:sym typeface="Arial"/>
              </a:endParaRPr>
            </a:p>
          </p:txBody>
        </p:sp>
        <p:sp>
          <p:nvSpPr>
            <p:cNvPr id="109" name="TextBox 108">
              <a:extLst>
                <a:ext uri="{FF2B5EF4-FFF2-40B4-BE49-F238E27FC236}">
                  <a16:creationId xmlns:a16="http://schemas.microsoft.com/office/drawing/2014/main" id="{C7FCE578-AA6B-42D7-BF14-4F52D5596272}"/>
                </a:ext>
              </a:extLst>
            </p:cNvPr>
            <p:cNvSpPr txBox="1"/>
            <p:nvPr/>
          </p:nvSpPr>
          <p:spPr>
            <a:xfrm>
              <a:off x="3031995" y="4949374"/>
              <a:ext cx="5572687" cy="461665"/>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Offer specialized training programs to businesses to upskill the workforce to meet business needs</a:t>
              </a:r>
            </a:p>
          </p:txBody>
        </p:sp>
        <p:sp>
          <p:nvSpPr>
            <p:cNvPr id="110" name="TextBox 109">
              <a:extLst>
                <a:ext uri="{FF2B5EF4-FFF2-40B4-BE49-F238E27FC236}">
                  <a16:creationId xmlns:a16="http://schemas.microsoft.com/office/drawing/2014/main" id="{87672BDE-7020-4F3E-A8C0-98B752ABBC88}"/>
                </a:ext>
              </a:extLst>
            </p:cNvPr>
            <p:cNvSpPr txBox="1"/>
            <p:nvPr/>
          </p:nvSpPr>
          <p:spPr>
            <a:xfrm>
              <a:off x="3031995" y="5533411"/>
              <a:ext cx="5572687" cy="461665"/>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To facilitate trade by connecting buyer-seller needs, and expanding B2B networks </a:t>
              </a:r>
            </a:p>
          </p:txBody>
        </p:sp>
        <p:cxnSp>
          <p:nvCxnSpPr>
            <p:cNvPr id="121" name="Straight Connector 120">
              <a:extLst>
                <a:ext uri="{FF2B5EF4-FFF2-40B4-BE49-F238E27FC236}">
                  <a16:creationId xmlns:a16="http://schemas.microsoft.com/office/drawing/2014/main" id="{A8A8A3B5-79CB-406F-B7D8-4D96C58E1230}"/>
                </a:ext>
              </a:extLst>
            </p:cNvPr>
            <p:cNvCxnSpPr>
              <a:cxnSpLocks/>
            </p:cNvCxnSpPr>
            <p:nvPr/>
          </p:nvCxnSpPr>
          <p:spPr>
            <a:xfrm>
              <a:off x="828300" y="6640304"/>
              <a:ext cx="75895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83671CA4-D6DF-4803-B8A7-B75AEF0528D0}"/>
                </a:ext>
              </a:extLst>
            </p:cNvPr>
            <p:cNvSpPr txBox="1"/>
            <p:nvPr/>
          </p:nvSpPr>
          <p:spPr>
            <a:xfrm>
              <a:off x="1327750" y="6257817"/>
              <a:ext cx="1369205" cy="18092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720"/>
                </a:spcAft>
                <a:buClr>
                  <a:srgbClr val="000000"/>
                </a:buClr>
                <a:buSzPct val="100000"/>
                <a:buFont typeface="Arial"/>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sym typeface="Arial"/>
                </a:rPr>
                <a:t>Wholesale Market</a:t>
              </a:r>
            </a:p>
          </p:txBody>
        </p:sp>
        <p:sp>
          <p:nvSpPr>
            <p:cNvPr id="123" name="TextBox 122">
              <a:extLst>
                <a:ext uri="{FF2B5EF4-FFF2-40B4-BE49-F238E27FC236}">
                  <a16:creationId xmlns:a16="http://schemas.microsoft.com/office/drawing/2014/main" id="{05E787D9-E746-4D28-9B06-86D08F5E7551}"/>
                </a:ext>
              </a:extLst>
            </p:cNvPr>
            <p:cNvSpPr txBox="1"/>
            <p:nvPr/>
          </p:nvSpPr>
          <p:spPr>
            <a:xfrm>
              <a:off x="3031995" y="6117448"/>
              <a:ext cx="5572687" cy="461665"/>
            </a:xfrm>
            <a:prstGeom prst="rect">
              <a:avLst/>
            </a:prstGeom>
            <a:noFill/>
          </p:spPr>
          <p:txBody>
            <a:bodyPr wrap="square" rtlCol="0" anchor="ctr">
              <a:spAutoFit/>
            </a:bodyPr>
            <a:lstStyle/>
            <a:p>
              <a:r>
                <a:rPr lang="en-US" sz="1200">
                  <a:latin typeface="Arial" panose="020B0604020202020204" pitchFamily="34" charset="0"/>
                  <a:cs typeface="Arial" panose="020B0604020202020204" pitchFamily="34" charset="0"/>
                </a:rPr>
                <a:t>Help Manufacturer to have better market access and trades to have better access to customers</a:t>
              </a:r>
            </a:p>
          </p:txBody>
        </p:sp>
        <p:grpSp>
          <p:nvGrpSpPr>
            <p:cNvPr id="128" name="Group 127">
              <a:extLst>
                <a:ext uri="{FF2B5EF4-FFF2-40B4-BE49-F238E27FC236}">
                  <a16:creationId xmlns:a16="http://schemas.microsoft.com/office/drawing/2014/main" id="{6A2F32C2-8AC9-4D41-A536-387799B1C2FB}"/>
                </a:ext>
              </a:extLst>
            </p:cNvPr>
            <p:cNvGrpSpPr/>
            <p:nvPr/>
          </p:nvGrpSpPr>
          <p:grpSpPr>
            <a:xfrm>
              <a:off x="768856" y="6179974"/>
              <a:ext cx="310063" cy="336613"/>
              <a:chOff x="6240254" y="6145301"/>
              <a:chExt cx="335873" cy="355185"/>
            </a:xfrm>
          </p:grpSpPr>
          <p:sp>
            <p:nvSpPr>
              <p:cNvPr id="127" name="Rectangle 126">
                <a:extLst>
                  <a:ext uri="{FF2B5EF4-FFF2-40B4-BE49-F238E27FC236}">
                    <a16:creationId xmlns:a16="http://schemas.microsoft.com/office/drawing/2014/main" id="{89FED8E2-C5F3-4BE1-9312-491F61C82A18}"/>
                  </a:ext>
                </a:extLst>
              </p:cNvPr>
              <p:cNvSpPr/>
              <p:nvPr/>
            </p:nvSpPr>
            <p:spPr>
              <a:xfrm>
                <a:off x="6240254" y="6145301"/>
                <a:ext cx="335873" cy="355185"/>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26" name="Graphic 125" descr="Marketing outline">
                <a:extLst>
                  <a:ext uri="{FF2B5EF4-FFF2-40B4-BE49-F238E27FC236}">
                    <a16:creationId xmlns:a16="http://schemas.microsoft.com/office/drawing/2014/main" id="{DAF1B40C-A4A5-4C35-A250-EBC740136AB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270237" y="6216820"/>
                <a:ext cx="282314" cy="282314"/>
              </a:xfrm>
              <a:prstGeom prst="rect">
                <a:avLst/>
              </a:prstGeom>
            </p:spPr>
          </p:pic>
        </p:grpSp>
        <p:grpSp>
          <p:nvGrpSpPr>
            <p:cNvPr id="5" name="Group 4">
              <a:extLst>
                <a:ext uri="{FF2B5EF4-FFF2-40B4-BE49-F238E27FC236}">
                  <a16:creationId xmlns:a16="http://schemas.microsoft.com/office/drawing/2014/main" id="{F1C48A8F-6914-4FA3-8D88-6088F0825140}"/>
                </a:ext>
              </a:extLst>
            </p:cNvPr>
            <p:cNvGrpSpPr/>
            <p:nvPr/>
          </p:nvGrpSpPr>
          <p:grpSpPr>
            <a:xfrm>
              <a:off x="796804" y="3965966"/>
              <a:ext cx="310924" cy="313324"/>
              <a:chOff x="1101604" y="4117578"/>
              <a:chExt cx="310924" cy="313324"/>
            </a:xfrm>
          </p:grpSpPr>
          <p:sp>
            <p:nvSpPr>
              <p:cNvPr id="131" name="Rectangle 130">
                <a:extLst>
                  <a:ext uri="{FF2B5EF4-FFF2-40B4-BE49-F238E27FC236}">
                    <a16:creationId xmlns:a16="http://schemas.microsoft.com/office/drawing/2014/main" id="{C7B4BD99-8036-4939-8E63-C098EF85B477}"/>
                  </a:ext>
                </a:extLst>
              </p:cNvPr>
              <p:cNvSpPr/>
              <p:nvPr/>
            </p:nvSpPr>
            <p:spPr>
              <a:xfrm>
                <a:off x="1101604" y="4117578"/>
                <a:ext cx="310924" cy="29419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30" name="Graphic 129" descr="Folder Search outline">
                <a:extLst>
                  <a:ext uri="{FF2B5EF4-FFF2-40B4-BE49-F238E27FC236}">
                    <a16:creationId xmlns:a16="http://schemas.microsoft.com/office/drawing/2014/main" id="{9865C540-4446-4BD0-97A9-DC33476930A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134717" y="4158716"/>
                <a:ext cx="277811" cy="272186"/>
              </a:xfrm>
              <a:prstGeom prst="rect">
                <a:avLst/>
              </a:prstGeom>
            </p:spPr>
          </p:pic>
        </p:grpSp>
        <p:sp>
          <p:nvSpPr>
            <p:cNvPr id="186" name="Left Brace 185">
              <a:extLst>
                <a:ext uri="{FF2B5EF4-FFF2-40B4-BE49-F238E27FC236}">
                  <a16:creationId xmlns:a16="http://schemas.microsoft.com/office/drawing/2014/main" id="{0F99B0EA-0216-4D14-A47E-82A1872A3F83}"/>
                </a:ext>
              </a:extLst>
            </p:cNvPr>
            <p:cNvSpPr/>
            <p:nvPr/>
          </p:nvSpPr>
          <p:spPr>
            <a:xfrm>
              <a:off x="510666" y="3672049"/>
              <a:ext cx="226928" cy="299219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8" name="Rectangle 187">
              <a:extLst>
                <a:ext uri="{FF2B5EF4-FFF2-40B4-BE49-F238E27FC236}">
                  <a16:creationId xmlns:a16="http://schemas.microsoft.com/office/drawing/2014/main" id="{83C8E213-8236-4492-9CD1-CBB6C1D91EB1}"/>
                </a:ext>
              </a:extLst>
            </p:cNvPr>
            <p:cNvSpPr/>
            <p:nvPr/>
          </p:nvSpPr>
          <p:spPr>
            <a:xfrm rot="16200000">
              <a:off x="-1174058" y="5032909"/>
              <a:ext cx="2992200" cy="270478"/>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i="1" dirty="0"/>
                <a:t>Additional Phase/s</a:t>
              </a:r>
            </a:p>
          </p:txBody>
        </p:sp>
        <p:sp>
          <p:nvSpPr>
            <p:cNvPr id="189" name="Left Brace 188">
              <a:extLst>
                <a:ext uri="{FF2B5EF4-FFF2-40B4-BE49-F238E27FC236}">
                  <a16:creationId xmlns:a16="http://schemas.microsoft.com/office/drawing/2014/main" id="{898DF453-683A-4F3A-B94D-7E93848800A2}"/>
                </a:ext>
              </a:extLst>
            </p:cNvPr>
            <p:cNvSpPr/>
            <p:nvPr/>
          </p:nvSpPr>
          <p:spPr>
            <a:xfrm>
              <a:off x="510665" y="1370379"/>
              <a:ext cx="270477" cy="220794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0" name="Rectangle 189">
              <a:extLst>
                <a:ext uri="{FF2B5EF4-FFF2-40B4-BE49-F238E27FC236}">
                  <a16:creationId xmlns:a16="http://schemas.microsoft.com/office/drawing/2014/main" id="{11CB008C-E40F-461C-AFC0-777BAACE1E38}"/>
                </a:ext>
              </a:extLst>
            </p:cNvPr>
            <p:cNvSpPr/>
            <p:nvPr/>
          </p:nvSpPr>
          <p:spPr>
            <a:xfrm rot="16200000">
              <a:off x="-781931" y="2324635"/>
              <a:ext cx="2207944" cy="270478"/>
            </a:xfrm>
            <a:prstGeom prst="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i="1"/>
                <a:t>Initial </a:t>
              </a:r>
              <a:r>
                <a:rPr lang="en-US" sz="1200" b="1" i="1" dirty="0"/>
                <a:t>Phase</a:t>
              </a:r>
            </a:p>
          </p:txBody>
        </p:sp>
      </p:grpSp>
      <p:graphicFrame>
        <p:nvGraphicFramePr>
          <p:cNvPr id="119" name="Diagram 118">
            <a:extLst>
              <a:ext uri="{FF2B5EF4-FFF2-40B4-BE49-F238E27FC236}">
                <a16:creationId xmlns:a16="http://schemas.microsoft.com/office/drawing/2014/main" id="{A5A06730-C2C5-4DBF-95A1-9AA2BF3E33CF}"/>
              </a:ext>
            </a:extLst>
          </p:cNvPr>
          <p:cNvGraphicFramePr/>
          <p:nvPr>
            <p:extLst>
              <p:ext uri="{D42A27DB-BD31-4B8C-83A1-F6EECF244321}">
                <p14:modId xmlns:p14="http://schemas.microsoft.com/office/powerpoint/2010/main" val="892743937"/>
              </p:ext>
            </p:extLst>
          </p:nvPr>
        </p:nvGraphicFramePr>
        <p:xfrm>
          <a:off x="442915" y="0"/>
          <a:ext cx="11749086" cy="223464"/>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10" name="Date Placeholder 9">
            <a:extLst>
              <a:ext uri="{FF2B5EF4-FFF2-40B4-BE49-F238E27FC236}">
                <a16:creationId xmlns:a16="http://schemas.microsoft.com/office/drawing/2014/main" id="{99BFA1BB-55BA-41E7-AFD3-C55C5EE71441}"/>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11" name="Slide Number Placeholder 10">
            <a:extLst>
              <a:ext uri="{FF2B5EF4-FFF2-40B4-BE49-F238E27FC236}">
                <a16:creationId xmlns:a16="http://schemas.microsoft.com/office/drawing/2014/main" id="{92C0A8A4-954D-429A-9AE8-4CED4133D894}"/>
              </a:ext>
            </a:extLst>
          </p:cNvPr>
          <p:cNvSpPr>
            <a:spLocks noGrp="1"/>
          </p:cNvSpPr>
          <p:nvPr>
            <p:ph type="sldNum" idx="12"/>
          </p:nvPr>
        </p:nvSpPr>
        <p:spPr/>
        <p:txBody>
          <a:bodyPr/>
          <a:lstStyle/>
          <a:p>
            <a:pPr lvl="0"/>
            <a:fld id="{00000000-1234-1234-1234-123412341234}" type="slidenum">
              <a:rPr lang="en-US" smtClean="0"/>
              <a:pPr lvl="0"/>
              <a:t>17</a:t>
            </a:fld>
            <a:endParaRPr lang="en-US"/>
          </a:p>
        </p:txBody>
      </p:sp>
    </p:spTree>
    <p:custDataLst>
      <p:custData r:id="rId1"/>
    </p:custDataLst>
    <p:extLst>
      <p:ext uri="{BB962C8B-B14F-4D97-AF65-F5344CB8AC3E}">
        <p14:creationId xmlns:p14="http://schemas.microsoft.com/office/powerpoint/2010/main" val="2401491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alpha val="94000"/>
          </a:schemeClr>
        </a:solidFill>
        <a:effectLst/>
      </p:bgPr>
    </p:bg>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2395798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pPr lvl="0"/>
            <a:r>
              <a:rPr lang="en-US" sz="2400" b="0" dirty="0">
                <a:latin typeface="Georgia" panose="02040502050405020303" pitchFamily="18" charset="0"/>
              </a:rPr>
              <a:t>Zoning Plan under Two Proposed Institutional Models</a:t>
            </a:r>
          </a:p>
        </p:txBody>
      </p:sp>
      <p:graphicFrame>
        <p:nvGraphicFramePr>
          <p:cNvPr id="119" name="Diagram 118">
            <a:extLst>
              <a:ext uri="{FF2B5EF4-FFF2-40B4-BE49-F238E27FC236}">
                <a16:creationId xmlns:a16="http://schemas.microsoft.com/office/drawing/2014/main" id="{A5A06730-C2C5-4DBF-95A1-9AA2BF3E33CF}"/>
              </a:ext>
            </a:extLst>
          </p:cNvPr>
          <p:cNvGraphicFramePr/>
          <p:nvPr/>
        </p:nvGraphicFramePr>
        <p:xfrm>
          <a:off x="442915" y="0"/>
          <a:ext cx="11749086" cy="2234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71" name="Group 70">
            <a:extLst>
              <a:ext uri="{FF2B5EF4-FFF2-40B4-BE49-F238E27FC236}">
                <a16:creationId xmlns:a16="http://schemas.microsoft.com/office/drawing/2014/main" id="{DCEF7B58-A14C-2F12-C74F-DC83579AC4CD}"/>
              </a:ext>
            </a:extLst>
          </p:cNvPr>
          <p:cNvGrpSpPr/>
          <p:nvPr/>
        </p:nvGrpSpPr>
        <p:grpSpPr>
          <a:xfrm>
            <a:off x="6296590" y="1723893"/>
            <a:ext cx="5826125" cy="2835275"/>
            <a:chOff x="0" y="0"/>
            <a:chExt cx="5739130" cy="2793700"/>
          </a:xfrm>
        </p:grpSpPr>
        <p:grpSp>
          <p:nvGrpSpPr>
            <p:cNvPr id="75" name="Group 74">
              <a:extLst>
                <a:ext uri="{FF2B5EF4-FFF2-40B4-BE49-F238E27FC236}">
                  <a16:creationId xmlns:a16="http://schemas.microsoft.com/office/drawing/2014/main" id="{C36E302D-3DD6-599C-E86D-051D1C72BE49}"/>
                </a:ext>
              </a:extLst>
            </p:cNvPr>
            <p:cNvGrpSpPr/>
            <p:nvPr/>
          </p:nvGrpSpPr>
          <p:grpSpPr>
            <a:xfrm>
              <a:off x="0" y="0"/>
              <a:ext cx="5739130" cy="2512695"/>
              <a:chOff x="0" y="0"/>
              <a:chExt cx="5739130" cy="2512695"/>
            </a:xfrm>
          </p:grpSpPr>
          <p:pic>
            <p:nvPicPr>
              <p:cNvPr id="93" name="Picture 92">
                <a:extLst>
                  <a:ext uri="{FF2B5EF4-FFF2-40B4-BE49-F238E27FC236}">
                    <a16:creationId xmlns:a16="http://schemas.microsoft.com/office/drawing/2014/main" id="{620D8B1A-CE77-BEB3-AAC2-D903874FA82A}"/>
                  </a:ext>
                </a:extLst>
              </p:cNvPr>
              <p:cNvPicPr>
                <a:picLocks noChangeAspect="1"/>
              </p:cNvPicPr>
              <p:nvPr/>
            </p:nvPicPr>
            <p:blipFill rotWithShape="1">
              <a:blip r:embed="rId12" cstate="email">
                <a:alphaModFix amt="70000"/>
                <a:extLst>
                  <a:ext uri="{28A0092B-C50C-407E-A947-70E740481C1C}">
                    <a14:useLocalDpi xmlns:a14="http://schemas.microsoft.com/office/drawing/2010/main"/>
                  </a:ext>
                </a:extLst>
              </a:blip>
              <a:srcRect/>
              <a:stretch/>
            </p:blipFill>
            <p:spPr>
              <a:xfrm>
                <a:off x="0" y="0"/>
                <a:ext cx="5739130" cy="2512695"/>
              </a:xfrm>
              <a:prstGeom prst="rect">
                <a:avLst/>
              </a:prstGeom>
            </p:spPr>
          </p:pic>
          <p:sp>
            <p:nvSpPr>
              <p:cNvPr id="94" name="TextBox 3">
                <a:extLst>
                  <a:ext uri="{FF2B5EF4-FFF2-40B4-BE49-F238E27FC236}">
                    <a16:creationId xmlns:a16="http://schemas.microsoft.com/office/drawing/2014/main" id="{C0466449-FD41-9CD8-A607-5AF75FBD834B}"/>
                  </a:ext>
                </a:extLst>
              </p:cNvPr>
              <p:cNvSpPr txBox="1"/>
              <p:nvPr/>
            </p:nvSpPr>
            <p:spPr>
              <a:xfrm>
                <a:off x="424536" y="192608"/>
                <a:ext cx="1682750" cy="252095"/>
              </a:xfrm>
              <a:prstGeom prst="rect">
                <a:avLst/>
              </a:prstGeom>
              <a:solidFill>
                <a:schemeClr val="bg1"/>
              </a:solidFill>
            </p:spPr>
            <p:txBody>
              <a:bodyPr wrap="square" rtlCol="0">
                <a:noAutofit/>
              </a:bodyPr>
              <a:lstStyle/>
              <a:p>
                <a:pPr marL="0" marR="0" algn="ctr">
                  <a:spcBef>
                    <a:spcPts val="0"/>
                  </a:spcBef>
                  <a:spcAft>
                    <a:spcPts val="0"/>
                  </a:spcAft>
                </a:pPr>
                <a:r>
                  <a:rPr lang="en-US" sz="1100" b="1" kern="1200">
                    <a:solidFill>
                      <a:srgbClr val="000000"/>
                    </a:solidFill>
                    <a:effectLst/>
                    <a:latin typeface="Arial" panose="020B0604020202020204" pitchFamily="34" charset="0"/>
                    <a:ea typeface="SimSun" panose="02010600030101010101" pitchFamily="2" charset="-122"/>
                    <a:cs typeface="Arial" panose="020B0604020202020204" pitchFamily="34" charset="0"/>
                  </a:rPr>
                  <a:t>KAZAKHSTA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95" name="TextBox 4">
                <a:extLst>
                  <a:ext uri="{FF2B5EF4-FFF2-40B4-BE49-F238E27FC236}">
                    <a16:creationId xmlns:a16="http://schemas.microsoft.com/office/drawing/2014/main" id="{AFA36F22-9122-8C08-5BBE-82411EA874AD}"/>
                  </a:ext>
                </a:extLst>
              </p:cNvPr>
              <p:cNvSpPr txBox="1"/>
              <p:nvPr/>
            </p:nvSpPr>
            <p:spPr>
              <a:xfrm>
                <a:off x="3276598" y="192607"/>
                <a:ext cx="1682750" cy="252095"/>
              </a:xfrm>
              <a:prstGeom prst="rect">
                <a:avLst/>
              </a:prstGeom>
              <a:solidFill>
                <a:schemeClr val="bg1"/>
              </a:solidFill>
            </p:spPr>
            <p:txBody>
              <a:bodyPr wrap="square" rtlCol="0">
                <a:noAutofit/>
              </a:bodyPr>
              <a:lstStyle/>
              <a:p>
                <a:pPr marL="0" marR="0" algn="ctr">
                  <a:spcBef>
                    <a:spcPts val="0"/>
                  </a:spcBef>
                  <a:spcAft>
                    <a:spcPts val="0"/>
                  </a:spcAft>
                </a:pPr>
                <a:r>
                  <a:rPr lang="en-US" sz="1100" b="1" kern="1200">
                    <a:solidFill>
                      <a:srgbClr val="000000"/>
                    </a:solidFill>
                    <a:effectLst/>
                    <a:latin typeface="Arial" panose="020B0604020202020204" pitchFamily="34" charset="0"/>
                    <a:ea typeface="SimSun" panose="02010600030101010101" pitchFamily="2" charset="-122"/>
                    <a:cs typeface="Arial" panose="020B0604020202020204" pitchFamily="34" charset="0"/>
                  </a:rPr>
                  <a:t>UZBEKISTA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97" name="TextBox 5">
                <a:extLst>
                  <a:ext uri="{FF2B5EF4-FFF2-40B4-BE49-F238E27FC236}">
                    <a16:creationId xmlns:a16="http://schemas.microsoft.com/office/drawing/2014/main" id="{D4874664-0AE3-E0E5-B999-9EA255822D1B}"/>
                  </a:ext>
                </a:extLst>
              </p:cNvPr>
              <p:cNvSpPr txBox="1"/>
              <p:nvPr/>
            </p:nvSpPr>
            <p:spPr>
              <a:xfrm>
                <a:off x="424536" y="560590"/>
                <a:ext cx="1682750" cy="354330"/>
              </a:xfrm>
              <a:prstGeom prst="rect">
                <a:avLst/>
              </a:prstGeom>
              <a:solidFill>
                <a:srgbClr val="FFFFFF">
                  <a:alpha val="50196"/>
                </a:srgbClr>
              </a:solidFill>
            </p:spPr>
            <p:txBody>
              <a:bodyPr wrap="square" rtlCol="0">
                <a:noAutofit/>
              </a:bodyPr>
              <a:lstStyle/>
              <a:p>
                <a:pPr marL="0" marR="0" algn="l">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Proposed Area for ICIC by Kazak Governmen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99" name="TextBox 6">
                <a:extLst>
                  <a:ext uri="{FF2B5EF4-FFF2-40B4-BE49-F238E27FC236}">
                    <a16:creationId xmlns:a16="http://schemas.microsoft.com/office/drawing/2014/main" id="{706A599D-BAD9-C3E0-4D3A-D5C22375A1E1}"/>
                  </a:ext>
                </a:extLst>
              </p:cNvPr>
              <p:cNvSpPr txBox="1"/>
              <p:nvPr/>
            </p:nvSpPr>
            <p:spPr>
              <a:xfrm>
                <a:off x="3276597" y="595896"/>
                <a:ext cx="1682750" cy="354330"/>
              </a:xfrm>
              <a:prstGeom prst="rect">
                <a:avLst/>
              </a:prstGeom>
              <a:solidFill>
                <a:srgbClr val="FFFFFF">
                  <a:alpha val="50196"/>
                </a:srgbClr>
              </a:solidFill>
            </p:spPr>
            <p:txBody>
              <a:bodyPr wrap="square" rtlCol="0">
                <a:noAutofit/>
              </a:bodyPr>
              <a:lstStyle/>
              <a:p>
                <a:pPr marL="0" marR="0" algn="l">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Proposed Area by Uzbekistan Governmen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00" name="Rectangle 99">
                <a:extLst>
                  <a:ext uri="{FF2B5EF4-FFF2-40B4-BE49-F238E27FC236}">
                    <a16:creationId xmlns:a16="http://schemas.microsoft.com/office/drawing/2014/main" id="{AB54E4E0-FF14-9BD7-5391-241FBDCD0C5A}"/>
                  </a:ext>
                </a:extLst>
              </p:cNvPr>
              <p:cNvSpPr/>
              <p:nvPr/>
            </p:nvSpPr>
            <p:spPr>
              <a:xfrm>
                <a:off x="1026294" y="1455248"/>
                <a:ext cx="1404730" cy="481263"/>
              </a:xfrm>
              <a:prstGeom prst="rect">
                <a:avLst/>
              </a:prstGeom>
              <a:solidFill>
                <a:srgbClr val="FFC000">
                  <a:alpha val="75000"/>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b="1" kern="1200">
                    <a:solidFill>
                      <a:srgbClr val="000000"/>
                    </a:solidFill>
                    <a:effectLst/>
                    <a:latin typeface="Arial" panose="020B0604020202020204" pitchFamily="34" charset="0"/>
                    <a:ea typeface="SimSun" panose="02010600030101010101" pitchFamily="2" charset="-122"/>
                    <a:cs typeface="Arial" panose="020B0604020202020204" pitchFamily="34" charset="0"/>
                  </a:rPr>
                  <a:t>Manufacturing Zone</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01" name="Freeform 2134399830">
                <a:extLst>
                  <a:ext uri="{FF2B5EF4-FFF2-40B4-BE49-F238E27FC236}">
                    <a16:creationId xmlns:a16="http://schemas.microsoft.com/office/drawing/2014/main" id="{210131AA-7250-337C-B18E-1B85B961BB97}"/>
                  </a:ext>
                </a:extLst>
              </p:cNvPr>
              <p:cNvSpPr/>
              <p:nvPr/>
            </p:nvSpPr>
            <p:spPr>
              <a:xfrm>
                <a:off x="1039033" y="1086098"/>
                <a:ext cx="1392382" cy="368877"/>
              </a:xfrm>
              <a:custGeom>
                <a:avLst/>
                <a:gdLst>
                  <a:gd name="connsiteX0" fmla="*/ 0 w 1392382"/>
                  <a:gd name="connsiteY0" fmla="*/ 0 h 368877"/>
                  <a:gd name="connsiteX1" fmla="*/ 0 w 1392382"/>
                  <a:gd name="connsiteY1" fmla="*/ 368877 h 368877"/>
                  <a:gd name="connsiteX2" fmla="*/ 1381991 w 1392382"/>
                  <a:gd name="connsiteY2" fmla="*/ 368877 h 368877"/>
                  <a:gd name="connsiteX3" fmla="*/ 1392382 w 1392382"/>
                  <a:gd name="connsiteY3" fmla="*/ 264968 h 368877"/>
                  <a:gd name="connsiteX4" fmla="*/ 0 w 1392382"/>
                  <a:gd name="connsiteY4" fmla="*/ 0 h 368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382" h="368877">
                    <a:moveTo>
                      <a:pt x="0" y="0"/>
                    </a:moveTo>
                    <a:lnTo>
                      <a:pt x="0" y="368877"/>
                    </a:lnTo>
                    <a:lnTo>
                      <a:pt x="1381991" y="368877"/>
                    </a:lnTo>
                    <a:lnTo>
                      <a:pt x="1392382" y="264968"/>
                    </a:lnTo>
                    <a:lnTo>
                      <a:pt x="0" y="0"/>
                    </a:lnTo>
                    <a:close/>
                  </a:path>
                </a:pathLst>
              </a:custGeom>
              <a:solidFill>
                <a:srgbClr val="C13501">
                  <a:alpha val="7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03" name="Rectangle 102">
                <a:extLst>
                  <a:ext uri="{FF2B5EF4-FFF2-40B4-BE49-F238E27FC236}">
                    <a16:creationId xmlns:a16="http://schemas.microsoft.com/office/drawing/2014/main" id="{67DA1844-80BF-41C5-B9C0-4C86EBF65F6A}"/>
                  </a:ext>
                </a:extLst>
              </p:cNvPr>
              <p:cNvSpPr/>
              <p:nvPr/>
            </p:nvSpPr>
            <p:spPr>
              <a:xfrm>
                <a:off x="1032859" y="1936511"/>
                <a:ext cx="1404730" cy="264573"/>
              </a:xfrm>
              <a:prstGeom prst="rect">
                <a:avLst/>
              </a:prstGeom>
              <a:solidFill>
                <a:schemeClr val="tx1">
                  <a:lumMod val="75000"/>
                  <a:lumOff val="25000"/>
                  <a:alpha val="75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11" name="Rectangle 110">
                <a:extLst>
                  <a:ext uri="{FF2B5EF4-FFF2-40B4-BE49-F238E27FC236}">
                    <a16:creationId xmlns:a16="http://schemas.microsoft.com/office/drawing/2014/main" id="{B89F413B-BD07-622A-AD39-FD3E516C223D}"/>
                  </a:ext>
                </a:extLst>
              </p:cNvPr>
              <p:cNvSpPr/>
              <p:nvPr/>
            </p:nvSpPr>
            <p:spPr>
              <a:xfrm>
                <a:off x="2470479" y="1671938"/>
                <a:ext cx="1404730" cy="264573"/>
              </a:xfrm>
              <a:prstGeom prst="rect">
                <a:avLst/>
              </a:prstGeom>
              <a:solidFill>
                <a:srgbClr val="FFC000">
                  <a:alpha val="75000"/>
                </a:srgb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b="1" kern="1200">
                    <a:solidFill>
                      <a:srgbClr val="000000"/>
                    </a:solidFill>
                    <a:effectLst/>
                    <a:latin typeface="Arial" panose="020B0604020202020204" pitchFamily="34" charset="0"/>
                    <a:ea typeface="SimSun" panose="02010600030101010101" pitchFamily="2" charset="-122"/>
                    <a:cs typeface="Arial" panose="020B0604020202020204" pitchFamily="34" charset="0"/>
                  </a:rPr>
                  <a:t>Manufacturing Zone</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12" name="Rectangle 111">
                <a:extLst>
                  <a:ext uri="{FF2B5EF4-FFF2-40B4-BE49-F238E27FC236}">
                    <a16:creationId xmlns:a16="http://schemas.microsoft.com/office/drawing/2014/main" id="{7FEE28EC-B765-8021-D590-762230231813}"/>
                  </a:ext>
                </a:extLst>
              </p:cNvPr>
              <p:cNvSpPr/>
              <p:nvPr/>
            </p:nvSpPr>
            <p:spPr>
              <a:xfrm>
                <a:off x="2468327" y="1949799"/>
                <a:ext cx="1404730" cy="264573"/>
              </a:xfrm>
              <a:prstGeom prst="rect">
                <a:avLst/>
              </a:prstGeom>
              <a:solidFill>
                <a:schemeClr val="tx1">
                  <a:lumMod val="75000"/>
                  <a:lumOff val="25000"/>
                  <a:alpha val="75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13" name="Freeform 1401438260">
                <a:extLst>
                  <a:ext uri="{FF2B5EF4-FFF2-40B4-BE49-F238E27FC236}">
                    <a16:creationId xmlns:a16="http://schemas.microsoft.com/office/drawing/2014/main" id="{CCAA019F-0A51-4D25-19EA-78F5F465025F}"/>
                  </a:ext>
                </a:extLst>
              </p:cNvPr>
              <p:cNvSpPr/>
              <p:nvPr/>
            </p:nvSpPr>
            <p:spPr>
              <a:xfrm>
                <a:off x="2483631" y="1392667"/>
                <a:ext cx="1394625" cy="269715"/>
              </a:xfrm>
              <a:custGeom>
                <a:avLst/>
                <a:gdLst>
                  <a:gd name="connsiteX0" fmla="*/ 0 w 1394625"/>
                  <a:gd name="connsiteY0" fmla="*/ 0 h 269715"/>
                  <a:gd name="connsiteX1" fmla="*/ 0 w 1394625"/>
                  <a:gd name="connsiteY1" fmla="*/ 269715 h 269715"/>
                  <a:gd name="connsiteX2" fmla="*/ 1394625 w 1394625"/>
                  <a:gd name="connsiteY2" fmla="*/ 269715 h 269715"/>
                  <a:gd name="connsiteX3" fmla="*/ 0 w 1394625"/>
                  <a:gd name="connsiteY3" fmla="*/ 0 h 269715"/>
                </a:gdLst>
                <a:ahLst/>
                <a:cxnLst>
                  <a:cxn ang="0">
                    <a:pos x="connsiteX0" y="connsiteY0"/>
                  </a:cxn>
                  <a:cxn ang="0">
                    <a:pos x="connsiteX1" y="connsiteY1"/>
                  </a:cxn>
                  <a:cxn ang="0">
                    <a:pos x="connsiteX2" y="connsiteY2"/>
                  </a:cxn>
                  <a:cxn ang="0">
                    <a:pos x="connsiteX3" y="connsiteY3"/>
                  </a:cxn>
                </a:cxnLst>
                <a:rect l="l" t="t" r="r" b="b"/>
                <a:pathLst>
                  <a:path w="1394625" h="269715">
                    <a:moveTo>
                      <a:pt x="0" y="0"/>
                    </a:moveTo>
                    <a:lnTo>
                      <a:pt x="0" y="269715"/>
                    </a:lnTo>
                    <a:lnTo>
                      <a:pt x="1394625" y="269715"/>
                    </a:lnTo>
                    <a:lnTo>
                      <a:pt x="0" y="0"/>
                    </a:lnTo>
                    <a:close/>
                  </a:path>
                </a:pathLst>
              </a:custGeom>
              <a:solidFill>
                <a:srgbClr val="C13501">
                  <a:alpha val="7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15" name="Freeform 1955635509">
                <a:extLst>
                  <a:ext uri="{FF2B5EF4-FFF2-40B4-BE49-F238E27FC236}">
                    <a16:creationId xmlns:a16="http://schemas.microsoft.com/office/drawing/2014/main" id="{FE1F0E58-4328-CE3E-818D-724CB27F9A62}"/>
                  </a:ext>
                </a:extLst>
              </p:cNvPr>
              <p:cNvSpPr/>
              <p:nvPr/>
            </p:nvSpPr>
            <p:spPr>
              <a:xfrm>
                <a:off x="2470479" y="1393141"/>
                <a:ext cx="1407781" cy="835459"/>
              </a:xfrm>
              <a:custGeom>
                <a:avLst/>
                <a:gdLst>
                  <a:gd name="connsiteX0" fmla="*/ 0 w 1407781"/>
                  <a:gd name="connsiteY0" fmla="*/ 0 h 835459"/>
                  <a:gd name="connsiteX1" fmla="*/ 0 w 1407781"/>
                  <a:gd name="connsiteY1" fmla="*/ 835459 h 835459"/>
                  <a:gd name="connsiteX2" fmla="*/ 1407781 w 1407781"/>
                  <a:gd name="connsiteY2" fmla="*/ 835459 h 835459"/>
                  <a:gd name="connsiteX3" fmla="*/ 1407781 w 1407781"/>
                  <a:gd name="connsiteY3" fmla="*/ 263137 h 835459"/>
                  <a:gd name="connsiteX4" fmla="*/ 0 w 1407781"/>
                  <a:gd name="connsiteY4" fmla="*/ 0 h 835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781" h="835459">
                    <a:moveTo>
                      <a:pt x="0" y="0"/>
                    </a:moveTo>
                    <a:lnTo>
                      <a:pt x="0" y="835459"/>
                    </a:lnTo>
                    <a:lnTo>
                      <a:pt x="1407781" y="835459"/>
                    </a:lnTo>
                    <a:lnTo>
                      <a:pt x="1407781" y="263137"/>
                    </a:lnTo>
                    <a:lnTo>
                      <a:pt x="0" y="0"/>
                    </a:lnTo>
                    <a:close/>
                  </a:path>
                </a:pathLst>
              </a:custGeom>
              <a:noFill/>
              <a:ln w="28575">
                <a:solidFill>
                  <a:schemeClr val="tx1"/>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16" name="Freeform 28525427">
                <a:extLst>
                  <a:ext uri="{FF2B5EF4-FFF2-40B4-BE49-F238E27FC236}">
                    <a16:creationId xmlns:a16="http://schemas.microsoft.com/office/drawing/2014/main" id="{2C932F04-0464-4118-E8A8-5F5A952B46BB}"/>
                  </a:ext>
                </a:extLst>
              </p:cNvPr>
              <p:cNvSpPr/>
              <p:nvPr/>
            </p:nvSpPr>
            <p:spPr>
              <a:xfrm>
                <a:off x="1026293" y="1089618"/>
                <a:ext cx="1411295" cy="1131668"/>
              </a:xfrm>
              <a:custGeom>
                <a:avLst/>
                <a:gdLst>
                  <a:gd name="connsiteX0" fmla="*/ 0 w 1484243"/>
                  <a:gd name="connsiteY0" fmla="*/ 0 h 1126435"/>
                  <a:gd name="connsiteX1" fmla="*/ 0 w 1484243"/>
                  <a:gd name="connsiteY1" fmla="*/ 1126435 h 1126435"/>
                  <a:gd name="connsiteX2" fmla="*/ 1484243 w 1484243"/>
                  <a:gd name="connsiteY2" fmla="*/ 1126435 h 1126435"/>
                  <a:gd name="connsiteX3" fmla="*/ 1484243 w 1484243"/>
                  <a:gd name="connsiteY3" fmla="*/ 265044 h 1126435"/>
                  <a:gd name="connsiteX4" fmla="*/ 0 w 1484243"/>
                  <a:gd name="connsiteY4" fmla="*/ 0 h 1126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4243" h="1126435">
                    <a:moveTo>
                      <a:pt x="0" y="0"/>
                    </a:moveTo>
                    <a:lnTo>
                      <a:pt x="0" y="1126435"/>
                    </a:lnTo>
                    <a:lnTo>
                      <a:pt x="1484243" y="1126435"/>
                    </a:lnTo>
                    <a:lnTo>
                      <a:pt x="1484243" y="265044"/>
                    </a:lnTo>
                    <a:lnTo>
                      <a:pt x="0" y="0"/>
                    </a:lnTo>
                    <a:close/>
                  </a:path>
                </a:pathLst>
              </a:cu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grpSp>
        <p:grpSp>
          <p:nvGrpSpPr>
            <p:cNvPr id="82" name="Group 81">
              <a:extLst>
                <a:ext uri="{FF2B5EF4-FFF2-40B4-BE49-F238E27FC236}">
                  <a16:creationId xmlns:a16="http://schemas.microsoft.com/office/drawing/2014/main" id="{FFD28CE8-EEB7-18CA-04CE-FDF9386087A2}"/>
                </a:ext>
              </a:extLst>
            </p:cNvPr>
            <p:cNvGrpSpPr/>
            <p:nvPr/>
          </p:nvGrpSpPr>
          <p:grpSpPr>
            <a:xfrm>
              <a:off x="619085" y="2562455"/>
              <a:ext cx="4500757" cy="231245"/>
              <a:chOff x="619085" y="2562455"/>
              <a:chExt cx="4500757" cy="231245"/>
            </a:xfrm>
          </p:grpSpPr>
          <p:sp>
            <p:nvSpPr>
              <p:cNvPr id="83" name="Rectangle 82">
                <a:extLst>
                  <a:ext uri="{FF2B5EF4-FFF2-40B4-BE49-F238E27FC236}">
                    <a16:creationId xmlns:a16="http://schemas.microsoft.com/office/drawing/2014/main" id="{34E1AD6A-0FEE-2404-B2E5-B805F3A28A3F}"/>
                  </a:ext>
                </a:extLst>
              </p:cNvPr>
              <p:cNvSpPr/>
              <p:nvPr/>
            </p:nvSpPr>
            <p:spPr>
              <a:xfrm>
                <a:off x="619085" y="2581293"/>
                <a:ext cx="284925" cy="184499"/>
              </a:xfrm>
              <a:prstGeom prst="rect">
                <a:avLst/>
              </a:prstGeom>
              <a:solidFill>
                <a:srgbClr val="B147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84" name="TextBox 20">
                <a:extLst>
                  <a:ext uri="{FF2B5EF4-FFF2-40B4-BE49-F238E27FC236}">
                    <a16:creationId xmlns:a16="http://schemas.microsoft.com/office/drawing/2014/main" id="{879BA20E-3F97-EF73-219C-46A6D9562307}"/>
                  </a:ext>
                </a:extLst>
              </p:cNvPr>
              <p:cNvSpPr txBox="1"/>
              <p:nvPr/>
            </p:nvSpPr>
            <p:spPr>
              <a:xfrm>
                <a:off x="904010" y="2568856"/>
                <a:ext cx="1608455" cy="222885"/>
              </a:xfrm>
              <a:prstGeom prst="rect">
                <a:avLst/>
              </a:prstGeom>
              <a:noFill/>
            </p:spPr>
            <p:txBody>
              <a:bodyPr wrap="square" rtlCol="0">
                <a:noAutofit/>
              </a:bodyPr>
              <a:lstStyle/>
              <a:p>
                <a:pPr marL="0" marR="0" algn="just">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Logistics and Warehousing</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85" name="Rectangle 84">
                <a:extLst>
                  <a:ext uri="{FF2B5EF4-FFF2-40B4-BE49-F238E27FC236}">
                    <a16:creationId xmlns:a16="http://schemas.microsoft.com/office/drawing/2014/main" id="{667DA38B-0CD4-EF42-E010-92748C1A4EA8}"/>
                  </a:ext>
                </a:extLst>
              </p:cNvPr>
              <p:cNvSpPr/>
              <p:nvPr/>
            </p:nvSpPr>
            <p:spPr>
              <a:xfrm>
                <a:off x="2444400" y="2574891"/>
                <a:ext cx="284925" cy="184499"/>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86" name="TextBox 22">
                <a:extLst>
                  <a:ext uri="{FF2B5EF4-FFF2-40B4-BE49-F238E27FC236}">
                    <a16:creationId xmlns:a16="http://schemas.microsoft.com/office/drawing/2014/main" id="{DA3F5D61-821A-F7E3-C6D0-25BEF2D6D87D}"/>
                  </a:ext>
                </a:extLst>
              </p:cNvPr>
              <p:cNvSpPr txBox="1"/>
              <p:nvPr/>
            </p:nvSpPr>
            <p:spPr>
              <a:xfrm>
                <a:off x="2729326" y="2562455"/>
                <a:ext cx="884555" cy="222885"/>
              </a:xfrm>
              <a:prstGeom prst="rect">
                <a:avLst/>
              </a:prstGeom>
              <a:noFill/>
            </p:spPr>
            <p:txBody>
              <a:bodyPr wrap="square" rtlCol="0">
                <a:noAutofit/>
              </a:bodyPr>
              <a:lstStyle/>
              <a:p>
                <a:pPr marL="0" marR="0" algn="just">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Processing</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87" name="Rectangle 86">
                <a:extLst>
                  <a:ext uri="{FF2B5EF4-FFF2-40B4-BE49-F238E27FC236}">
                    <a16:creationId xmlns:a16="http://schemas.microsoft.com/office/drawing/2014/main" id="{EC495D2F-31B9-8AE2-28F6-638AA7DDA91A}"/>
                  </a:ext>
                </a:extLst>
              </p:cNvPr>
              <p:cNvSpPr/>
              <p:nvPr/>
            </p:nvSpPr>
            <p:spPr>
              <a:xfrm>
                <a:off x="3483001" y="2583252"/>
                <a:ext cx="284925" cy="184499"/>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88" name="TextBox 24">
                <a:extLst>
                  <a:ext uri="{FF2B5EF4-FFF2-40B4-BE49-F238E27FC236}">
                    <a16:creationId xmlns:a16="http://schemas.microsoft.com/office/drawing/2014/main" id="{51894ABE-825C-4D46-B313-4329283DEFB8}"/>
                  </a:ext>
                </a:extLst>
              </p:cNvPr>
              <p:cNvSpPr txBox="1"/>
              <p:nvPr/>
            </p:nvSpPr>
            <p:spPr>
              <a:xfrm>
                <a:off x="3767927" y="2570815"/>
                <a:ext cx="1351915" cy="222885"/>
              </a:xfrm>
              <a:prstGeom prst="rect">
                <a:avLst/>
              </a:prstGeom>
              <a:noFill/>
            </p:spPr>
            <p:txBody>
              <a:bodyPr wrap="square" rtlCol="0">
                <a:noAutofit/>
              </a:bodyPr>
              <a:lstStyle/>
              <a:p>
                <a:pPr marL="0" marR="0" algn="just">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Non-Processing Zone</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grpSp>
      <p:cxnSp>
        <p:nvCxnSpPr>
          <p:cNvPr id="6" name="Straight Connector 5">
            <a:extLst>
              <a:ext uri="{FF2B5EF4-FFF2-40B4-BE49-F238E27FC236}">
                <a16:creationId xmlns:a16="http://schemas.microsoft.com/office/drawing/2014/main" id="{A46A0C00-6D2A-4CCD-92EC-3A0E80AA30CD}"/>
              </a:ext>
            </a:extLst>
          </p:cNvPr>
          <p:cNvCxnSpPr/>
          <p:nvPr/>
        </p:nvCxnSpPr>
        <p:spPr>
          <a:xfrm>
            <a:off x="6159085" y="1140542"/>
            <a:ext cx="0" cy="5717458"/>
          </a:xfrm>
          <a:prstGeom prst="line">
            <a:avLst/>
          </a:prstGeom>
          <a:ln w="12700">
            <a:solidFill>
              <a:srgbClr val="DC6900"/>
            </a:solidFill>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98C22ABE-364F-2C8D-86FD-41B783EA9AD8}"/>
              </a:ext>
            </a:extLst>
          </p:cNvPr>
          <p:cNvGrpSpPr/>
          <p:nvPr/>
        </p:nvGrpSpPr>
        <p:grpSpPr>
          <a:xfrm>
            <a:off x="282450" y="1723893"/>
            <a:ext cx="5739130" cy="2793365"/>
            <a:chOff x="0" y="0"/>
            <a:chExt cx="5739130" cy="2793700"/>
          </a:xfrm>
        </p:grpSpPr>
        <p:grpSp>
          <p:nvGrpSpPr>
            <p:cNvPr id="118" name="Group 117">
              <a:extLst>
                <a:ext uri="{FF2B5EF4-FFF2-40B4-BE49-F238E27FC236}">
                  <a16:creationId xmlns:a16="http://schemas.microsoft.com/office/drawing/2014/main" id="{C36E302D-3DD6-599C-E86D-051D1C72BE49}"/>
                </a:ext>
              </a:extLst>
            </p:cNvPr>
            <p:cNvGrpSpPr/>
            <p:nvPr/>
          </p:nvGrpSpPr>
          <p:grpSpPr>
            <a:xfrm>
              <a:off x="0" y="0"/>
              <a:ext cx="5739130" cy="2512695"/>
              <a:chOff x="0" y="0"/>
              <a:chExt cx="5739130" cy="2512695"/>
            </a:xfrm>
          </p:grpSpPr>
          <p:pic>
            <p:nvPicPr>
              <p:cNvPr id="141" name="Picture 140">
                <a:extLst>
                  <a:ext uri="{FF2B5EF4-FFF2-40B4-BE49-F238E27FC236}">
                    <a16:creationId xmlns:a16="http://schemas.microsoft.com/office/drawing/2014/main" id="{620D8B1A-CE77-BEB3-AAC2-D903874FA82A}"/>
                  </a:ext>
                </a:extLst>
              </p:cNvPr>
              <p:cNvPicPr>
                <a:picLocks noChangeAspect="1"/>
              </p:cNvPicPr>
              <p:nvPr/>
            </p:nvPicPr>
            <p:blipFill rotWithShape="1">
              <a:blip r:embed="rId12" cstate="email">
                <a:alphaModFix amt="70000"/>
                <a:extLst>
                  <a:ext uri="{28A0092B-C50C-407E-A947-70E740481C1C}">
                    <a14:useLocalDpi xmlns:a14="http://schemas.microsoft.com/office/drawing/2010/main"/>
                  </a:ext>
                </a:extLst>
              </a:blip>
              <a:srcRect/>
              <a:stretch/>
            </p:blipFill>
            <p:spPr>
              <a:xfrm>
                <a:off x="0" y="0"/>
                <a:ext cx="5739130" cy="2512695"/>
              </a:xfrm>
              <a:prstGeom prst="rect">
                <a:avLst/>
              </a:prstGeom>
            </p:spPr>
          </p:pic>
          <p:sp>
            <p:nvSpPr>
              <p:cNvPr id="142" name="TextBox 3">
                <a:extLst>
                  <a:ext uri="{FF2B5EF4-FFF2-40B4-BE49-F238E27FC236}">
                    <a16:creationId xmlns:a16="http://schemas.microsoft.com/office/drawing/2014/main" id="{C0466449-FD41-9CD8-A607-5AF75FBD834B}"/>
                  </a:ext>
                </a:extLst>
              </p:cNvPr>
              <p:cNvSpPr txBox="1"/>
              <p:nvPr/>
            </p:nvSpPr>
            <p:spPr>
              <a:xfrm>
                <a:off x="424536" y="192608"/>
                <a:ext cx="1682750" cy="252095"/>
              </a:xfrm>
              <a:prstGeom prst="rect">
                <a:avLst/>
              </a:prstGeom>
              <a:solidFill>
                <a:schemeClr val="bg1"/>
              </a:solidFill>
            </p:spPr>
            <p:txBody>
              <a:bodyPr wrap="square" rtlCol="0">
                <a:spAutoFit/>
              </a:bodyPr>
              <a:lstStyle/>
              <a:p>
                <a:pPr marL="0" marR="0" algn="ctr">
                  <a:spcBef>
                    <a:spcPts val="0"/>
                  </a:spcBef>
                  <a:spcAft>
                    <a:spcPts val="0"/>
                  </a:spcAft>
                </a:pPr>
                <a:r>
                  <a:rPr lang="en-US" sz="1100" b="1" kern="1200">
                    <a:solidFill>
                      <a:srgbClr val="000000"/>
                    </a:solidFill>
                    <a:effectLst/>
                    <a:latin typeface="Arial" panose="020B0604020202020204" pitchFamily="34" charset="0"/>
                    <a:ea typeface="SimSun" panose="02010600030101010101" pitchFamily="2" charset="-122"/>
                    <a:cs typeface="Arial" panose="020B0604020202020204" pitchFamily="34" charset="0"/>
                  </a:rPr>
                  <a:t>KAZAKHSTA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3" name="TextBox 4">
                <a:extLst>
                  <a:ext uri="{FF2B5EF4-FFF2-40B4-BE49-F238E27FC236}">
                    <a16:creationId xmlns:a16="http://schemas.microsoft.com/office/drawing/2014/main" id="{AFA36F22-9122-8C08-5BBE-82411EA874AD}"/>
                  </a:ext>
                </a:extLst>
              </p:cNvPr>
              <p:cNvSpPr txBox="1"/>
              <p:nvPr/>
            </p:nvSpPr>
            <p:spPr>
              <a:xfrm>
                <a:off x="3276598" y="192607"/>
                <a:ext cx="1682750" cy="252095"/>
              </a:xfrm>
              <a:prstGeom prst="rect">
                <a:avLst/>
              </a:prstGeom>
              <a:solidFill>
                <a:schemeClr val="bg1"/>
              </a:solidFill>
            </p:spPr>
            <p:txBody>
              <a:bodyPr wrap="square" rtlCol="0">
                <a:spAutoFit/>
              </a:bodyPr>
              <a:lstStyle/>
              <a:p>
                <a:pPr marL="0" marR="0" algn="ctr">
                  <a:spcBef>
                    <a:spcPts val="0"/>
                  </a:spcBef>
                  <a:spcAft>
                    <a:spcPts val="0"/>
                  </a:spcAft>
                </a:pPr>
                <a:r>
                  <a:rPr lang="en-US" sz="1100" b="1" kern="1200">
                    <a:solidFill>
                      <a:srgbClr val="000000"/>
                    </a:solidFill>
                    <a:effectLst/>
                    <a:latin typeface="Arial" panose="020B0604020202020204" pitchFamily="34" charset="0"/>
                    <a:ea typeface="SimSun" panose="02010600030101010101" pitchFamily="2" charset="-122"/>
                    <a:cs typeface="Arial" panose="020B0604020202020204" pitchFamily="34" charset="0"/>
                  </a:rPr>
                  <a:t>UZBEKISTA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4" name="TextBox 5">
                <a:extLst>
                  <a:ext uri="{FF2B5EF4-FFF2-40B4-BE49-F238E27FC236}">
                    <a16:creationId xmlns:a16="http://schemas.microsoft.com/office/drawing/2014/main" id="{D4874664-0AE3-E0E5-B999-9EA255822D1B}"/>
                  </a:ext>
                </a:extLst>
              </p:cNvPr>
              <p:cNvSpPr txBox="1"/>
              <p:nvPr/>
            </p:nvSpPr>
            <p:spPr>
              <a:xfrm>
                <a:off x="424536" y="560657"/>
                <a:ext cx="1682750" cy="354330"/>
              </a:xfrm>
              <a:prstGeom prst="rect">
                <a:avLst/>
              </a:prstGeom>
              <a:solidFill>
                <a:srgbClr val="FFFFFF">
                  <a:alpha val="50196"/>
                </a:srgbClr>
              </a:solidFill>
            </p:spPr>
            <p:txBody>
              <a:bodyPr wrap="square" rtlCol="0">
                <a:spAutoFit/>
              </a:bodyPr>
              <a:lstStyle/>
              <a:p>
                <a:pPr marL="0" marR="0" algn="just">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Proposed Area for ICIC by Kazak Governmen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45" name="TextBox 6">
                <a:extLst>
                  <a:ext uri="{FF2B5EF4-FFF2-40B4-BE49-F238E27FC236}">
                    <a16:creationId xmlns:a16="http://schemas.microsoft.com/office/drawing/2014/main" id="{706A599D-BAD9-C3E0-4D3A-D5C22375A1E1}"/>
                  </a:ext>
                </a:extLst>
              </p:cNvPr>
              <p:cNvSpPr txBox="1"/>
              <p:nvPr/>
            </p:nvSpPr>
            <p:spPr>
              <a:xfrm>
                <a:off x="3276597" y="595825"/>
                <a:ext cx="1682750" cy="354330"/>
              </a:xfrm>
              <a:prstGeom prst="rect">
                <a:avLst/>
              </a:prstGeom>
              <a:solidFill>
                <a:srgbClr val="FFFFFF">
                  <a:alpha val="50196"/>
                </a:srgbClr>
              </a:solidFill>
            </p:spPr>
            <p:txBody>
              <a:bodyPr wrap="square" rtlCol="0">
                <a:spAutoFit/>
              </a:bodyPr>
              <a:lstStyle/>
              <a:p>
                <a:pPr marL="0" marR="0" algn="just">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Proposed Area by Uzbekistan Governmen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grpSp>
          <p:nvGrpSpPr>
            <p:cNvPr id="120" name="Group 119">
              <a:extLst>
                <a:ext uri="{FF2B5EF4-FFF2-40B4-BE49-F238E27FC236}">
                  <a16:creationId xmlns:a16="http://schemas.microsoft.com/office/drawing/2014/main" id="{FFD28CE8-EEB7-18CA-04CE-FDF9386087A2}"/>
                </a:ext>
              </a:extLst>
            </p:cNvPr>
            <p:cNvGrpSpPr/>
            <p:nvPr/>
          </p:nvGrpSpPr>
          <p:grpSpPr>
            <a:xfrm>
              <a:off x="619085" y="2562455"/>
              <a:ext cx="4500757" cy="231245"/>
              <a:chOff x="619085" y="2562455"/>
              <a:chExt cx="4500757" cy="231245"/>
            </a:xfrm>
          </p:grpSpPr>
          <p:sp>
            <p:nvSpPr>
              <p:cNvPr id="135" name="Rectangle 134">
                <a:extLst>
                  <a:ext uri="{FF2B5EF4-FFF2-40B4-BE49-F238E27FC236}">
                    <a16:creationId xmlns:a16="http://schemas.microsoft.com/office/drawing/2014/main" id="{34E1AD6A-0FEE-2404-B2E5-B805F3A28A3F}"/>
                  </a:ext>
                </a:extLst>
              </p:cNvPr>
              <p:cNvSpPr/>
              <p:nvPr/>
            </p:nvSpPr>
            <p:spPr>
              <a:xfrm>
                <a:off x="619085" y="2581293"/>
                <a:ext cx="284925" cy="184499"/>
              </a:xfrm>
              <a:prstGeom prst="rect">
                <a:avLst/>
              </a:prstGeom>
              <a:solidFill>
                <a:srgbClr val="B147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36" name="TextBox 20">
                <a:extLst>
                  <a:ext uri="{FF2B5EF4-FFF2-40B4-BE49-F238E27FC236}">
                    <a16:creationId xmlns:a16="http://schemas.microsoft.com/office/drawing/2014/main" id="{879BA20E-3F97-EF73-219C-46A6D9562307}"/>
                  </a:ext>
                </a:extLst>
              </p:cNvPr>
              <p:cNvSpPr txBox="1"/>
              <p:nvPr/>
            </p:nvSpPr>
            <p:spPr>
              <a:xfrm>
                <a:off x="904010" y="2568856"/>
                <a:ext cx="1608455" cy="222885"/>
              </a:xfrm>
              <a:prstGeom prst="rect">
                <a:avLst/>
              </a:prstGeom>
              <a:noFill/>
            </p:spPr>
            <p:txBody>
              <a:bodyPr wrap="square" rtlCol="0">
                <a:spAutoFit/>
              </a:bodyPr>
              <a:lstStyle/>
              <a:p>
                <a:pPr marL="0" marR="0" algn="just">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Logistics and Warehousing</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7" name="Rectangle 136">
                <a:extLst>
                  <a:ext uri="{FF2B5EF4-FFF2-40B4-BE49-F238E27FC236}">
                    <a16:creationId xmlns:a16="http://schemas.microsoft.com/office/drawing/2014/main" id="{667DA38B-0CD4-EF42-E010-92748C1A4EA8}"/>
                  </a:ext>
                </a:extLst>
              </p:cNvPr>
              <p:cNvSpPr/>
              <p:nvPr/>
            </p:nvSpPr>
            <p:spPr>
              <a:xfrm>
                <a:off x="2444400" y="2574891"/>
                <a:ext cx="284925" cy="184499"/>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38" name="TextBox 22">
                <a:extLst>
                  <a:ext uri="{FF2B5EF4-FFF2-40B4-BE49-F238E27FC236}">
                    <a16:creationId xmlns:a16="http://schemas.microsoft.com/office/drawing/2014/main" id="{DA3F5D61-821A-F7E3-C6D0-25BEF2D6D87D}"/>
                  </a:ext>
                </a:extLst>
              </p:cNvPr>
              <p:cNvSpPr txBox="1"/>
              <p:nvPr/>
            </p:nvSpPr>
            <p:spPr>
              <a:xfrm>
                <a:off x="2729326" y="2562455"/>
                <a:ext cx="884555" cy="222885"/>
              </a:xfrm>
              <a:prstGeom prst="rect">
                <a:avLst/>
              </a:prstGeom>
              <a:noFill/>
            </p:spPr>
            <p:txBody>
              <a:bodyPr wrap="square" rtlCol="0">
                <a:spAutoFit/>
              </a:bodyPr>
              <a:lstStyle/>
              <a:p>
                <a:pPr marL="0" marR="0" algn="just">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Processing</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9" name="Rectangle 138">
                <a:extLst>
                  <a:ext uri="{FF2B5EF4-FFF2-40B4-BE49-F238E27FC236}">
                    <a16:creationId xmlns:a16="http://schemas.microsoft.com/office/drawing/2014/main" id="{EC495D2F-31B9-8AE2-28F6-638AA7DDA91A}"/>
                  </a:ext>
                </a:extLst>
              </p:cNvPr>
              <p:cNvSpPr/>
              <p:nvPr/>
            </p:nvSpPr>
            <p:spPr>
              <a:xfrm>
                <a:off x="3483001" y="2583252"/>
                <a:ext cx="284925" cy="184499"/>
              </a:xfrm>
              <a:prstGeom prst="rect">
                <a:avLst/>
              </a:prstGeom>
              <a:solidFill>
                <a:schemeClr val="tx1">
                  <a:lumMod val="75000"/>
                  <a:lumOff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40" name="TextBox 24">
                <a:extLst>
                  <a:ext uri="{FF2B5EF4-FFF2-40B4-BE49-F238E27FC236}">
                    <a16:creationId xmlns:a16="http://schemas.microsoft.com/office/drawing/2014/main" id="{51894ABE-825C-4D46-B313-4329283DEFB8}"/>
                  </a:ext>
                </a:extLst>
              </p:cNvPr>
              <p:cNvSpPr txBox="1"/>
              <p:nvPr/>
            </p:nvSpPr>
            <p:spPr>
              <a:xfrm>
                <a:off x="3767927" y="2570815"/>
                <a:ext cx="1351915" cy="222885"/>
              </a:xfrm>
              <a:prstGeom prst="rect">
                <a:avLst/>
              </a:prstGeom>
              <a:noFill/>
            </p:spPr>
            <p:txBody>
              <a:bodyPr wrap="square" rtlCol="0">
                <a:spAutoFit/>
              </a:bodyPr>
              <a:lstStyle/>
              <a:p>
                <a:pPr marL="0" marR="0" algn="just">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Non-Processing Zone</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sp>
          <p:nvSpPr>
            <p:cNvPr id="124" name="Freeform 110888700">
              <a:extLst>
                <a:ext uri="{FF2B5EF4-FFF2-40B4-BE49-F238E27FC236}">
                  <a16:creationId xmlns:a16="http://schemas.microsoft.com/office/drawing/2014/main" id="{0D6EEC0F-8FF0-295D-7364-EC2A1DC19759}"/>
                </a:ext>
              </a:extLst>
            </p:cNvPr>
            <p:cNvSpPr/>
            <p:nvPr/>
          </p:nvSpPr>
          <p:spPr>
            <a:xfrm>
              <a:off x="1044623" y="1097804"/>
              <a:ext cx="2847372" cy="706055"/>
            </a:xfrm>
            <a:custGeom>
              <a:avLst/>
              <a:gdLst>
                <a:gd name="connsiteX0" fmla="*/ 11575 w 2847372"/>
                <a:gd name="connsiteY0" fmla="*/ 0 h 706055"/>
                <a:gd name="connsiteX1" fmla="*/ 2847372 w 2847372"/>
                <a:gd name="connsiteY1" fmla="*/ 578734 h 706055"/>
                <a:gd name="connsiteX2" fmla="*/ 2847372 w 2847372"/>
                <a:gd name="connsiteY2" fmla="*/ 706055 h 706055"/>
                <a:gd name="connsiteX3" fmla="*/ 0 w 2847372"/>
                <a:gd name="connsiteY3" fmla="*/ 162045 h 706055"/>
                <a:gd name="connsiteX4" fmla="*/ 11575 w 2847372"/>
                <a:gd name="connsiteY4" fmla="*/ 0 h 706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7372" h="706055">
                  <a:moveTo>
                    <a:pt x="11575" y="0"/>
                  </a:moveTo>
                  <a:lnTo>
                    <a:pt x="2847372" y="578734"/>
                  </a:lnTo>
                  <a:lnTo>
                    <a:pt x="2847372" y="706055"/>
                  </a:lnTo>
                  <a:lnTo>
                    <a:pt x="0" y="162045"/>
                  </a:lnTo>
                  <a:lnTo>
                    <a:pt x="11575" y="0"/>
                  </a:lnTo>
                  <a:close/>
                </a:path>
              </a:pathLst>
            </a:custGeom>
            <a:solidFill>
              <a:srgbClr val="B14727">
                <a:alpha val="7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25" name="Freeform 73715509">
              <a:extLst>
                <a:ext uri="{FF2B5EF4-FFF2-40B4-BE49-F238E27FC236}">
                  <a16:creationId xmlns:a16="http://schemas.microsoft.com/office/drawing/2014/main" id="{05F93781-8299-3529-DF6D-0B039C9730BF}"/>
                </a:ext>
              </a:extLst>
            </p:cNvPr>
            <p:cNvSpPr/>
            <p:nvPr/>
          </p:nvSpPr>
          <p:spPr>
            <a:xfrm>
              <a:off x="1057613" y="1248275"/>
              <a:ext cx="266217" cy="960698"/>
            </a:xfrm>
            <a:custGeom>
              <a:avLst/>
              <a:gdLst>
                <a:gd name="connsiteX0" fmla="*/ 0 w 266217"/>
                <a:gd name="connsiteY0" fmla="*/ 0 h 960698"/>
                <a:gd name="connsiteX1" fmla="*/ 0 w 266217"/>
                <a:gd name="connsiteY1" fmla="*/ 960698 h 960698"/>
                <a:gd name="connsiteX2" fmla="*/ 266217 w 266217"/>
                <a:gd name="connsiteY2" fmla="*/ 960698 h 960698"/>
                <a:gd name="connsiteX3" fmla="*/ 266217 w 266217"/>
                <a:gd name="connsiteY3" fmla="*/ 69448 h 960698"/>
                <a:gd name="connsiteX4" fmla="*/ 0 w 266217"/>
                <a:gd name="connsiteY4" fmla="*/ 0 h 96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17" h="960698">
                  <a:moveTo>
                    <a:pt x="0" y="0"/>
                  </a:moveTo>
                  <a:lnTo>
                    <a:pt x="0" y="960698"/>
                  </a:lnTo>
                  <a:lnTo>
                    <a:pt x="266217" y="960698"/>
                  </a:lnTo>
                  <a:lnTo>
                    <a:pt x="266217" y="69448"/>
                  </a:lnTo>
                  <a:lnTo>
                    <a:pt x="0" y="0"/>
                  </a:lnTo>
                  <a:close/>
                </a:path>
              </a:pathLst>
            </a:custGeom>
            <a:solidFill>
              <a:schemeClr val="tx1">
                <a:lumMod val="85000"/>
                <a:lumOff val="1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29" name="Freeform 179373493">
              <a:extLst>
                <a:ext uri="{FF2B5EF4-FFF2-40B4-BE49-F238E27FC236}">
                  <a16:creationId xmlns:a16="http://schemas.microsoft.com/office/drawing/2014/main" id="{38095907-23A1-4DE7-301D-9060FA817983}"/>
                </a:ext>
              </a:extLst>
            </p:cNvPr>
            <p:cNvSpPr/>
            <p:nvPr/>
          </p:nvSpPr>
          <p:spPr>
            <a:xfrm>
              <a:off x="3595543" y="1735183"/>
              <a:ext cx="288175" cy="493222"/>
            </a:xfrm>
            <a:custGeom>
              <a:avLst/>
              <a:gdLst>
                <a:gd name="connsiteX0" fmla="*/ 5542 w 288175"/>
                <a:gd name="connsiteY0" fmla="*/ 0 h 493222"/>
                <a:gd name="connsiteX1" fmla="*/ 288175 w 288175"/>
                <a:gd name="connsiteY1" fmla="*/ 60960 h 493222"/>
                <a:gd name="connsiteX2" fmla="*/ 288175 w 288175"/>
                <a:gd name="connsiteY2" fmla="*/ 493222 h 493222"/>
                <a:gd name="connsiteX3" fmla="*/ 0 w 288175"/>
                <a:gd name="connsiteY3" fmla="*/ 493222 h 493222"/>
                <a:gd name="connsiteX4" fmla="*/ 5542 w 288175"/>
                <a:gd name="connsiteY4" fmla="*/ 0 h 493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75" h="493222">
                  <a:moveTo>
                    <a:pt x="5542" y="0"/>
                  </a:moveTo>
                  <a:lnTo>
                    <a:pt x="288175" y="60960"/>
                  </a:lnTo>
                  <a:lnTo>
                    <a:pt x="288175" y="493222"/>
                  </a:lnTo>
                  <a:lnTo>
                    <a:pt x="0" y="493222"/>
                  </a:lnTo>
                  <a:cubicBezTo>
                    <a:pt x="1847" y="328815"/>
                    <a:pt x="3695" y="164407"/>
                    <a:pt x="5542" y="0"/>
                  </a:cubicBezTo>
                  <a:close/>
                </a:path>
              </a:pathLst>
            </a:custGeom>
            <a:solidFill>
              <a:schemeClr val="tx1">
                <a:lumMod val="85000"/>
                <a:lumOff val="15000"/>
                <a:alpha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32" name="Freeform 1506213406">
              <a:extLst>
                <a:ext uri="{FF2B5EF4-FFF2-40B4-BE49-F238E27FC236}">
                  <a16:creationId xmlns:a16="http://schemas.microsoft.com/office/drawing/2014/main" id="{40759393-CD0F-5ED1-85A1-46862272F65E}"/>
                </a:ext>
              </a:extLst>
            </p:cNvPr>
            <p:cNvSpPr/>
            <p:nvPr/>
          </p:nvSpPr>
          <p:spPr>
            <a:xfrm>
              <a:off x="1339976" y="1290577"/>
              <a:ext cx="2265680" cy="914400"/>
            </a:xfrm>
            <a:custGeom>
              <a:avLst/>
              <a:gdLst>
                <a:gd name="connsiteX0" fmla="*/ 0 w 2265680"/>
                <a:gd name="connsiteY0" fmla="*/ 0 h 914400"/>
                <a:gd name="connsiteX1" fmla="*/ 0 w 2265680"/>
                <a:gd name="connsiteY1" fmla="*/ 914400 h 914400"/>
                <a:gd name="connsiteX2" fmla="*/ 2265680 w 2265680"/>
                <a:gd name="connsiteY2" fmla="*/ 914400 h 914400"/>
                <a:gd name="connsiteX3" fmla="*/ 2265680 w 2265680"/>
                <a:gd name="connsiteY3" fmla="*/ 426720 h 914400"/>
                <a:gd name="connsiteX4" fmla="*/ 0 w 226568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5680" h="914400">
                  <a:moveTo>
                    <a:pt x="0" y="0"/>
                  </a:moveTo>
                  <a:lnTo>
                    <a:pt x="0" y="914400"/>
                  </a:lnTo>
                  <a:lnTo>
                    <a:pt x="2265680" y="914400"/>
                  </a:lnTo>
                  <a:lnTo>
                    <a:pt x="2265680" y="426720"/>
                  </a:lnTo>
                  <a:lnTo>
                    <a:pt x="0" y="0"/>
                  </a:lnTo>
                  <a:close/>
                </a:path>
              </a:pathLst>
            </a:custGeom>
            <a:solidFill>
              <a:srgbClr val="FFC000">
                <a:alpha val="7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algn="ctr">
                <a:spcBef>
                  <a:spcPts val="0"/>
                </a:spcBef>
                <a:spcAft>
                  <a:spcPts val="0"/>
                </a:spcAft>
              </a:pPr>
              <a:r>
                <a:rPr lang="en-US" sz="900" b="1" kern="1200">
                  <a:solidFill>
                    <a:srgbClr val="000000"/>
                  </a:solidFill>
                  <a:effectLst/>
                  <a:latin typeface="Arial" panose="020B0604020202020204" pitchFamily="34" charset="0"/>
                  <a:ea typeface="SimSun" panose="02010600030101010101" pitchFamily="2" charset="-122"/>
                  <a:cs typeface="Arial" panose="020B0604020202020204" pitchFamily="34" charset="0"/>
                </a:rPr>
                <a:t>Manufacturing Zone</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33" name="Freeform 1686740892">
              <a:extLst>
                <a:ext uri="{FF2B5EF4-FFF2-40B4-BE49-F238E27FC236}">
                  <a16:creationId xmlns:a16="http://schemas.microsoft.com/office/drawing/2014/main" id="{68AE84F4-E9B2-37CD-4EFA-FE39698A42E4}"/>
                </a:ext>
              </a:extLst>
            </p:cNvPr>
            <p:cNvSpPr/>
            <p:nvPr/>
          </p:nvSpPr>
          <p:spPr>
            <a:xfrm>
              <a:off x="1027437" y="1089748"/>
              <a:ext cx="1425388" cy="1143000"/>
            </a:xfrm>
            <a:custGeom>
              <a:avLst/>
              <a:gdLst>
                <a:gd name="connsiteX0" fmla="*/ 1411941 w 1425388"/>
                <a:gd name="connsiteY0" fmla="*/ 255494 h 1143000"/>
                <a:gd name="connsiteX1" fmla="*/ 0 w 1425388"/>
                <a:gd name="connsiteY1" fmla="*/ 0 h 1143000"/>
                <a:gd name="connsiteX2" fmla="*/ 0 w 1425388"/>
                <a:gd name="connsiteY2" fmla="*/ 1143000 h 1143000"/>
                <a:gd name="connsiteX3" fmla="*/ 1425388 w 1425388"/>
                <a:gd name="connsiteY3" fmla="*/ 1143000 h 1143000"/>
                <a:gd name="connsiteX4" fmla="*/ 1425388 w 1425388"/>
                <a:gd name="connsiteY4" fmla="*/ 1143000 h 1143000"/>
                <a:gd name="connsiteX5" fmla="*/ 1425388 w 1425388"/>
                <a:gd name="connsiteY5" fmla="*/ 1143000 h 1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388" h="1143000">
                  <a:moveTo>
                    <a:pt x="1411941" y="255494"/>
                  </a:moveTo>
                  <a:lnTo>
                    <a:pt x="0" y="0"/>
                  </a:lnTo>
                  <a:lnTo>
                    <a:pt x="0" y="1143000"/>
                  </a:lnTo>
                  <a:lnTo>
                    <a:pt x="1425388" y="1143000"/>
                  </a:lnTo>
                  <a:lnTo>
                    <a:pt x="1425388" y="1143000"/>
                  </a:lnTo>
                  <a:lnTo>
                    <a:pt x="1425388" y="1143000"/>
                  </a:lnTo>
                </a:path>
              </a:pathLst>
            </a:cu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34" name="Freeform 223542508">
              <a:extLst>
                <a:ext uri="{FF2B5EF4-FFF2-40B4-BE49-F238E27FC236}">
                  <a16:creationId xmlns:a16="http://schemas.microsoft.com/office/drawing/2014/main" id="{B0D365BE-93D1-AEC4-3609-D2C20C66E6C6}"/>
                </a:ext>
              </a:extLst>
            </p:cNvPr>
            <p:cNvSpPr/>
            <p:nvPr/>
          </p:nvSpPr>
          <p:spPr>
            <a:xfrm>
              <a:off x="2471912" y="1358119"/>
              <a:ext cx="1423073" cy="878066"/>
            </a:xfrm>
            <a:custGeom>
              <a:avLst/>
              <a:gdLst>
                <a:gd name="connsiteX0" fmla="*/ 24223 w 1423073"/>
                <a:gd name="connsiteY0" fmla="*/ 0 h 878066"/>
                <a:gd name="connsiteX1" fmla="*/ 1423073 w 1423073"/>
                <a:gd name="connsiteY1" fmla="*/ 302782 h 878066"/>
                <a:gd name="connsiteX2" fmla="*/ 1423073 w 1423073"/>
                <a:gd name="connsiteY2" fmla="*/ 878066 h 878066"/>
                <a:gd name="connsiteX3" fmla="*/ 0 w 1423073"/>
                <a:gd name="connsiteY3" fmla="*/ 878066 h 878066"/>
                <a:gd name="connsiteX4" fmla="*/ 0 w 1423073"/>
                <a:gd name="connsiteY4" fmla="*/ 878066 h 878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3073" h="878066">
                  <a:moveTo>
                    <a:pt x="24223" y="0"/>
                  </a:moveTo>
                  <a:lnTo>
                    <a:pt x="1423073" y="302782"/>
                  </a:lnTo>
                  <a:lnTo>
                    <a:pt x="1423073" y="878066"/>
                  </a:lnTo>
                  <a:lnTo>
                    <a:pt x="0" y="878066"/>
                  </a:lnTo>
                  <a:lnTo>
                    <a:pt x="0" y="878066"/>
                  </a:lnTo>
                </a:path>
              </a:pathLst>
            </a:custGeom>
            <a:noFill/>
            <a:ln w="28575">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grpSp>
      <p:sp>
        <p:nvSpPr>
          <p:cNvPr id="146" name="Google Shape;1631;g114e5dc4418_1_0">
            <a:extLst>
              <a:ext uri="{FF2B5EF4-FFF2-40B4-BE49-F238E27FC236}">
                <a16:creationId xmlns:a16="http://schemas.microsoft.com/office/drawing/2014/main" id="{F0290BFF-EFB5-472B-B927-9A643C448F4E}"/>
              </a:ext>
            </a:extLst>
          </p:cNvPr>
          <p:cNvSpPr/>
          <p:nvPr/>
        </p:nvSpPr>
        <p:spPr>
          <a:xfrm flipH="1">
            <a:off x="282450" y="1219681"/>
            <a:ext cx="4998467" cy="297494"/>
          </a:xfrm>
          <a:prstGeom prst="rect">
            <a:avLst/>
          </a:prstGeom>
          <a:solidFill>
            <a:schemeClr val="accent5">
              <a:lumMod val="75000"/>
            </a:schemeClr>
          </a:solidFill>
          <a:ln w="9525" cap="flat" cmpd="sng">
            <a:noFill/>
            <a:prstDash val="solid"/>
            <a:round/>
            <a:headEnd type="none" w="sm" len="sm"/>
            <a:tailEnd type="none" w="sm" len="sm"/>
          </a:ln>
        </p:spPr>
        <p:txBody>
          <a:bodyPr spcFirstLastPara="1" wrap="square" lIns="98375" tIns="98375" rIns="98375" bIns="983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79"/>
              <a:buFont typeface="Arial"/>
              <a:buNone/>
              <a:tabLst/>
              <a:defRPr/>
            </a:pPr>
            <a:r>
              <a:rPr kumimoji="0" lang="en-US" sz="1200" b="1" i="0" u="none" strike="noStrike" kern="0" cap="none" spc="0" normalizeH="0" baseline="0" noProof="0">
                <a:ln>
                  <a:noFill/>
                </a:ln>
                <a:solidFill>
                  <a:schemeClr val="bg1"/>
                </a:solidFill>
                <a:effectLst/>
                <a:uLnTx/>
                <a:uFillTx/>
                <a:latin typeface="Arial"/>
                <a:ea typeface="Arial"/>
                <a:cs typeface="Arial"/>
                <a:sym typeface="Arial"/>
              </a:rPr>
              <a:t>Zoning </a:t>
            </a:r>
            <a:r>
              <a:rPr lang="en-US" sz="1200" b="1" kern="0">
                <a:solidFill>
                  <a:schemeClr val="bg1"/>
                </a:solidFill>
                <a:latin typeface="Arial"/>
                <a:ea typeface="Arial"/>
                <a:cs typeface="Arial"/>
                <a:sym typeface="Arial"/>
              </a:rPr>
              <a:t>plan under </a:t>
            </a:r>
            <a:r>
              <a:rPr kumimoji="0" lang="en-US" sz="1200" b="1" i="0" u="none" strike="noStrike" kern="0" cap="none" spc="0" normalizeH="0" baseline="0" noProof="0">
                <a:ln>
                  <a:noFill/>
                </a:ln>
                <a:solidFill>
                  <a:schemeClr val="bg1"/>
                </a:solidFill>
                <a:effectLst/>
                <a:uLnTx/>
                <a:uFillTx/>
                <a:latin typeface="Arial"/>
                <a:ea typeface="Arial"/>
                <a:cs typeface="Arial"/>
                <a:sym typeface="Arial"/>
              </a:rPr>
              <a:t>Model I: Single Entity Model</a:t>
            </a:r>
            <a:endParaRPr kumimoji="0" sz="1200" b="1" i="0" u="none" strike="noStrike" kern="0" cap="none" spc="0" normalizeH="0" baseline="0" noProof="0">
              <a:ln>
                <a:noFill/>
              </a:ln>
              <a:solidFill>
                <a:schemeClr val="bg1"/>
              </a:solidFill>
              <a:effectLst/>
              <a:uLnTx/>
              <a:uFillTx/>
              <a:latin typeface="Arial"/>
              <a:ea typeface="Arial"/>
              <a:cs typeface="Arial"/>
              <a:sym typeface="Arial"/>
            </a:endParaRPr>
          </a:p>
        </p:txBody>
      </p:sp>
      <p:sp>
        <p:nvSpPr>
          <p:cNvPr id="147" name="Google Shape;1631;g114e5dc4418_1_0">
            <a:extLst>
              <a:ext uri="{FF2B5EF4-FFF2-40B4-BE49-F238E27FC236}">
                <a16:creationId xmlns:a16="http://schemas.microsoft.com/office/drawing/2014/main" id="{92288D76-27AB-4364-8096-67A5E9E257AB}"/>
              </a:ext>
            </a:extLst>
          </p:cNvPr>
          <p:cNvSpPr/>
          <p:nvPr/>
        </p:nvSpPr>
        <p:spPr>
          <a:xfrm flipH="1">
            <a:off x="6750622" y="1219089"/>
            <a:ext cx="4998467" cy="297494"/>
          </a:xfrm>
          <a:prstGeom prst="rect">
            <a:avLst/>
          </a:prstGeom>
          <a:solidFill>
            <a:schemeClr val="accent5">
              <a:lumMod val="75000"/>
            </a:schemeClr>
          </a:solidFill>
          <a:ln w="9525" cap="flat" cmpd="sng">
            <a:noFill/>
            <a:prstDash val="solid"/>
            <a:round/>
            <a:headEnd type="none" w="sm" len="sm"/>
            <a:tailEnd type="none" w="sm" len="sm"/>
          </a:ln>
        </p:spPr>
        <p:txBody>
          <a:bodyPr spcFirstLastPara="1" wrap="square" lIns="98375" tIns="98375" rIns="98375" bIns="983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79"/>
              <a:buFont typeface="Arial"/>
              <a:buNone/>
              <a:tabLst/>
              <a:defRPr/>
            </a:pPr>
            <a:r>
              <a:rPr lang="en-US" sz="1200" b="1" kern="0">
                <a:solidFill>
                  <a:schemeClr val="bg1"/>
                </a:solidFill>
                <a:latin typeface="Arial"/>
                <a:ea typeface="Arial"/>
                <a:cs typeface="Arial"/>
                <a:sym typeface="Arial"/>
              </a:rPr>
              <a:t>Zoning plan under </a:t>
            </a:r>
            <a:r>
              <a:rPr kumimoji="0" lang="en-US" sz="1200" b="1" i="0" u="none" strike="noStrike" kern="0" cap="none" spc="0" normalizeH="0" baseline="0" noProof="0">
                <a:ln>
                  <a:noFill/>
                </a:ln>
                <a:solidFill>
                  <a:schemeClr val="bg1"/>
                </a:solidFill>
                <a:effectLst/>
                <a:uLnTx/>
                <a:uFillTx/>
                <a:latin typeface="Arial"/>
                <a:ea typeface="Arial"/>
                <a:cs typeface="Arial"/>
                <a:sym typeface="Arial"/>
              </a:rPr>
              <a:t>Model II: Dual Entity Model</a:t>
            </a:r>
            <a:endParaRPr kumimoji="0" sz="1200" b="1" i="0" u="none" strike="noStrike" kern="0" cap="none" spc="0" normalizeH="0" baseline="0" noProof="0">
              <a:ln>
                <a:noFill/>
              </a:ln>
              <a:solidFill>
                <a:schemeClr val="bg1"/>
              </a:solidFill>
              <a:effectLst/>
              <a:uLnTx/>
              <a:uFillTx/>
              <a:latin typeface="Arial"/>
              <a:ea typeface="Arial"/>
              <a:cs typeface="Arial"/>
              <a:sym typeface="Arial"/>
            </a:endParaRPr>
          </a:p>
        </p:txBody>
      </p:sp>
      <p:sp>
        <p:nvSpPr>
          <p:cNvPr id="148" name="TextBox 147">
            <a:extLst>
              <a:ext uri="{FF2B5EF4-FFF2-40B4-BE49-F238E27FC236}">
                <a16:creationId xmlns:a16="http://schemas.microsoft.com/office/drawing/2014/main" id="{DEDF300B-BA87-4865-A1A1-C6B5762ABCE7}"/>
              </a:ext>
            </a:extLst>
          </p:cNvPr>
          <p:cNvSpPr txBox="1"/>
          <p:nvPr/>
        </p:nvSpPr>
        <p:spPr>
          <a:xfrm>
            <a:off x="6296588" y="4987335"/>
            <a:ext cx="5826124" cy="892552"/>
          </a:xfrm>
          <a:prstGeom prst="rect">
            <a:avLst/>
          </a:prstGeom>
          <a:noFill/>
          <a:ln>
            <a:noFill/>
          </a:ln>
        </p:spPr>
        <p:txBody>
          <a:bodyPr wrap="square">
            <a:spAutoFit/>
          </a:bodyPr>
          <a:lstStyle/>
          <a:p>
            <a:pPr algn="ctr"/>
            <a:r>
              <a:rPr lang="en-US" sz="1400" i="1">
                <a:effectLst/>
                <a:latin typeface="Arial" panose="020B0604020202020204" pitchFamily="34" charset="0"/>
                <a:ea typeface="SimSun" panose="02010600030101010101" pitchFamily="2" charset="-122"/>
                <a:cs typeface="Times New Roman" panose="02020603050405020304" pitchFamily="18" charset="0"/>
              </a:rPr>
              <a:t>Kazakhstan and Uzbekistan governments shall be responsible for the development of their respective side of the border with</a:t>
            </a:r>
            <a:r>
              <a:rPr lang="en-US" sz="1800" i="1">
                <a:effectLst/>
                <a:latin typeface="Arial" panose="020B0604020202020204" pitchFamily="34" charset="0"/>
                <a:ea typeface="SimSun" panose="02010600030101010101" pitchFamily="2" charset="-122"/>
                <a:cs typeface="Times New Roman" panose="02020603050405020304" pitchFamily="18" charset="0"/>
              </a:rPr>
              <a:t> </a:t>
            </a:r>
            <a:r>
              <a:rPr lang="en-US" sz="1800" b="1" i="1">
                <a:effectLst/>
                <a:latin typeface="Arial" panose="020B0604020202020204" pitchFamily="34" charset="0"/>
                <a:ea typeface="SimSun" panose="02010600030101010101" pitchFamily="2" charset="-122"/>
                <a:cs typeface="Times New Roman" panose="02020603050405020304" pitchFamily="18" charset="0"/>
              </a:rPr>
              <a:t>separate processing and non-processing areas</a:t>
            </a:r>
            <a:endParaRPr lang="en-US" b="1" i="1"/>
          </a:p>
        </p:txBody>
      </p:sp>
      <p:sp>
        <p:nvSpPr>
          <p:cNvPr id="149" name="TextBox 148">
            <a:extLst>
              <a:ext uri="{FF2B5EF4-FFF2-40B4-BE49-F238E27FC236}">
                <a16:creationId xmlns:a16="http://schemas.microsoft.com/office/drawing/2014/main" id="{969DC627-8414-41A9-89A9-301EEA888576}"/>
              </a:ext>
            </a:extLst>
          </p:cNvPr>
          <p:cNvSpPr txBox="1"/>
          <p:nvPr/>
        </p:nvSpPr>
        <p:spPr>
          <a:xfrm>
            <a:off x="282450" y="5110446"/>
            <a:ext cx="5739130" cy="646331"/>
          </a:xfrm>
          <a:prstGeom prst="rect">
            <a:avLst/>
          </a:prstGeom>
          <a:noFill/>
          <a:ln>
            <a:noFill/>
          </a:ln>
        </p:spPr>
        <p:txBody>
          <a:bodyPr wrap="square">
            <a:spAutoFit/>
          </a:bodyPr>
          <a:lstStyle/>
          <a:p>
            <a:pPr algn="ctr"/>
            <a:r>
              <a:rPr lang="en-US" sz="1400" i="1">
                <a:effectLst/>
                <a:latin typeface="Arial" panose="020B0604020202020204" pitchFamily="34" charset="0"/>
                <a:ea typeface="SimSun" panose="02010600030101010101" pitchFamily="2" charset="-122"/>
                <a:cs typeface="Times New Roman" panose="02020603050405020304" pitchFamily="18" charset="0"/>
              </a:rPr>
              <a:t>ICIC shall be combined into </a:t>
            </a:r>
            <a:r>
              <a:rPr lang="en-US" b="1" i="1">
                <a:effectLst/>
                <a:latin typeface="Arial" panose="020B0604020202020204" pitchFamily="34" charset="0"/>
                <a:ea typeface="SimSun" panose="02010600030101010101" pitchFamily="2" charset="-122"/>
                <a:cs typeface="Times New Roman" panose="02020603050405020304" pitchFamily="18" charset="0"/>
              </a:rPr>
              <a:t>one single entity without demarcation on either side of the border</a:t>
            </a:r>
            <a:endParaRPr lang="en-US" sz="2400" b="1" i="1"/>
          </a:p>
        </p:txBody>
      </p:sp>
      <p:sp>
        <p:nvSpPr>
          <p:cNvPr id="10" name="Date Placeholder 9">
            <a:extLst>
              <a:ext uri="{FF2B5EF4-FFF2-40B4-BE49-F238E27FC236}">
                <a16:creationId xmlns:a16="http://schemas.microsoft.com/office/drawing/2014/main" id="{273F0D70-54BA-483A-9D9D-FBCF0D4DDD34}"/>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11" name="Slide Number Placeholder 10">
            <a:extLst>
              <a:ext uri="{FF2B5EF4-FFF2-40B4-BE49-F238E27FC236}">
                <a16:creationId xmlns:a16="http://schemas.microsoft.com/office/drawing/2014/main" id="{FEF7E3DA-5F46-4035-88FB-B449F12DF819}"/>
              </a:ext>
            </a:extLst>
          </p:cNvPr>
          <p:cNvSpPr>
            <a:spLocks noGrp="1"/>
          </p:cNvSpPr>
          <p:nvPr>
            <p:ph type="sldNum" idx="12"/>
          </p:nvPr>
        </p:nvSpPr>
        <p:spPr/>
        <p:txBody>
          <a:bodyPr/>
          <a:lstStyle/>
          <a:p>
            <a:pPr lvl="0"/>
            <a:fld id="{00000000-1234-1234-1234-123412341234}" type="slidenum">
              <a:rPr lang="en-US" smtClean="0"/>
              <a:pPr lvl="0"/>
              <a:t>18</a:t>
            </a:fld>
            <a:endParaRPr lang="en-US"/>
          </a:p>
        </p:txBody>
      </p:sp>
      <p:sp>
        <p:nvSpPr>
          <p:cNvPr id="151" name="Footer Placeholder 11">
            <a:extLst>
              <a:ext uri="{FF2B5EF4-FFF2-40B4-BE49-F238E27FC236}">
                <a16:creationId xmlns:a16="http://schemas.microsoft.com/office/drawing/2014/main" id="{C0B4B173-0BEB-459E-BFAA-FBEBB062F707}"/>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spTree>
    <p:custDataLst>
      <p:custData r:id="rId1"/>
    </p:custDataLst>
    <p:extLst>
      <p:ext uri="{BB962C8B-B14F-4D97-AF65-F5344CB8AC3E}">
        <p14:creationId xmlns:p14="http://schemas.microsoft.com/office/powerpoint/2010/main" val="12211966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6000"/>
            <a:lum/>
            <a:extLst>
              <a:ext uri="{837473B0-CC2E-450A-ABE3-18F120FF3D39}">
                <a1611:picAttrSrcUrl xmlns:a1611="http://schemas.microsoft.com/office/drawing/2016/11/main" r:id="rId4"/>
              </a:ext>
            </a:extLst>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379AA2-ED46-4BD9-A397-5BBD93295767}"/>
              </a:ext>
            </a:extLst>
          </p:cNvPr>
          <p:cNvSpPr/>
          <p:nvPr/>
        </p:nvSpPr>
        <p:spPr>
          <a:xfrm>
            <a:off x="0" y="2150807"/>
            <a:ext cx="7895073" cy="2556387"/>
          </a:xfrm>
          <a:prstGeom prst="rect">
            <a:avLst/>
          </a:prstGeom>
          <a:solidFill>
            <a:schemeClr val="accent1">
              <a:lumMod val="7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prstClr val="white"/>
                </a:solidFill>
                <a:latin typeface="Georgia"/>
              </a:rPr>
              <a:t>Financial Analysis</a:t>
            </a:r>
            <a:endParaRPr kumimoji="0" lang="en-US" sz="3200" b="0" i="0" u="none" strike="noStrike" kern="1200" cap="none" spc="0" normalizeH="0" baseline="0" noProof="0">
              <a:ln>
                <a:noFill/>
              </a:ln>
              <a:solidFill>
                <a:prstClr val="white"/>
              </a:solidFill>
              <a:effectLst/>
              <a:uLnTx/>
              <a:uFillTx/>
              <a:latin typeface="Georgia"/>
              <a:ea typeface="+mn-ea"/>
              <a:cs typeface="+mn-cs"/>
            </a:endParaRPr>
          </a:p>
        </p:txBody>
      </p:sp>
    </p:spTree>
    <p:custDataLst>
      <p:custData r:id="rId1"/>
    </p:custDataLst>
    <p:extLst>
      <p:ext uri="{BB962C8B-B14F-4D97-AF65-F5344CB8AC3E}">
        <p14:creationId xmlns:p14="http://schemas.microsoft.com/office/powerpoint/2010/main" val="3646487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C37DF99-1351-400E-A901-482B7298B773}"/>
              </a:ext>
            </a:extLst>
          </p:cNvPr>
          <p:cNvGraphicFramePr>
            <a:graphicFrameLocks noChangeAspect="1"/>
          </p:cNvGraphicFramePr>
          <p:nvPr>
            <p:custDataLst>
              <p:tags r:id="rId2"/>
            </p:custDataLst>
            <p:extLst>
              <p:ext uri="{D42A27DB-BD31-4B8C-83A1-F6EECF244321}">
                <p14:modId xmlns:p14="http://schemas.microsoft.com/office/powerpoint/2010/main" val="3804495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1" name="think-cell data - do not delete" hidden="1">
                        <a:extLst>
                          <a:ext uri="{FF2B5EF4-FFF2-40B4-BE49-F238E27FC236}">
                            <a16:creationId xmlns:a16="http://schemas.microsoft.com/office/drawing/2014/main" id="{2C37DF99-1351-400E-A901-482B7298B7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Google Shape;2127;g1389d6804d3_10_89">
            <a:extLst>
              <a:ext uri="{FF2B5EF4-FFF2-40B4-BE49-F238E27FC236}">
                <a16:creationId xmlns:a16="http://schemas.microsoft.com/office/drawing/2014/main" id="{1E1BF9E0-F2E1-471B-B392-102A7AFBDF00}"/>
              </a:ext>
            </a:extLst>
          </p:cNvPr>
          <p:cNvSpPr txBox="1">
            <a:spLocks noGrp="1"/>
          </p:cNvSpPr>
          <p:nvPr>
            <p:ph type="title"/>
          </p:nvPr>
        </p:nvSpPr>
        <p:spPr>
          <a:xfrm>
            <a:off x="165030" y="250139"/>
            <a:ext cx="7701464" cy="615300"/>
          </a:xfrm>
          <a:prstGeom prst="rect">
            <a:avLst/>
          </a:prstGeom>
          <a:noFill/>
          <a:ln>
            <a:noFill/>
          </a:ln>
        </p:spPr>
        <p:txBody>
          <a:bodyPr spcFirstLastPara="1" wrap="square" lIns="0" tIns="0" rIns="0" bIns="0" anchor="ctr" anchorCtr="0">
            <a:noAutofit/>
          </a:bodyPr>
          <a:lstStyle/>
          <a:p>
            <a:pPr>
              <a:spcBef>
                <a:spcPts val="0"/>
              </a:spcBef>
              <a:buClr>
                <a:schemeClr val="dk1"/>
              </a:buClr>
              <a:buSzPts val="2000"/>
            </a:pPr>
            <a:r>
              <a:rPr lang="en-US" sz="2400" dirty="0">
                <a:latin typeface="Georgia" panose="02040502050405020303" pitchFamily="18" charset="0"/>
                <a:cs typeface="Arial"/>
                <a:sym typeface="Arial"/>
              </a:rPr>
              <a:t>Agenda for Discussion</a:t>
            </a:r>
            <a:endParaRPr lang="en-US" sz="2400" dirty="0">
              <a:latin typeface="Georgia" panose="02040502050405020303" pitchFamily="18" charset="0"/>
              <a:cs typeface="Arial"/>
            </a:endParaRPr>
          </a:p>
        </p:txBody>
      </p:sp>
      <p:cxnSp>
        <p:nvCxnSpPr>
          <p:cNvPr id="46" name="Google Shape;2128;g1389d6804d3_10_89">
            <a:extLst>
              <a:ext uri="{FF2B5EF4-FFF2-40B4-BE49-F238E27FC236}">
                <a16:creationId xmlns:a16="http://schemas.microsoft.com/office/drawing/2014/main" id="{2BAF7CA5-80E1-466A-A886-3F3D91322DC4}"/>
              </a:ext>
            </a:extLst>
          </p:cNvPr>
          <p:cNvCxnSpPr/>
          <p:nvPr/>
        </p:nvCxnSpPr>
        <p:spPr>
          <a:xfrm>
            <a:off x="442912" y="910809"/>
            <a:ext cx="914400" cy="0"/>
          </a:xfrm>
          <a:prstGeom prst="straightConnector1">
            <a:avLst/>
          </a:prstGeom>
          <a:noFill/>
          <a:ln w="12700" cap="flat" cmpd="sng">
            <a:solidFill>
              <a:schemeClr val="dk1"/>
            </a:solidFill>
            <a:prstDash val="solid"/>
            <a:miter lim="400000"/>
            <a:headEnd type="none" w="sm" len="sm"/>
            <a:tailEnd type="none" w="sm" len="sm"/>
          </a:ln>
        </p:spPr>
      </p:cxnSp>
      <p:cxnSp>
        <p:nvCxnSpPr>
          <p:cNvPr id="39" name="Google Shape;2087;g1389d6804d3_10_89">
            <a:extLst>
              <a:ext uri="{FF2B5EF4-FFF2-40B4-BE49-F238E27FC236}">
                <a16:creationId xmlns:a16="http://schemas.microsoft.com/office/drawing/2014/main" id="{BCAFFFF8-ADC6-41DE-B85E-4608706DF842}"/>
              </a:ext>
            </a:extLst>
          </p:cNvPr>
          <p:cNvCxnSpPr>
            <a:cxnSpLocks/>
            <a:stCxn id="40" idx="4"/>
            <a:endCxn id="44" idx="0"/>
          </p:cNvCxnSpPr>
          <p:nvPr/>
        </p:nvCxnSpPr>
        <p:spPr>
          <a:xfrm>
            <a:off x="663963" y="2484868"/>
            <a:ext cx="33" cy="3741514"/>
          </a:xfrm>
          <a:prstGeom prst="straightConnector1">
            <a:avLst/>
          </a:prstGeom>
          <a:noFill/>
          <a:ln w="9525" cap="flat" cmpd="sng">
            <a:solidFill>
              <a:srgbClr val="A5A5A5"/>
            </a:solidFill>
            <a:prstDash val="dot"/>
            <a:round/>
            <a:headEnd type="none" w="sm" len="sm"/>
            <a:tailEnd type="none" w="sm" len="sm"/>
          </a:ln>
        </p:spPr>
      </p:cxnSp>
      <p:sp>
        <p:nvSpPr>
          <p:cNvPr id="41" name="Google Shape;2090;g1389d6804d3_10_89">
            <a:extLst>
              <a:ext uri="{FF2B5EF4-FFF2-40B4-BE49-F238E27FC236}">
                <a16:creationId xmlns:a16="http://schemas.microsoft.com/office/drawing/2014/main" id="{79B283F4-52FF-4E08-95C6-8BAC4B7BF9FD}"/>
              </a:ext>
            </a:extLst>
          </p:cNvPr>
          <p:cNvSpPr/>
          <p:nvPr/>
        </p:nvSpPr>
        <p:spPr>
          <a:xfrm>
            <a:off x="591546" y="3119245"/>
            <a:ext cx="144900" cy="144900"/>
          </a:xfrm>
          <a:prstGeom prst="ellipse">
            <a:avLst/>
          </a:prstGeom>
          <a:solidFill>
            <a:srgbClr val="D8D8D8"/>
          </a:solid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4" name="Google Shape;2101;g1389d6804d3_10_89">
            <a:extLst>
              <a:ext uri="{FF2B5EF4-FFF2-40B4-BE49-F238E27FC236}">
                <a16:creationId xmlns:a16="http://schemas.microsoft.com/office/drawing/2014/main" id="{076AE965-53F6-41F0-8881-7D978EE067A1}"/>
              </a:ext>
            </a:extLst>
          </p:cNvPr>
          <p:cNvSpPr/>
          <p:nvPr/>
        </p:nvSpPr>
        <p:spPr>
          <a:xfrm>
            <a:off x="591546" y="6226382"/>
            <a:ext cx="144900" cy="144900"/>
          </a:xfrm>
          <a:prstGeom prst="ellipse">
            <a:avLst/>
          </a:prstGeom>
          <a:solidFill>
            <a:srgbClr val="D8D8D8"/>
          </a:solid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FFFFFF"/>
              </a:solidFill>
              <a:effectLst/>
              <a:uLnTx/>
              <a:uFillTx/>
              <a:latin typeface="Arial"/>
              <a:ea typeface="Arial"/>
              <a:cs typeface="Arial"/>
              <a:sym typeface="Arial"/>
            </a:endParaRPr>
          </a:p>
        </p:txBody>
      </p:sp>
      <p:grpSp>
        <p:nvGrpSpPr>
          <p:cNvPr id="6" name="Group 5">
            <a:extLst>
              <a:ext uri="{FF2B5EF4-FFF2-40B4-BE49-F238E27FC236}">
                <a16:creationId xmlns:a16="http://schemas.microsoft.com/office/drawing/2014/main" id="{3AE527AB-E8F0-4612-8833-6D1F4ECDDD9F}"/>
              </a:ext>
            </a:extLst>
          </p:cNvPr>
          <p:cNvGrpSpPr/>
          <p:nvPr/>
        </p:nvGrpSpPr>
        <p:grpSpPr>
          <a:xfrm>
            <a:off x="385413" y="4020010"/>
            <a:ext cx="6486158" cy="557100"/>
            <a:chOff x="385413" y="3610601"/>
            <a:chExt cx="6486158" cy="557100"/>
          </a:xfrm>
          <a:solidFill>
            <a:schemeClr val="accent3"/>
          </a:solidFill>
        </p:grpSpPr>
        <p:sp>
          <p:nvSpPr>
            <p:cNvPr id="42" name="Google Shape;2100;g1389d6804d3_10_89">
              <a:extLst>
                <a:ext uri="{FF2B5EF4-FFF2-40B4-BE49-F238E27FC236}">
                  <a16:creationId xmlns:a16="http://schemas.microsoft.com/office/drawing/2014/main" id="{9FFB4A57-97AE-4448-952A-8E15AD4048C4}"/>
                </a:ext>
              </a:extLst>
            </p:cNvPr>
            <p:cNvSpPr/>
            <p:nvPr/>
          </p:nvSpPr>
          <p:spPr>
            <a:xfrm>
              <a:off x="385413" y="3610601"/>
              <a:ext cx="557100" cy="557100"/>
            </a:xfrm>
            <a:prstGeom prst="ellipse">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48" name="Google Shape;2103;g1389d6804d3_10_89">
              <a:extLst>
                <a:ext uri="{FF2B5EF4-FFF2-40B4-BE49-F238E27FC236}">
                  <a16:creationId xmlns:a16="http://schemas.microsoft.com/office/drawing/2014/main" id="{B299EF4B-C53C-43E3-86C9-C1310AFA80E6}"/>
                </a:ext>
              </a:extLst>
            </p:cNvPr>
            <p:cNvPicPr preferRelativeResize="0"/>
            <p:nvPr/>
          </p:nvPicPr>
          <p:blipFill rotWithShape="1">
            <a:blip r:embed="rId7">
              <a:alphaModFix/>
            </a:blip>
            <a:srcRect/>
            <a:stretch/>
          </p:blipFill>
          <p:spPr>
            <a:xfrm>
              <a:off x="441050" y="3687512"/>
              <a:ext cx="408753" cy="408753"/>
            </a:xfrm>
            <a:prstGeom prst="rect">
              <a:avLst/>
            </a:prstGeom>
            <a:grpFill/>
            <a:ln>
              <a:noFill/>
            </a:ln>
          </p:spPr>
        </p:pic>
        <p:sp>
          <p:nvSpPr>
            <p:cNvPr id="53" name="Rectangle: Rounded Corners 52">
              <a:extLst>
                <a:ext uri="{FF2B5EF4-FFF2-40B4-BE49-F238E27FC236}">
                  <a16:creationId xmlns:a16="http://schemas.microsoft.com/office/drawing/2014/main" id="{66F15F67-1D24-4401-A646-369B42032338}"/>
                </a:ext>
              </a:extLst>
            </p:cNvPr>
            <p:cNvSpPr/>
            <p:nvPr/>
          </p:nvSpPr>
          <p:spPr>
            <a:xfrm>
              <a:off x="1043393" y="3708646"/>
              <a:ext cx="5828178" cy="357034"/>
            </a:xfrm>
            <a:prstGeom prst="round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To seek feedback and valuable inputs on the study outcomes</a:t>
              </a:r>
            </a:p>
          </p:txBody>
        </p:sp>
      </p:grpSp>
      <p:grpSp>
        <p:nvGrpSpPr>
          <p:cNvPr id="15" name="Group 14">
            <a:extLst>
              <a:ext uri="{FF2B5EF4-FFF2-40B4-BE49-F238E27FC236}">
                <a16:creationId xmlns:a16="http://schemas.microsoft.com/office/drawing/2014/main" id="{0E43196D-CB84-461A-B464-B46C35226E03}"/>
              </a:ext>
            </a:extLst>
          </p:cNvPr>
          <p:cNvGrpSpPr/>
          <p:nvPr/>
        </p:nvGrpSpPr>
        <p:grpSpPr>
          <a:xfrm>
            <a:off x="385413" y="1170801"/>
            <a:ext cx="6485027" cy="2071035"/>
            <a:chOff x="385413" y="1170801"/>
            <a:chExt cx="6485027" cy="2071035"/>
          </a:xfrm>
          <a:solidFill>
            <a:schemeClr val="accent3"/>
          </a:solidFill>
        </p:grpSpPr>
        <p:sp>
          <p:nvSpPr>
            <p:cNvPr id="22" name="Rectangle: Rounded Corners 21">
              <a:extLst>
                <a:ext uri="{FF2B5EF4-FFF2-40B4-BE49-F238E27FC236}">
                  <a16:creationId xmlns:a16="http://schemas.microsoft.com/office/drawing/2014/main" id="{E995667F-2BDB-4504-B6F5-CC8606259C4E}"/>
                </a:ext>
              </a:extLst>
            </p:cNvPr>
            <p:cNvSpPr/>
            <p:nvPr/>
          </p:nvSpPr>
          <p:spPr>
            <a:xfrm>
              <a:off x="1049384" y="1170801"/>
              <a:ext cx="5821056" cy="2071035"/>
            </a:xfrm>
            <a:prstGeom prst="round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To present the outcome of prefeasibility study of ICIC</a:t>
              </a:r>
            </a:p>
            <a:p>
              <a:pPr lvl="1">
                <a:lnSpc>
                  <a:spcPct val="114000"/>
                </a:lnSpc>
                <a:spcBef>
                  <a:spcPts val="600"/>
                </a:spcBef>
                <a:spcAft>
                  <a:spcPts val="600"/>
                </a:spcAf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Briefly present the project context, key activities undertaken and the project status</a:t>
              </a:r>
            </a:p>
            <a:p>
              <a:pPr lvl="1">
                <a:lnSpc>
                  <a:spcPct val="114000"/>
                </a:lnSpc>
                <a:spcBef>
                  <a:spcPts val="600"/>
                </a:spcBef>
                <a:spcAft>
                  <a:spcPts val="600"/>
                </a:spcAf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Showcase the outcomes from the pre-feasibility study for development of an ICIC between Kazakhstan and Uzbekistan</a:t>
              </a:r>
            </a:p>
          </p:txBody>
        </p:sp>
        <p:grpSp>
          <p:nvGrpSpPr>
            <p:cNvPr id="14" name="Group 13">
              <a:extLst>
                <a:ext uri="{FF2B5EF4-FFF2-40B4-BE49-F238E27FC236}">
                  <a16:creationId xmlns:a16="http://schemas.microsoft.com/office/drawing/2014/main" id="{ED498FE5-CD86-4154-8AFC-2622F7C23770}"/>
                </a:ext>
              </a:extLst>
            </p:cNvPr>
            <p:cNvGrpSpPr/>
            <p:nvPr/>
          </p:nvGrpSpPr>
          <p:grpSpPr>
            <a:xfrm>
              <a:off x="385413" y="1927768"/>
              <a:ext cx="557100" cy="557100"/>
              <a:chOff x="385413" y="1147838"/>
              <a:chExt cx="557100" cy="557100"/>
            </a:xfrm>
            <a:grpFill/>
          </p:grpSpPr>
          <p:sp>
            <p:nvSpPr>
              <p:cNvPr id="40" name="Google Shape;2088;g1389d6804d3_10_89">
                <a:extLst>
                  <a:ext uri="{FF2B5EF4-FFF2-40B4-BE49-F238E27FC236}">
                    <a16:creationId xmlns:a16="http://schemas.microsoft.com/office/drawing/2014/main" id="{CCD412EA-E988-457B-89B9-D573104FF877}"/>
                  </a:ext>
                </a:extLst>
              </p:cNvPr>
              <p:cNvSpPr/>
              <p:nvPr/>
            </p:nvSpPr>
            <p:spPr>
              <a:xfrm>
                <a:off x="385413" y="1147838"/>
                <a:ext cx="557100" cy="557100"/>
              </a:xfrm>
              <a:prstGeom prst="ellipse">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49" name="Google Shape;2104;g1389d6804d3_10_89">
                <a:extLst>
                  <a:ext uri="{FF2B5EF4-FFF2-40B4-BE49-F238E27FC236}">
                    <a16:creationId xmlns:a16="http://schemas.microsoft.com/office/drawing/2014/main" id="{5F1EAB3B-FB6C-48D0-8BF3-CF0E0FB0393B}"/>
                  </a:ext>
                </a:extLst>
              </p:cNvPr>
              <p:cNvPicPr preferRelativeResize="0"/>
              <p:nvPr/>
            </p:nvPicPr>
            <p:blipFill rotWithShape="1">
              <a:blip r:embed="rId8">
                <a:alphaModFix/>
              </a:blip>
              <a:srcRect/>
              <a:stretch/>
            </p:blipFill>
            <p:spPr>
              <a:xfrm>
                <a:off x="457962" y="1237149"/>
                <a:ext cx="391841" cy="391841"/>
              </a:xfrm>
              <a:prstGeom prst="rect">
                <a:avLst/>
              </a:prstGeom>
              <a:grpFill/>
              <a:ln>
                <a:noFill/>
              </a:ln>
            </p:spPr>
          </p:pic>
        </p:grpSp>
      </p:grpSp>
      <p:pic>
        <p:nvPicPr>
          <p:cNvPr id="2" name="Picture 1">
            <a:extLst>
              <a:ext uri="{FF2B5EF4-FFF2-40B4-BE49-F238E27FC236}">
                <a16:creationId xmlns:a16="http://schemas.microsoft.com/office/drawing/2014/main" id="{D8828347-FD8B-4EA7-B344-0BC64BF17622}"/>
              </a:ext>
            </a:extLst>
          </p:cNvPr>
          <p:cNvPicPr>
            <a:picLocks noChangeAspect="1"/>
          </p:cNvPicPr>
          <p:nvPr/>
        </p:nvPicPr>
        <p:blipFill rotWithShape="1">
          <a:blip r:embed="rId9"/>
          <a:srcRect l="26729" r="25163"/>
          <a:stretch/>
        </p:blipFill>
        <p:spPr>
          <a:xfrm>
            <a:off x="7285239" y="-9525"/>
            <a:ext cx="4950749" cy="6858000"/>
          </a:xfrm>
          <a:prstGeom prst="rect">
            <a:avLst/>
          </a:prstGeom>
        </p:spPr>
      </p:pic>
      <p:sp>
        <p:nvSpPr>
          <p:cNvPr id="9" name="Rectangle 8">
            <a:extLst>
              <a:ext uri="{FF2B5EF4-FFF2-40B4-BE49-F238E27FC236}">
                <a16:creationId xmlns:a16="http://schemas.microsoft.com/office/drawing/2014/main" id="{3629B1BD-E650-49E0-BBA7-2BC1CE1D7DF5}"/>
              </a:ext>
            </a:extLst>
          </p:cNvPr>
          <p:cNvSpPr/>
          <p:nvPr/>
        </p:nvSpPr>
        <p:spPr>
          <a:xfrm>
            <a:off x="7291230" y="-9525"/>
            <a:ext cx="4956010" cy="6848475"/>
          </a:xfrm>
          <a:prstGeom prst="rect">
            <a:avLst/>
          </a:prstGeom>
          <a:solidFill>
            <a:srgbClr val="F2F2F2">
              <a:alpha val="61961"/>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21880E0B-ABCB-4467-B004-0FAAA3184529}"/>
              </a:ext>
            </a:extLst>
          </p:cNvPr>
          <p:cNvGrpSpPr/>
          <p:nvPr/>
        </p:nvGrpSpPr>
        <p:grpSpPr>
          <a:xfrm>
            <a:off x="385413" y="5355284"/>
            <a:ext cx="6486158" cy="557100"/>
            <a:chOff x="385413" y="5355284"/>
            <a:chExt cx="6486158" cy="557100"/>
          </a:xfrm>
        </p:grpSpPr>
        <p:grpSp>
          <p:nvGrpSpPr>
            <p:cNvPr id="16" name="Group 15">
              <a:extLst>
                <a:ext uri="{FF2B5EF4-FFF2-40B4-BE49-F238E27FC236}">
                  <a16:creationId xmlns:a16="http://schemas.microsoft.com/office/drawing/2014/main" id="{1519DA85-2A33-41E9-BF88-760E72B6F37F}"/>
                </a:ext>
              </a:extLst>
            </p:cNvPr>
            <p:cNvGrpSpPr/>
            <p:nvPr/>
          </p:nvGrpSpPr>
          <p:grpSpPr>
            <a:xfrm>
              <a:off x="385413" y="5355284"/>
              <a:ext cx="557100" cy="557100"/>
              <a:chOff x="385413" y="5355284"/>
              <a:chExt cx="557100" cy="557100"/>
            </a:xfrm>
          </p:grpSpPr>
          <p:sp>
            <p:nvSpPr>
              <p:cNvPr id="43" name="Google Shape;2089;g1389d6804d3_10_89">
                <a:extLst>
                  <a:ext uri="{FF2B5EF4-FFF2-40B4-BE49-F238E27FC236}">
                    <a16:creationId xmlns:a16="http://schemas.microsoft.com/office/drawing/2014/main" id="{BC16DD09-E269-413B-8042-6C17B5A6B979}"/>
                  </a:ext>
                </a:extLst>
              </p:cNvPr>
              <p:cNvSpPr/>
              <p:nvPr/>
            </p:nvSpPr>
            <p:spPr>
              <a:xfrm>
                <a:off x="385413" y="5355284"/>
                <a:ext cx="557100" cy="5571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47" name="Google Shape;2102;g1389d6804d3_10_89">
                <a:extLst>
                  <a:ext uri="{FF2B5EF4-FFF2-40B4-BE49-F238E27FC236}">
                    <a16:creationId xmlns:a16="http://schemas.microsoft.com/office/drawing/2014/main" id="{02CB528D-D2E3-4841-9C67-4D49F8BE32A1}"/>
                  </a:ext>
                </a:extLst>
              </p:cNvPr>
              <p:cNvPicPr preferRelativeResize="0"/>
              <p:nvPr/>
            </p:nvPicPr>
            <p:blipFill rotWithShape="1">
              <a:blip r:embed="rId10">
                <a:alphaModFix/>
              </a:blip>
              <a:srcRect/>
              <a:stretch/>
            </p:blipFill>
            <p:spPr>
              <a:xfrm>
                <a:off x="468042" y="5457024"/>
                <a:ext cx="391841" cy="391841"/>
              </a:xfrm>
              <a:prstGeom prst="rect">
                <a:avLst/>
              </a:prstGeom>
              <a:noFill/>
              <a:ln>
                <a:noFill/>
              </a:ln>
            </p:spPr>
          </p:pic>
        </p:grpSp>
        <p:sp>
          <p:nvSpPr>
            <p:cNvPr id="27" name="Rectangle: Rounded Corners 26">
              <a:extLst>
                <a:ext uri="{FF2B5EF4-FFF2-40B4-BE49-F238E27FC236}">
                  <a16:creationId xmlns:a16="http://schemas.microsoft.com/office/drawing/2014/main" id="{0F9E2E49-2730-4CA6-98D6-5C0AD14C1A15}"/>
                </a:ext>
              </a:extLst>
            </p:cNvPr>
            <p:cNvSpPr/>
            <p:nvPr/>
          </p:nvSpPr>
          <p:spPr>
            <a:xfrm>
              <a:off x="1043393" y="5439875"/>
              <a:ext cx="5828178" cy="357034"/>
            </a:xfrm>
            <a:prstGeom prst="round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defRPr/>
              </a:pPr>
              <a:r>
                <a:rPr lang="en-GB" sz="1400" dirty="0">
                  <a:solidFill>
                    <a:srgbClr val="FFFFFF"/>
                  </a:solidFill>
                  <a:latin typeface="Arial"/>
                  <a:sym typeface="Arial"/>
                </a:rPr>
                <a:t>Way Forward and next steps to be taken by the government</a:t>
              </a:r>
            </a:p>
          </p:txBody>
        </p:sp>
      </p:grpSp>
      <p:sp>
        <p:nvSpPr>
          <p:cNvPr id="3" name="Date Placeholder 2">
            <a:extLst>
              <a:ext uri="{FF2B5EF4-FFF2-40B4-BE49-F238E27FC236}">
                <a16:creationId xmlns:a16="http://schemas.microsoft.com/office/drawing/2014/main" id="{D3DA4DAE-9E37-451F-A544-0C0CDA1D4742}"/>
              </a:ext>
            </a:extLst>
          </p:cNvPr>
          <p:cNvSpPr>
            <a:spLocks noGrp="1"/>
          </p:cNvSpPr>
          <p:nvPr>
            <p:ph type="dt" sz="half" idx="12"/>
          </p:nvPr>
        </p:nvSpPr>
        <p:spPr/>
        <p:txBody>
          <a:bodyPr/>
          <a:lstStyle/>
          <a:p>
            <a:r>
              <a:rPr lang="en-US"/>
              <a:t>Sep 23</a:t>
            </a:r>
          </a:p>
        </p:txBody>
      </p:sp>
      <p:sp>
        <p:nvSpPr>
          <p:cNvPr id="12" name="Footer Placeholder 11">
            <a:extLst>
              <a:ext uri="{FF2B5EF4-FFF2-40B4-BE49-F238E27FC236}">
                <a16:creationId xmlns:a16="http://schemas.microsoft.com/office/drawing/2014/main" id="{12881716-F4FB-4D55-98B6-E98E011CA1DE}"/>
              </a:ext>
            </a:extLst>
          </p:cNvPr>
          <p:cNvSpPr>
            <a:spLocks noGrp="1"/>
          </p:cNvSpPr>
          <p:nvPr>
            <p:ph type="ftr" sz="quarter" idx="13"/>
          </p:nvPr>
        </p:nvSpPr>
        <p:spPr/>
        <p:txBody>
          <a:bodyPr/>
          <a:lstStyle/>
          <a:p>
            <a:pPr algn="l"/>
            <a:r>
              <a:rPr lang="en-US"/>
              <a:t>Prefeasibility study for establishment of ICIC under STKEC</a:t>
            </a:r>
          </a:p>
        </p:txBody>
      </p:sp>
      <p:sp>
        <p:nvSpPr>
          <p:cNvPr id="13" name="Slide Number Placeholder 12">
            <a:extLst>
              <a:ext uri="{FF2B5EF4-FFF2-40B4-BE49-F238E27FC236}">
                <a16:creationId xmlns:a16="http://schemas.microsoft.com/office/drawing/2014/main" id="{D0E36683-1134-45E8-8178-29E9D9442956}"/>
              </a:ext>
            </a:extLst>
          </p:cNvPr>
          <p:cNvSpPr>
            <a:spLocks noGrp="1"/>
          </p:cNvSpPr>
          <p:nvPr>
            <p:ph type="sldNum" sz="quarter" idx="11"/>
          </p:nvPr>
        </p:nvSpPr>
        <p:spPr/>
        <p:txBody>
          <a:bodyPr/>
          <a:lstStyle/>
          <a:p>
            <a:fld id="{7870704B-CE94-48CC-AF30-84932A1262A7}" type="slidenum">
              <a:rPr lang="en-GB" smtClean="0"/>
              <a:pPr/>
              <a:t>2</a:t>
            </a:fld>
            <a:endParaRPr lang="en-GB"/>
          </a:p>
        </p:txBody>
      </p:sp>
    </p:spTree>
    <p:custDataLst>
      <p:custData r:id="rId1"/>
    </p:custDataLst>
    <p:extLst>
      <p:ext uri="{BB962C8B-B14F-4D97-AF65-F5344CB8AC3E}">
        <p14:creationId xmlns:p14="http://schemas.microsoft.com/office/powerpoint/2010/main" val="35524102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393755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32" imgH="532" progId="TCLayout.ActiveDocument.1">
                  <p:embed/>
                </p:oleObj>
              </mc:Choice>
              <mc:Fallback>
                <p:oleObj name="think-cell Slide" r:id="rId27"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2" name="Rectangle: Rounded Corners 11">
            <a:extLst>
              <a:ext uri="{FF2B5EF4-FFF2-40B4-BE49-F238E27FC236}">
                <a16:creationId xmlns:a16="http://schemas.microsoft.com/office/drawing/2014/main" id="{477403BD-E976-4FB1-920D-07B09489AAEF}"/>
              </a:ext>
            </a:extLst>
          </p:cNvPr>
          <p:cNvSpPr/>
          <p:nvPr/>
        </p:nvSpPr>
        <p:spPr>
          <a:xfrm>
            <a:off x="442914" y="5995927"/>
            <a:ext cx="11632463" cy="481014"/>
          </a:xfrm>
          <a:prstGeom prst="roundRect">
            <a:avLst/>
          </a:prstGeom>
          <a:solidFill>
            <a:srgbClr val="FFFFFF"/>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gn="ctr">
              <a:spcBef>
                <a:spcPts val="0"/>
              </a:spcBef>
              <a:spcAft>
                <a:spcPts val="1100"/>
              </a:spcAft>
              <a:buSzPts val="1100"/>
            </a:pPr>
            <a:r>
              <a:rPr lang="en-US" sz="1600" b="1" i="1" dirty="0">
                <a:solidFill>
                  <a:srgbClr val="A32020"/>
                </a:solidFill>
                <a:latin typeface="Arial" panose="020B0604020202020204" pitchFamily="34" charset="0"/>
                <a:ea typeface="SimSun" panose="02010600030101010101" pitchFamily="2" charset="-122"/>
                <a:cs typeface="Times New Roman" panose="02020603050405020304" pitchFamily="18" charset="0"/>
              </a:rPr>
              <a:t>ICIC will require low-cost financing and/or sizable VGF to be financially viable.</a:t>
            </a:r>
            <a:endParaRPr lang="en-US" sz="1600" b="1" i="1" dirty="0">
              <a:solidFill>
                <a:srgbClr val="A32020"/>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3" name="Rectangle: Rounded Corners 2">
            <a:extLst>
              <a:ext uri="{FF2B5EF4-FFF2-40B4-BE49-F238E27FC236}">
                <a16:creationId xmlns:a16="http://schemas.microsoft.com/office/drawing/2014/main" id="{85453E95-E0A0-438C-9D29-5D70409DBF79}"/>
              </a:ext>
            </a:extLst>
          </p:cNvPr>
          <p:cNvSpPr/>
          <p:nvPr/>
        </p:nvSpPr>
        <p:spPr>
          <a:xfrm>
            <a:off x="6617110" y="2222090"/>
            <a:ext cx="5458267" cy="560439"/>
          </a:xfrm>
          <a:prstGeom prst="roundRect">
            <a:avLst/>
          </a:prstGeom>
          <a:solidFill>
            <a:srgbClr val="A32020"/>
          </a:solidFill>
          <a:ln w="6350">
            <a:solidFill>
              <a:srgbClr val="A3202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bg1"/>
                </a:solidFill>
              </a:rPr>
              <a:t>Scenario 2</a:t>
            </a:r>
          </a:p>
          <a:p>
            <a:pPr algn="ctr"/>
            <a:r>
              <a:rPr lang="en-US" sz="1400" i="1">
                <a:solidFill>
                  <a:schemeClr val="bg1"/>
                </a:solidFill>
              </a:rPr>
              <a:t>Debt-and-equity hybrid financing with VGF from the Government</a:t>
            </a:r>
          </a:p>
        </p:txBody>
      </p:sp>
      <p:sp>
        <p:nvSpPr>
          <p:cNvPr id="22" name="Rectangle: Rounded Corners 21">
            <a:extLst>
              <a:ext uri="{FF2B5EF4-FFF2-40B4-BE49-F238E27FC236}">
                <a16:creationId xmlns:a16="http://schemas.microsoft.com/office/drawing/2014/main" id="{022FA587-F817-4F55-A83F-8F97F494A7FD}"/>
              </a:ext>
            </a:extLst>
          </p:cNvPr>
          <p:cNvSpPr/>
          <p:nvPr/>
        </p:nvSpPr>
        <p:spPr>
          <a:xfrm>
            <a:off x="442913" y="2222090"/>
            <a:ext cx="5458968" cy="560439"/>
          </a:xfrm>
          <a:prstGeom prst="roundRect">
            <a:avLst/>
          </a:prstGeom>
          <a:solidFill>
            <a:srgbClr val="A32020"/>
          </a:solidFill>
          <a:ln w="6350">
            <a:solidFill>
              <a:srgbClr val="A3202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bg1"/>
                </a:solidFill>
              </a:rPr>
              <a:t>Scenario 1</a:t>
            </a:r>
          </a:p>
          <a:p>
            <a:pPr algn="ctr"/>
            <a:r>
              <a:rPr lang="en-US" sz="1400" i="1">
                <a:solidFill>
                  <a:schemeClr val="bg1"/>
                </a:solidFill>
              </a:rPr>
              <a:t>Debt-and-equity hybrid financing</a:t>
            </a:r>
          </a:p>
        </p:txBody>
      </p:sp>
      <p:sp>
        <p:nvSpPr>
          <p:cNvPr id="23" name="TextBox 22">
            <a:extLst>
              <a:ext uri="{FF2B5EF4-FFF2-40B4-BE49-F238E27FC236}">
                <a16:creationId xmlns:a16="http://schemas.microsoft.com/office/drawing/2014/main" id="{2CFA7BAB-01CD-4651-8DE1-307DB4C03C09}"/>
              </a:ext>
            </a:extLst>
          </p:cNvPr>
          <p:cNvSpPr txBox="1"/>
          <p:nvPr/>
        </p:nvSpPr>
        <p:spPr>
          <a:xfrm>
            <a:off x="512764" y="1357401"/>
            <a:ext cx="2053455" cy="430887"/>
          </a:xfrm>
          <a:prstGeom prst="rect">
            <a:avLst/>
          </a:prstGeom>
          <a:noFill/>
          <a:ln>
            <a:noFill/>
          </a:ln>
        </p:spPr>
        <p:txBody>
          <a:bodyPr wrap="square" lIns="0" tIns="0" rIns="0" bIns="0" rtlCol="0">
            <a:spAutoFit/>
          </a:bodyPr>
          <a:lstStyle/>
          <a:p>
            <a:pPr algn="ctr"/>
            <a:r>
              <a:rPr lang="en-US" sz="1400" i="1" noProof="0">
                <a:solidFill>
                  <a:schemeClr val="tx1"/>
                </a:solidFill>
                <a:cs typeface="Arial" pitchFamily="34" charset="0"/>
              </a:rPr>
              <a:t>Total CAPEX Required</a:t>
            </a:r>
          </a:p>
          <a:p>
            <a:pPr algn="ctr"/>
            <a:r>
              <a:rPr lang="en-US" sz="1400" i="1" noProof="0">
                <a:solidFill>
                  <a:schemeClr val="tx1"/>
                </a:solidFill>
                <a:cs typeface="Arial" pitchFamily="34" charset="0"/>
              </a:rPr>
              <a:t>US$32.5 million</a:t>
            </a:r>
          </a:p>
        </p:txBody>
      </p:sp>
      <p:graphicFrame>
        <p:nvGraphicFramePr>
          <p:cNvPr id="131" name="Chart 130">
            <a:extLst>
              <a:ext uri="{FF2B5EF4-FFF2-40B4-BE49-F238E27FC236}">
                <a16:creationId xmlns:a16="http://schemas.microsoft.com/office/drawing/2014/main" id="{2826A01C-83D0-428B-A07F-2FBB20C24E4D}"/>
              </a:ext>
            </a:extLst>
          </p:cNvPr>
          <p:cNvGraphicFramePr/>
          <p:nvPr>
            <p:custDataLst>
              <p:tags r:id="rId3"/>
            </p:custDataLst>
            <p:extLst>
              <p:ext uri="{D42A27DB-BD31-4B8C-83A1-F6EECF244321}">
                <p14:modId xmlns:p14="http://schemas.microsoft.com/office/powerpoint/2010/main" val="1037892228"/>
              </p:ext>
            </p:extLst>
          </p:nvPr>
        </p:nvGraphicFramePr>
        <p:xfrm>
          <a:off x="2620963" y="1273175"/>
          <a:ext cx="9034462" cy="596900"/>
        </p:xfrm>
        <a:graphic>
          <a:graphicData uri="http://schemas.openxmlformats.org/drawingml/2006/chart">
            <c:chart xmlns:c="http://schemas.openxmlformats.org/drawingml/2006/chart" xmlns:r="http://schemas.openxmlformats.org/officeDocument/2006/relationships" r:id="rId29"/>
          </a:graphicData>
        </a:graphic>
      </p:graphicFrame>
      <p:sp>
        <p:nvSpPr>
          <p:cNvPr id="37" name="Text Placeholder 2">
            <a:extLst>
              <a:ext uri="{FF2B5EF4-FFF2-40B4-BE49-F238E27FC236}">
                <a16:creationId xmlns:a16="http://schemas.microsoft.com/office/drawing/2014/main" id="{C3E7CBB0-9173-4E6A-A159-20C2397418CE}"/>
              </a:ext>
            </a:extLst>
          </p:cNvPr>
          <p:cNvSpPr>
            <a:spLocks noGrp="1"/>
          </p:cNvSpPr>
          <p:nvPr>
            <p:custDataLst>
              <p:tags r:id="rId4"/>
            </p:custDataLst>
          </p:nvPr>
        </p:nvSpPr>
        <p:spPr bwMode="gray">
          <a:xfrm>
            <a:off x="11598275" y="1481138"/>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6C7D6D40-2747-4A26-8F16-7D2B44E5B0BA}" type="datetime'''''''''''''''''''3''''''''''''''''''''''''3'''''''''">
              <a:rPr lang="en-US" altLang="en-US" sz="1200" b="1" smtClean="0"/>
              <a:pPr lvl="0">
                <a:spcBef>
                  <a:spcPct val="0"/>
                </a:spcBef>
                <a:spcAft>
                  <a:spcPct val="0"/>
                </a:spcAft>
              </a:pPr>
              <a:t>33</a:t>
            </a:fld>
            <a:endParaRPr lang="en-US" sz="1200" b="1" noProof="0"/>
          </a:p>
        </p:txBody>
      </p:sp>
      <p:sp>
        <p:nvSpPr>
          <p:cNvPr id="98" name="Text Placeholder 2">
            <a:extLst>
              <a:ext uri="{FF2B5EF4-FFF2-40B4-BE49-F238E27FC236}">
                <a16:creationId xmlns:a16="http://schemas.microsoft.com/office/drawing/2014/main" id="{6D994088-401A-406C-BAE8-85D296DADD33}"/>
              </a:ext>
            </a:extLst>
          </p:cNvPr>
          <p:cNvSpPr>
            <a:spLocks noGrp="1"/>
          </p:cNvSpPr>
          <p:nvPr>
            <p:custDataLst>
              <p:tags r:id="rId5"/>
            </p:custDataLst>
          </p:nvPr>
        </p:nvSpPr>
        <p:spPr bwMode="gray">
          <a:xfrm>
            <a:off x="3321050" y="1481138"/>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6D209368-DB74-40D5-BE49-9DB64549D088}" type="datetime'''''''''''''''''''''''''''7'">
              <a:rPr lang="en-US" altLang="en-US" sz="1200" smtClean="0">
                <a:solidFill>
                  <a:schemeClr val="bg1"/>
                </a:solidFill>
              </a:rPr>
              <a:pPr lvl="0" algn="ctr">
                <a:spcBef>
                  <a:spcPct val="0"/>
                </a:spcBef>
                <a:spcAft>
                  <a:spcPct val="0"/>
                </a:spcAft>
              </a:pPr>
              <a:t>7</a:t>
            </a:fld>
            <a:r>
              <a:rPr lang="en-US" altLang="en-US" sz="1200">
                <a:solidFill>
                  <a:schemeClr val="bg1"/>
                </a:solidFill>
                <a:effectLst/>
              </a:rPr>
              <a:t> (</a:t>
            </a:r>
            <a:fld id="{DFBD124C-CE0A-4013-B289-2744FA616966}" type="datetime'''''''''''2''''''''''''''''''''''0%'">
              <a:rPr lang="en-US" altLang="en-US" sz="1200" smtClean="0">
                <a:solidFill>
                  <a:schemeClr val="bg1"/>
                </a:solidFill>
              </a:rPr>
              <a:pPr lvl="0" algn="ctr">
                <a:spcBef>
                  <a:spcPct val="0"/>
                </a:spcBef>
                <a:spcAft>
                  <a:spcPct val="0"/>
                </a:spcAft>
              </a:pPr>
              <a:t>20%</a:t>
            </a:fld>
            <a:r>
              <a:rPr lang="en-US" altLang="en-US" sz="1200">
                <a:solidFill>
                  <a:schemeClr val="bg1"/>
                </a:solidFill>
                <a:effectLst/>
              </a:rPr>
              <a:t>)</a:t>
            </a:r>
            <a:endParaRPr lang="en-US" sz="1200" noProof="0">
              <a:solidFill>
                <a:schemeClr val="bg1"/>
              </a:solidFill>
            </a:endParaRPr>
          </a:p>
        </p:txBody>
      </p:sp>
      <p:sp>
        <p:nvSpPr>
          <p:cNvPr id="104" name="Text Placeholder 2">
            <a:extLst>
              <a:ext uri="{FF2B5EF4-FFF2-40B4-BE49-F238E27FC236}">
                <a16:creationId xmlns:a16="http://schemas.microsoft.com/office/drawing/2014/main" id="{65B04397-18B9-4C20-B00E-F79FD12D065E}"/>
              </a:ext>
            </a:extLst>
          </p:cNvPr>
          <p:cNvSpPr>
            <a:spLocks noGrp="1"/>
          </p:cNvSpPr>
          <p:nvPr>
            <p:custDataLst>
              <p:tags r:id="rId6"/>
            </p:custDataLst>
          </p:nvPr>
        </p:nvSpPr>
        <p:spPr bwMode="gray">
          <a:xfrm>
            <a:off x="5805488" y="1481138"/>
            <a:ext cx="666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8AAF4B57-929A-4077-9C71-3690BCB92DA8}" type="datetime'''''''''''''''''''1''''''''''''''''''''2'''''''''''''''">
              <a:rPr lang="en-US" altLang="en-US" sz="1200" smtClean="0">
                <a:solidFill>
                  <a:schemeClr val="bg1"/>
                </a:solidFill>
              </a:rPr>
              <a:pPr lvl="0" algn="ctr">
                <a:spcBef>
                  <a:spcPct val="0"/>
                </a:spcBef>
                <a:spcAft>
                  <a:spcPct val="0"/>
                </a:spcAft>
              </a:pPr>
              <a:t>12</a:t>
            </a:fld>
            <a:r>
              <a:rPr lang="en-US" altLang="en-US" sz="1200">
                <a:solidFill>
                  <a:schemeClr val="bg1"/>
                </a:solidFill>
                <a:effectLst/>
              </a:rPr>
              <a:t> (</a:t>
            </a:r>
            <a:fld id="{07DBAC46-6493-4F2F-BEA4-8F4BCE9D81E1}" type="datetime'3''''''''''''''''''7''''''''''''''%'''''''''''''''''''">
              <a:rPr lang="en-US" altLang="en-US" sz="1200" smtClean="0">
                <a:solidFill>
                  <a:schemeClr val="bg1"/>
                </a:solidFill>
              </a:rPr>
              <a:pPr lvl="0" algn="ctr">
                <a:spcBef>
                  <a:spcPct val="0"/>
                </a:spcBef>
                <a:spcAft>
                  <a:spcPct val="0"/>
                </a:spcAft>
              </a:pPr>
              <a:t>37%</a:t>
            </a:fld>
            <a:r>
              <a:rPr lang="en-US" altLang="en-US" sz="1200">
                <a:solidFill>
                  <a:schemeClr val="bg1"/>
                </a:solidFill>
                <a:effectLst/>
              </a:rPr>
              <a:t>)</a:t>
            </a:r>
            <a:endParaRPr lang="en-US" sz="1200" noProof="0">
              <a:solidFill>
                <a:schemeClr val="bg1"/>
              </a:solidFill>
            </a:endParaRPr>
          </a:p>
        </p:txBody>
      </p:sp>
      <p:sp>
        <p:nvSpPr>
          <p:cNvPr id="109" name="Text Placeholder 2">
            <a:extLst>
              <a:ext uri="{FF2B5EF4-FFF2-40B4-BE49-F238E27FC236}">
                <a16:creationId xmlns:a16="http://schemas.microsoft.com/office/drawing/2014/main" id="{097F7993-CA11-4B5B-BC75-7915DB5D3046}"/>
              </a:ext>
            </a:extLst>
          </p:cNvPr>
          <p:cNvSpPr>
            <a:spLocks noGrp="1"/>
          </p:cNvSpPr>
          <p:nvPr>
            <p:custDataLst>
              <p:tags r:id="rId7"/>
            </p:custDataLst>
          </p:nvPr>
        </p:nvSpPr>
        <p:spPr bwMode="gray">
          <a:xfrm>
            <a:off x="8604250" y="1481138"/>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4A5D5C1E-2402-4BB5-B474-9B7DC1403055}" type="datetime'''''''''''''''''''''''''''''''''''''''''''''''''8'''''''''">
              <a:rPr lang="en-US" altLang="en-US" sz="1200" smtClean="0">
                <a:solidFill>
                  <a:schemeClr val="bg1"/>
                </a:solidFill>
              </a:rPr>
              <a:pPr lvl="0" algn="ctr">
                <a:spcBef>
                  <a:spcPct val="0"/>
                </a:spcBef>
                <a:spcAft>
                  <a:spcPct val="0"/>
                </a:spcAft>
              </a:pPr>
              <a:t>8</a:t>
            </a:fld>
            <a:r>
              <a:rPr lang="en-US" altLang="en-US" sz="1200">
                <a:solidFill>
                  <a:schemeClr val="bg1"/>
                </a:solidFill>
                <a:effectLst/>
              </a:rPr>
              <a:t> (</a:t>
            </a:r>
            <a:fld id="{FB7B4A46-97EB-4A84-B398-AB431C8C6220}" type="datetime'''''''''''''''''26''''''''''''''''''''''''''%'''">
              <a:rPr lang="en-US" altLang="en-US" sz="1200" smtClean="0">
                <a:solidFill>
                  <a:schemeClr val="bg1"/>
                </a:solidFill>
              </a:rPr>
              <a:pPr lvl="0" algn="ctr">
                <a:spcBef>
                  <a:spcPct val="0"/>
                </a:spcBef>
                <a:spcAft>
                  <a:spcPct val="0"/>
                </a:spcAft>
              </a:pPr>
              <a:t>26%</a:t>
            </a:fld>
            <a:r>
              <a:rPr lang="en-US" altLang="en-US" sz="1200">
                <a:solidFill>
                  <a:schemeClr val="bg1"/>
                </a:solidFill>
                <a:effectLst/>
              </a:rPr>
              <a:t>)</a:t>
            </a:r>
            <a:endParaRPr lang="en-US" sz="1200" noProof="0">
              <a:solidFill>
                <a:schemeClr val="bg1"/>
              </a:solidFill>
            </a:endParaRPr>
          </a:p>
        </p:txBody>
      </p:sp>
      <p:sp>
        <p:nvSpPr>
          <p:cNvPr id="120" name="Text Placeholder 2">
            <a:extLst>
              <a:ext uri="{FF2B5EF4-FFF2-40B4-BE49-F238E27FC236}">
                <a16:creationId xmlns:a16="http://schemas.microsoft.com/office/drawing/2014/main" id="{8684B8E2-5980-49AB-B014-33AEC6908486}"/>
              </a:ext>
            </a:extLst>
          </p:cNvPr>
          <p:cNvSpPr>
            <a:spLocks noGrp="1"/>
          </p:cNvSpPr>
          <p:nvPr>
            <p:custDataLst>
              <p:tags r:id="rId8"/>
            </p:custDataLst>
          </p:nvPr>
        </p:nvSpPr>
        <p:spPr bwMode="gray">
          <a:xfrm>
            <a:off x="10150475" y="1481138"/>
            <a:ext cx="498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2003019B-55F8-4B02-AD0D-C9942CC3659B}" type="datetime'''''''''''''''''''''''''''''''''''''''''''''''''3'''''''">
              <a:rPr lang="en-US" altLang="en-US" sz="1200" smtClean="0">
                <a:solidFill>
                  <a:schemeClr val="bg1"/>
                </a:solidFill>
              </a:rPr>
              <a:pPr lvl="0" algn="ctr">
                <a:spcBef>
                  <a:spcPct val="0"/>
                </a:spcBef>
                <a:spcAft>
                  <a:spcPct val="0"/>
                </a:spcAft>
              </a:pPr>
              <a:t>3</a:t>
            </a:fld>
            <a:r>
              <a:rPr lang="en-US" altLang="en-US" sz="1200">
                <a:solidFill>
                  <a:schemeClr val="bg1"/>
                </a:solidFill>
                <a:effectLst/>
              </a:rPr>
              <a:t> (</a:t>
            </a:r>
            <a:fld id="{B3534724-0728-4D5B-A0E9-AE33CD2B77C0}" type="datetime'''''''8''''''''''''''''''''%'''">
              <a:rPr lang="en-US" altLang="en-US" sz="1200" smtClean="0">
                <a:solidFill>
                  <a:schemeClr val="bg1"/>
                </a:solidFill>
              </a:rPr>
              <a:pPr lvl="0" algn="ctr">
                <a:spcBef>
                  <a:spcPct val="0"/>
                </a:spcBef>
                <a:spcAft>
                  <a:spcPct val="0"/>
                </a:spcAft>
              </a:pPr>
              <a:t>8%</a:t>
            </a:fld>
            <a:r>
              <a:rPr lang="en-US" altLang="en-US" sz="1200">
                <a:solidFill>
                  <a:schemeClr val="bg1"/>
                </a:solidFill>
                <a:effectLst/>
              </a:rPr>
              <a:t>)</a:t>
            </a:r>
            <a:endParaRPr lang="en-US" sz="1200" noProof="0">
              <a:solidFill>
                <a:schemeClr val="bg1"/>
              </a:solidFill>
            </a:endParaRPr>
          </a:p>
        </p:txBody>
      </p:sp>
      <p:sp>
        <p:nvSpPr>
          <p:cNvPr id="126" name="Text Placeholder 2">
            <a:extLst>
              <a:ext uri="{FF2B5EF4-FFF2-40B4-BE49-F238E27FC236}">
                <a16:creationId xmlns:a16="http://schemas.microsoft.com/office/drawing/2014/main" id="{F008006F-3159-4CEB-8CE3-45E71F4C1561}"/>
              </a:ext>
            </a:extLst>
          </p:cNvPr>
          <p:cNvSpPr>
            <a:spLocks noGrp="1"/>
          </p:cNvSpPr>
          <p:nvPr>
            <p:custDataLst>
              <p:tags r:id="rId9"/>
            </p:custDataLst>
          </p:nvPr>
        </p:nvSpPr>
        <p:spPr bwMode="gray">
          <a:xfrm>
            <a:off x="10920413" y="1481138"/>
            <a:ext cx="498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CAFDDEB5-715A-4169-8900-5ACE4EAC0BDD}" type="datetime'''''''''''''''''''''''''''''3'''''''">
              <a:rPr lang="en-US" altLang="en-US" sz="1200" smtClean="0">
                <a:solidFill>
                  <a:schemeClr val="bg1"/>
                </a:solidFill>
              </a:rPr>
              <a:pPr lvl="0" algn="ctr">
                <a:spcBef>
                  <a:spcPct val="0"/>
                </a:spcBef>
                <a:spcAft>
                  <a:spcPct val="0"/>
                </a:spcAft>
              </a:pPr>
              <a:t>3</a:t>
            </a:fld>
            <a:r>
              <a:rPr lang="en-US" altLang="en-US" sz="1200">
                <a:solidFill>
                  <a:schemeClr val="bg1"/>
                </a:solidFill>
                <a:effectLst/>
              </a:rPr>
              <a:t> (</a:t>
            </a:r>
            <a:fld id="{2A489B1E-3D1D-4507-92D2-0FE27E30F8C5}" type="datetime'''''''''''''''9''''''%'''">
              <a:rPr lang="en-US" altLang="en-US" sz="1200" smtClean="0">
                <a:solidFill>
                  <a:schemeClr val="bg1"/>
                </a:solidFill>
              </a:rPr>
              <a:pPr lvl="0" algn="ctr">
                <a:spcBef>
                  <a:spcPct val="0"/>
                </a:spcBef>
                <a:spcAft>
                  <a:spcPct val="0"/>
                </a:spcAft>
              </a:pPr>
              <a:t>9%</a:t>
            </a:fld>
            <a:r>
              <a:rPr lang="en-US" altLang="en-US" sz="1200">
                <a:solidFill>
                  <a:schemeClr val="bg1"/>
                </a:solidFill>
                <a:effectLst/>
              </a:rPr>
              <a:t>)</a:t>
            </a:r>
            <a:endParaRPr lang="en-US" sz="1200" noProof="0">
              <a:solidFill>
                <a:schemeClr val="bg1"/>
              </a:solidFill>
            </a:endParaRPr>
          </a:p>
        </p:txBody>
      </p:sp>
      <p:sp>
        <p:nvSpPr>
          <p:cNvPr id="82" name="Rectangle 81">
            <a:extLst>
              <a:ext uri="{FF2B5EF4-FFF2-40B4-BE49-F238E27FC236}">
                <a16:creationId xmlns:a16="http://schemas.microsoft.com/office/drawing/2014/main" id="{44721210-59DE-497A-BCA5-87AC84929042}"/>
              </a:ext>
            </a:extLst>
          </p:cNvPr>
          <p:cNvSpPr/>
          <p:nvPr>
            <p:custDataLst>
              <p:tags r:id="rId10"/>
            </p:custDataLst>
          </p:nvPr>
        </p:nvSpPr>
        <p:spPr bwMode="auto">
          <a:xfrm>
            <a:off x="4413250" y="1844675"/>
            <a:ext cx="179388" cy="133350"/>
          </a:xfrm>
          <a:prstGeom prst="rect">
            <a:avLst/>
          </a:prstGeom>
          <a:solidFill>
            <a:srgbClr val="A32020"/>
          </a:solidFill>
          <a:ln w="9525" cap="flat"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 name="Rectangle 82">
            <a:extLst>
              <a:ext uri="{FF2B5EF4-FFF2-40B4-BE49-F238E27FC236}">
                <a16:creationId xmlns:a16="http://schemas.microsoft.com/office/drawing/2014/main" id="{A8868D16-B380-4A58-991B-77D509CBFEDB}"/>
              </a:ext>
            </a:extLst>
          </p:cNvPr>
          <p:cNvSpPr/>
          <p:nvPr>
            <p:custDataLst>
              <p:tags r:id="rId11"/>
            </p:custDataLst>
          </p:nvPr>
        </p:nvSpPr>
        <p:spPr bwMode="auto">
          <a:xfrm>
            <a:off x="6269038" y="1844675"/>
            <a:ext cx="179388" cy="133350"/>
          </a:xfrm>
          <a:prstGeom prst="rect">
            <a:avLst/>
          </a:prstGeom>
          <a:solidFill>
            <a:srgbClr val="DB536A"/>
          </a:solidFill>
          <a:ln w="9525" cap="flat"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 name="Rectangle 83">
            <a:extLst>
              <a:ext uri="{FF2B5EF4-FFF2-40B4-BE49-F238E27FC236}">
                <a16:creationId xmlns:a16="http://schemas.microsoft.com/office/drawing/2014/main" id="{53D054FD-24E4-4BCB-AF9E-61E01B5AB85D}"/>
              </a:ext>
            </a:extLst>
          </p:cNvPr>
          <p:cNvSpPr/>
          <p:nvPr>
            <p:custDataLst>
              <p:tags r:id="rId12"/>
            </p:custDataLst>
          </p:nvPr>
        </p:nvSpPr>
        <p:spPr bwMode="auto">
          <a:xfrm>
            <a:off x="7113588" y="1844675"/>
            <a:ext cx="179388" cy="133350"/>
          </a:xfrm>
          <a:prstGeom prst="rect">
            <a:avLst/>
          </a:prstGeom>
          <a:solidFill>
            <a:srgbClr val="000000"/>
          </a:solidFill>
          <a:ln w="9525" cap="flat"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5" name="Rectangle 84">
            <a:extLst>
              <a:ext uri="{FF2B5EF4-FFF2-40B4-BE49-F238E27FC236}">
                <a16:creationId xmlns:a16="http://schemas.microsoft.com/office/drawing/2014/main" id="{E0B5A61E-78C9-473E-8F50-5FD2D3E29F5D}"/>
              </a:ext>
            </a:extLst>
          </p:cNvPr>
          <p:cNvSpPr/>
          <p:nvPr>
            <p:custDataLst>
              <p:tags r:id="rId13"/>
            </p:custDataLst>
          </p:nvPr>
        </p:nvSpPr>
        <p:spPr bwMode="auto">
          <a:xfrm>
            <a:off x="7854950" y="1844675"/>
            <a:ext cx="179388" cy="133350"/>
          </a:xfrm>
          <a:prstGeom prst="rect">
            <a:avLst/>
          </a:prstGeom>
          <a:solidFill>
            <a:srgbClr val="464646"/>
          </a:solidFill>
          <a:ln w="9525" cap="flat"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6" name="Rectangle 85">
            <a:extLst>
              <a:ext uri="{FF2B5EF4-FFF2-40B4-BE49-F238E27FC236}">
                <a16:creationId xmlns:a16="http://schemas.microsoft.com/office/drawing/2014/main" id="{37DCE9AF-B486-4D5E-AB28-57A2CBE5BF9C}"/>
              </a:ext>
            </a:extLst>
          </p:cNvPr>
          <p:cNvSpPr/>
          <p:nvPr>
            <p:custDataLst>
              <p:tags r:id="rId14"/>
            </p:custDataLst>
          </p:nvPr>
        </p:nvSpPr>
        <p:spPr bwMode="auto">
          <a:xfrm>
            <a:off x="9561513" y="1844675"/>
            <a:ext cx="179388" cy="133350"/>
          </a:xfrm>
          <a:prstGeom prst="rect">
            <a:avLst/>
          </a:prstGeom>
          <a:solidFill>
            <a:srgbClr val="7D7D7D"/>
          </a:solidFill>
          <a:ln w="9525" cap="flat"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6" name="Text Placeholder 2">
            <a:extLst>
              <a:ext uri="{FF2B5EF4-FFF2-40B4-BE49-F238E27FC236}">
                <a16:creationId xmlns:a16="http://schemas.microsoft.com/office/drawing/2014/main" id="{AFF8EF5A-3CDF-46D5-9002-4BB3DFA8C3EE}"/>
              </a:ext>
            </a:extLst>
          </p:cNvPr>
          <p:cNvSpPr>
            <a:spLocks noGrp="1"/>
          </p:cNvSpPr>
          <p:nvPr>
            <p:custDataLst>
              <p:tags r:id="rId15"/>
            </p:custDataLst>
          </p:nvPr>
        </p:nvSpPr>
        <p:spPr bwMode="auto">
          <a:xfrm>
            <a:off x="4643438" y="1839913"/>
            <a:ext cx="1524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FA525E1C-3697-463A-B30A-1F37BA059C25}" type="datetime'''In''''''''fr''a''''s''tructu''re D''''''e''''velopment'">
              <a:rPr lang="en-US" altLang="en-US" sz="1000" smtClean="0"/>
              <a:pPr lvl="0">
                <a:spcBef>
                  <a:spcPct val="0"/>
                </a:spcBef>
                <a:spcAft>
                  <a:spcPct val="0"/>
                </a:spcAft>
              </a:pPr>
              <a:t>Infrastructure Development</a:t>
            </a:fld>
            <a:endParaRPr lang="en-US" sz="1000" noProof="0"/>
          </a:p>
        </p:txBody>
      </p:sp>
      <p:sp>
        <p:nvSpPr>
          <p:cNvPr id="35" name="Text Placeholder 2">
            <a:extLst>
              <a:ext uri="{FF2B5EF4-FFF2-40B4-BE49-F238E27FC236}">
                <a16:creationId xmlns:a16="http://schemas.microsoft.com/office/drawing/2014/main" id="{5AFCB72E-0304-4EA9-8334-2ACCECAA08EA}"/>
              </a:ext>
            </a:extLst>
          </p:cNvPr>
          <p:cNvSpPr>
            <a:spLocks noGrp="1"/>
          </p:cNvSpPr>
          <p:nvPr>
            <p:custDataLst>
              <p:tags r:id="rId16"/>
            </p:custDataLst>
          </p:nvPr>
        </p:nvSpPr>
        <p:spPr bwMode="auto">
          <a:xfrm>
            <a:off x="6499225" y="1839913"/>
            <a:ext cx="512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2FBF9075-9D27-4E34-8C28-F59B9A3C640D}" type="datetime'''''''''B''u''''''i''l''''''''''''''''''di''''''''''n''gs'''''">
              <a:rPr lang="en-US" altLang="en-US" sz="1000" smtClean="0"/>
              <a:pPr lvl="0">
                <a:spcBef>
                  <a:spcPct val="0"/>
                </a:spcBef>
                <a:spcAft>
                  <a:spcPct val="0"/>
                </a:spcAft>
              </a:pPr>
              <a:t>Buildings</a:t>
            </a:fld>
            <a:endParaRPr lang="en-US" sz="1000" noProof="0"/>
          </a:p>
        </p:txBody>
      </p:sp>
      <p:sp>
        <p:nvSpPr>
          <p:cNvPr id="34" name="Text Placeholder 2">
            <a:extLst>
              <a:ext uri="{FF2B5EF4-FFF2-40B4-BE49-F238E27FC236}">
                <a16:creationId xmlns:a16="http://schemas.microsoft.com/office/drawing/2014/main" id="{94DAAED0-1304-4F15-A9E8-49BB305D5069}"/>
              </a:ext>
            </a:extLst>
          </p:cNvPr>
          <p:cNvSpPr>
            <a:spLocks noGrp="1"/>
          </p:cNvSpPr>
          <p:nvPr>
            <p:custDataLst>
              <p:tags r:id="rId17"/>
            </p:custDataLst>
          </p:nvPr>
        </p:nvSpPr>
        <p:spPr bwMode="auto">
          <a:xfrm>
            <a:off x="7343775" y="1839913"/>
            <a:ext cx="409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F6817E75-A844-4CAB-8F75-6D1094199319}" type="datetime'''''''''''''U''t''ilit''''''''''i''e''''''''''''''s'''''''''''">
              <a:rPr lang="en-US" altLang="en-US" sz="1000" smtClean="0"/>
              <a:pPr lvl="0">
                <a:spcBef>
                  <a:spcPct val="0"/>
                </a:spcBef>
                <a:spcAft>
                  <a:spcPct val="0"/>
                </a:spcAft>
              </a:pPr>
              <a:t>Utilities</a:t>
            </a:fld>
            <a:endParaRPr lang="en-US" sz="1000" noProof="0"/>
          </a:p>
        </p:txBody>
      </p:sp>
      <p:sp>
        <p:nvSpPr>
          <p:cNvPr id="58" name="Text Placeholder 2">
            <a:extLst>
              <a:ext uri="{FF2B5EF4-FFF2-40B4-BE49-F238E27FC236}">
                <a16:creationId xmlns:a16="http://schemas.microsoft.com/office/drawing/2014/main" id="{C51660DF-5575-4F91-A40C-747AC702069F}"/>
              </a:ext>
            </a:extLst>
          </p:cNvPr>
          <p:cNvSpPr>
            <a:spLocks noGrp="1"/>
          </p:cNvSpPr>
          <p:nvPr>
            <p:custDataLst>
              <p:tags r:id="rId18"/>
            </p:custDataLst>
          </p:nvPr>
        </p:nvSpPr>
        <p:spPr bwMode="auto">
          <a:xfrm>
            <a:off x="8085138" y="1839913"/>
            <a:ext cx="137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BF828113-2FC0-4B56-934A-83F357D8BC09}" type="datetime'''''''''Pre'''' Ope''rati''ng ''''''Ex''p''''''en''ses'''''">
              <a:rPr lang="en-US" altLang="en-US" sz="1000" smtClean="0"/>
              <a:pPr lvl="0">
                <a:spcBef>
                  <a:spcPct val="0"/>
                </a:spcBef>
                <a:spcAft>
                  <a:spcPct val="0"/>
                </a:spcAft>
              </a:pPr>
              <a:t>Pre Operating Expenses</a:t>
            </a:fld>
            <a:endParaRPr lang="en-US" sz="1000" noProof="0"/>
          </a:p>
        </p:txBody>
      </p:sp>
      <p:sp>
        <p:nvSpPr>
          <p:cNvPr id="63" name="Text Placeholder 2">
            <a:extLst>
              <a:ext uri="{FF2B5EF4-FFF2-40B4-BE49-F238E27FC236}">
                <a16:creationId xmlns:a16="http://schemas.microsoft.com/office/drawing/2014/main" id="{527C29A5-427D-4CF6-845B-B66A351A5240}"/>
              </a:ext>
            </a:extLst>
          </p:cNvPr>
          <p:cNvSpPr>
            <a:spLocks noGrp="1"/>
          </p:cNvSpPr>
          <p:nvPr>
            <p:custDataLst>
              <p:tags r:id="rId19"/>
            </p:custDataLst>
          </p:nvPr>
        </p:nvSpPr>
        <p:spPr bwMode="auto">
          <a:xfrm>
            <a:off x="9791700" y="1839913"/>
            <a:ext cx="701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FD2C0435-1D38-4CDF-BFE6-25BCE5D19DA7}" type="datetime'''C''''o''''''''''''n''ti''''n''''''''''''''''g''''e''nc''y'''">
              <a:rPr lang="en-US" altLang="en-US" sz="1000" smtClean="0"/>
              <a:pPr lvl="0">
                <a:spcBef>
                  <a:spcPct val="0"/>
                </a:spcBef>
                <a:spcAft>
                  <a:spcPct val="0"/>
                </a:spcAft>
              </a:pPr>
              <a:t>Contingency</a:t>
            </a:fld>
            <a:endParaRPr lang="en-US" sz="1000" noProof="0"/>
          </a:p>
        </p:txBody>
      </p:sp>
      <p:sp>
        <p:nvSpPr>
          <p:cNvPr id="132" name="TextBox 131">
            <a:extLst>
              <a:ext uri="{FF2B5EF4-FFF2-40B4-BE49-F238E27FC236}">
                <a16:creationId xmlns:a16="http://schemas.microsoft.com/office/drawing/2014/main" id="{AE3DBCB6-9FA4-4B57-B7B5-EB2587A199DA}"/>
              </a:ext>
            </a:extLst>
          </p:cNvPr>
          <p:cNvSpPr txBox="1"/>
          <p:nvPr/>
        </p:nvSpPr>
        <p:spPr>
          <a:xfrm>
            <a:off x="9734399" y="1242236"/>
            <a:ext cx="2053455" cy="153888"/>
          </a:xfrm>
          <a:prstGeom prst="rect">
            <a:avLst/>
          </a:prstGeom>
          <a:noFill/>
          <a:ln>
            <a:noFill/>
          </a:ln>
        </p:spPr>
        <p:txBody>
          <a:bodyPr wrap="square" lIns="0" tIns="0" rIns="0" bIns="0" rtlCol="0">
            <a:spAutoFit/>
          </a:bodyPr>
          <a:lstStyle/>
          <a:p>
            <a:pPr algn="ctr"/>
            <a:r>
              <a:rPr lang="en-US" sz="1000" noProof="0">
                <a:solidFill>
                  <a:schemeClr val="tx1"/>
                </a:solidFill>
                <a:cs typeface="Arial" pitchFamily="34" charset="0"/>
              </a:rPr>
              <a:t>Figures are in Million US$</a:t>
            </a:r>
          </a:p>
        </p:txBody>
      </p:sp>
      <p:grpSp>
        <p:nvGrpSpPr>
          <p:cNvPr id="142" name="Group 141">
            <a:extLst>
              <a:ext uri="{FF2B5EF4-FFF2-40B4-BE49-F238E27FC236}">
                <a16:creationId xmlns:a16="http://schemas.microsoft.com/office/drawing/2014/main" id="{1A5DD14F-A614-4CCF-8A83-0AB12CD84F63}"/>
              </a:ext>
            </a:extLst>
          </p:cNvPr>
          <p:cNvGrpSpPr/>
          <p:nvPr/>
        </p:nvGrpSpPr>
        <p:grpSpPr>
          <a:xfrm>
            <a:off x="10606221" y="3120777"/>
            <a:ext cx="1469156" cy="651915"/>
            <a:chOff x="9914372" y="2884807"/>
            <a:chExt cx="1469156" cy="651915"/>
          </a:xfrm>
        </p:grpSpPr>
        <p:sp>
          <p:nvSpPr>
            <p:cNvPr id="134" name="TextBox 133">
              <a:extLst>
                <a:ext uri="{FF2B5EF4-FFF2-40B4-BE49-F238E27FC236}">
                  <a16:creationId xmlns:a16="http://schemas.microsoft.com/office/drawing/2014/main" id="{30D471BF-8E32-4523-A39D-4348BD082C07}"/>
                </a:ext>
              </a:extLst>
            </p:cNvPr>
            <p:cNvSpPr txBox="1"/>
            <p:nvPr/>
          </p:nvSpPr>
          <p:spPr>
            <a:xfrm>
              <a:off x="10530186" y="2884807"/>
              <a:ext cx="738034" cy="215444"/>
            </a:xfrm>
            <a:prstGeom prst="rect">
              <a:avLst/>
            </a:prstGeom>
            <a:noFill/>
            <a:ln>
              <a:noFill/>
            </a:ln>
          </p:spPr>
          <p:txBody>
            <a:bodyPr wrap="square" lIns="0" tIns="0" rIns="0" bIns="0" rtlCol="0">
              <a:spAutoFit/>
            </a:bodyPr>
            <a:lstStyle/>
            <a:p>
              <a:pPr algn="ctr"/>
              <a:r>
                <a:rPr lang="en-US" sz="1400" b="1" noProof="0">
                  <a:solidFill>
                    <a:schemeClr val="tx1"/>
                  </a:solidFill>
                  <a:cs typeface="Arial" pitchFamily="34" charset="0"/>
                </a:rPr>
                <a:t>VGF</a:t>
              </a:r>
            </a:p>
          </p:txBody>
        </p:sp>
        <p:sp>
          <p:nvSpPr>
            <p:cNvPr id="135" name="TextBox 134">
              <a:extLst>
                <a:ext uri="{FF2B5EF4-FFF2-40B4-BE49-F238E27FC236}">
                  <a16:creationId xmlns:a16="http://schemas.microsoft.com/office/drawing/2014/main" id="{F01092C1-33DC-477A-8443-F747C9BC52A0}"/>
                </a:ext>
              </a:extLst>
            </p:cNvPr>
            <p:cNvSpPr txBox="1"/>
            <p:nvPr/>
          </p:nvSpPr>
          <p:spPr>
            <a:xfrm>
              <a:off x="9914372" y="3321278"/>
              <a:ext cx="1469156" cy="215444"/>
            </a:xfrm>
            <a:prstGeom prst="rect">
              <a:avLst/>
            </a:prstGeom>
            <a:noFill/>
            <a:ln>
              <a:noFill/>
            </a:ln>
          </p:spPr>
          <p:txBody>
            <a:bodyPr wrap="square" lIns="0" tIns="0" rIns="0" bIns="0" rtlCol="0">
              <a:spAutoFit/>
            </a:bodyPr>
            <a:lstStyle/>
            <a:p>
              <a:pPr algn="ctr"/>
              <a:r>
                <a:rPr lang="en-US" sz="1400" noProof="0">
                  <a:solidFill>
                    <a:schemeClr val="tx1"/>
                  </a:solidFill>
                  <a:cs typeface="Arial" pitchFamily="34" charset="0"/>
                </a:rPr>
                <a:t>US$ 24.1 million</a:t>
              </a:r>
            </a:p>
          </p:txBody>
        </p:sp>
      </p:grpSp>
      <p:grpSp>
        <p:nvGrpSpPr>
          <p:cNvPr id="143" name="Group 142">
            <a:extLst>
              <a:ext uri="{FF2B5EF4-FFF2-40B4-BE49-F238E27FC236}">
                <a16:creationId xmlns:a16="http://schemas.microsoft.com/office/drawing/2014/main" id="{DD298466-D316-4E41-AFA4-9A5E7EBE2A6F}"/>
              </a:ext>
            </a:extLst>
          </p:cNvPr>
          <p:cNvGrpSpPr/>
          <p:nvPr/>
        </p:nvGrpSpPr>
        <p:grpSpPr>
          <a:xfrm>
            <a:off x="6617110" y="2999490"/>
            <a:ext cx="1469156" cy="773202"/>
            <a:chOff x="9914372" y="2763520"/>
            <a:chExt cx="1469156" cy="773202"/>
          </a:xfrm>
        </p:grpSpPr>
        <p:grpSp>
          <p:nvGrpSpPr>
            <p:cNvPr id="144" name="Group 143">
              <a:extLst>
                <a:ext uri="{FF2B5EF4-FFF2-40B4-BE49-F238E27FC236}">
                  <a16:creationId xmlns:a16="http://schemas.microsoft.com/office/drawing/2014/main" id="{CD4819EF-361A-4C0B-9355-492B46006484}"/>
                </a:ext>
              </a:extLst>
            </p:cNvPr>
            <p:cNvGrpSpPr/>
            <p:nvPr/>
          </p:nvGrpSpPr>
          <p:grpSpPr>
            <a:xfrm>
              <a:off x="10029681" y="2763520"/>
              <a:ext cx="1238539" cy="458019"/>
              <a:chOff x="10050891" y="2763520"/>
              <a:chExt cx="1238539" cy="458019"/>
            </a:xfrm>
          </p:grpSpPr>
          <p:sp>
            <p:nvSpPr>
              <p:cNvPr id="146" name="Freeform 73">
                <a:extLst>
                  <a:ext uri="{FF2B5EF4-FFF2-40B4-BE49-F238E27FC236}">
                    <a16:creationId xmlns:a16="http://schemas.microsoft.com/office/drawing/2014/main" id="{C60921A7-6736-45E0-BE17-6D5D6A986606}"/>
                  </a:ext>
                </a:extLst>
              </p:cNvPr>
              <p:cNvSpPr>
                <a:spLocks noChangeAspect="1" noEditPoints="1"/>
              </p:cNvSpPr>
              <p:nvPr/>
            </p:nvSpPr>
            <p:spPr bwMode="auto">
              <a:xfrm>
                <a:off x="10050891" y="2763520"/>
                <a:ext cx="458087" cy="458019"/>
              </a:xfrm>
              <a:custGeom>
                <a:avLst/>
                <a:gdLst>
                  <a:gd name="T0" fmla="*/ 6709 w 6709"/>
                  <a:gd name="T1" fmla="*/ 0 h 6708"/>
                  <a:gd name="T2" fmla="*/ 2508 w 6709"/>
                  <a:gd name="T3" fmla="*/ 5788 h 6708"/>
                  <a:gd name="T4" fmla="*/ 2430 w 6709"/>
                  <a:gd name="T5" fmla="*/ 5806 h 6708"/>
                  <a:gd name="T6" fmla="*/ 2342 w 6709"/>
                  <a:gd name="T7" fmla="*/ 5764 h 6708"/>
                  <a:gd name="T8" fmla="*/ 1534 w 6709"/>
                  <a:gd name="T9" fmla="*/ 4892 h 6708"/>
                  <a:gd name="T10" fmla="*/ 1536 w 6709"/>
                  <a:gd name="T11" fmla="*/ 4802 h 6708"/>
                  <a:gd name="T12" fmla="*/ 1658 w 6709"/>
                  <a:gd name="T13" fmla="*/ 4404 h 6708"/>
                  <a:gd name="T14" fmla="*/ 1504 w 6709"/>
                  <a:gd name="T15" fmla="*/ 4280 h 6708"/>
                  <a:gd name="T16" fmla="*/ 1388 w 6709"/>
                  <a:gd name="T17" fmla="*/ 4084 h 6708"/>
                  <a:gd name="T18" fmla="*/ 1868 w 6709"/>
                  <a:gd name="T19" fmla="*/ 2096 h 6708"/>
                  <a:gd name="T20" fmla="*/ 2684 w 6709"/>
                  <a:gd name="T21" fmla="*/ 1736 h 6708"/>
                  <a:gd name="T22" fmla="*/ 2958 w 6709"/>
                  <a:gd name="T23" fmla="*/ 1754 h 6708"/>
                  <a:gd name="T24" fmla="*/ 1732 w 6709"/>
                  <a:gd name="T25" fmla="*/ 3102 h 6708"/>
                  <a:gd name="T26" fmla="*/ 1572 w 6709"/>
                  <a:gd name="T27" fmla="*/ 3390 h 6708"/>
                  <a:gd name="T28" fmla="*/ 1608 w 6709"/>
                  <a:gd name="T29" fmla="*/ 3674 h 6708"/>
                  <a:gd name="T30" fmla="*/ 1740 w 6709"/>
                  <a:gd name="T31" fmla="*/ 3848 h 6708"/>
                  <a:gd name="T32" fmla="*/ 1978 w 6709"/>
                  <a:gd name="T33" fmla="*/ 3956 h 6708"/>
                  <a:gd name="T34" fmla="*/ 2278 w 6709"/>
                  <a:gd name="T35" fmla="*/ 3910 h 6708"/>
                  <a:gd name="T36" fmla="*/ 2882 w 6709"/>
                  <a:gd name="T37" fmla="*/ 3398 h 6708"/>
                  <a:gd name="T38" fmla="*/ 3172 w 6709"/>
                  <a:gd name="T39" fmla="*/ 3238 h 6708"/>
                  <a:gd name="T40" fmla="*/ 3377 w 6709"/>
                  <a:gd name="T41" fmla="*/ 3228 h 6708"/>
                  <a:gd name="T42" fmla="*/ 5341 w 6709"/>
                  <a:gd name="T43" fmla="*/ 4200 h 6708"/>
                  <a:gd name="T44" fmla="*/ 5373 w 6709"/>
                  <a:gd name="T45" fmla="*/ 4246 h 6708"/>
                  <a:gd name="T46" fmla="*/ 3985 w 6709"/>
                  <a:gd name="T47" fmla="*/ 5558 h 6708"/>
                  <a:gd name="T48" fmla="*/ 3889 w 6709"/>
                  <a:gd name="T49" fmla="*/ 5616 h 6708"/>
                  <a:gd name="T50" fmla="*/ 5215 w 6709"/>
                  <a:gd name="T51" fmla="*/ 3814 h 6708"/>
                  <a:gd name="T52" fmla="*/ 3661 w 6709"/>
                  <a:gd name="T53" fmla="*/ 3014 h 6708"/>
                  <a:gd name="T54" fmla="*/ 3399 w 6709"/>
                  <a:gd name="T55" fmla="*/ 2942 h 6708"/>
                  <a:gd name="T56" fmla="*/ 3142 w 6709"/>
                  <a:gd name="T57" fmla="*/ 2950 h 6708"/>
                  <a:gd name="T58" fmla="*/ 2894 w 6709"/>
                  <a:gd name="T59" fmla="*/ 3042 h 6708"/>
                  <a:gd name="T60" fmla="*/ 2192 w 6709"/>
                  <a:gd name="T61" fmla="*/ 3626 h 6708"/>
                  <a:gd name="T62" fmla="*/ 2082 w 6709"/>
                  <a:gd name="T63" fmla="*/ 3676 h 6708"/>
                  <a:gd name="T64" fmla="*/ 1948 w 6709"/>
                  <a:gd name="T65" fmla="*/ 3646 h 6708"/>
                  <a:gd name="T66" fmla="*/ 1868 w 6709"/>
                  <a:gd name="T67" fmla="*/ 3556 h 6708"/>
                  <a:gd name="T68" fmla="*/ 1854 w 6709"/>
                  <a:gd name="T69" fmla="*/ 3438 h 6708"/>
                  <a:gd name="T70" fmla="*/ 1920 w 6709"/>
                  <a:gd name="T71" fmla="*/ 3316 h 6708"/>
                  <a:gd name="T72" fmla="*/ 3493 w 6709"/>
                  <a:gd name="T73" fmla="*/ 1978 h 6708"/>
                  <a:gd name="T74" fmla="*/ 3707 w 6709"/>
                  <a:gd name="T75" fmla="*/ 1956 h 6708"/>
                  <a:gd name="T76" fmla="*/ 6423 w 6709"/>
                  <a:gd name="T77" fmla="*/ 2402 h 6708"/>
                  <a:gd name="T78" fmla="*/ 3891 w 6709"/>
                  <a:gd name="T79" fmla="*/ 1710 h 6708"/>
                  <a:gd name="T80" fmla="*/ 3675 w 6709"/>
                  <a:gd name="T81" fmla="*/ 1668 h 6708"/>
                  <a:gd name="T82" fmla="*/ 3457 w 6709"/>
                  <a:gd name="T83" fmla="*/ 1692 h 6708"/>
                  <a:gd name="T84" fmla="*/ 2982 w 6709"/>
                  <a:gd name="T85" fmla="*/ 1466 h 6708"/>
                  <a:gd name="T86" fmla="*/ 2588 w 6709"/>
                  <a:gd name="T87" fmla="*/ 1462 h 6708"/>
                  <a:gd name="T88" fmla="*/ 286 w 6709"/>
                  <a:gd name="T89" fmla="*/ 286 h 6708"/>
                  <a:gd name="T90" fmla="*/ 1088 w 6709"/>
                  <a:gd name="T91" fmla="*/ 4076 h 6708"/>
                  <a:gd name="T92" fmla="*/ 1182 w 6709"/>
                  <a:gd name="T93" fmla="*/ 4318 h 6708"/>
                  <a:gd name="T94" fmla="*/ 1342 w 6709"/>
                  <a:gd name="T95" fmla="*/ 4522 h 6708"/>
                  <a:gd name="T96" fmla="*/ 1264 w 6709"/>
                  <a:gd name="T97" fmla="*/ 4716 h 6708"/>
                  <a:gd name="T98" fmla="*/ 1266 w 6709"/>
                  <a:gd name="T99" fmla="*/ 4988 h 6708"/>
                  <a:gd name="T100" fmla="*/ 2146 w 6709"/>
                  <a:gd name="T101" fmla="*/ 5976 h 6708"/>
                  <a:gd name="T102" fmla="*/ 2410 w 6709"/>
                  <a:gd name="T103" fmla="*/ 6090 h 6708"/>
                  <a:gd name="T104" fmla="*/ 2588 w 6709"/>
                  <a:gd name="T105" fmla="*/ 6066 h 6708"/>
                  <a:gd name="T106" fmla="*/ 3677 w 6709"/>
                  <a:gd name="T107" fmla="*/ 5848 h 6708"/>
                  <a:gd name="T108" fmla="*/ 3855 w 6709"/>
                  <a:gd name="T109" fmla="*/ 5902 h 6708"/>
                  <a:gd name="T110" fmla="*/ 4003 w 6709"/>
                  <a:gd name="T111" fmla="*/ 5886 h 6708"/>
                  <a:gd name="T112" fmla="*/ 4153 w 6709"/>
                  <a:gd name="T113" fmla="*/ 5800 h 6708"/>
                  <a:gd name="T114" fmla="*/ 5583 w 6709"/>
                  <a:gd name="T115" fmla="*/ 4476 h 6708"/>
                  <a:gd name="T116" fmla="*/ 5657 w 6709"/>
                  <a:gd name="T117" fmla="*/ 4210 h 6708"/>
                  <a:gd name="T118" fmla="*/ 5559 w 6709"/>
                  <a:gd name="T119" fmla="*/ 4010 h 6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09" h="6708">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rgbClr val="A3202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47" name="TextBox 146">
                <a:extLst>
                  <a:ext uri="{FF2B5EF4-FFF2-40B4-BE49-F238E27FC236}">
                    <a16:creationId xmlns:a16="http://schemas.microsoft.com/office/drawing/2014/main" id="{BB0A644A-59BD-450C-BCA9-8BEC1AA96EAB}"/>
                  </a:ext>
                </a:extLst>
              </p:cNvPr>
              <p:cNvSpPr txBox="1"/>
              <p:nvPr/>
            </p:nvSpPr>
            <p:spPr>
              <a:xfrm>
                <a:off x="10551396" y="2884807"/>
                <a:ext cx="738034" cy="215444"/>
              </a:xfrm>
              <a:prstGeom prst="rect">
                <a:avLst/>
              </a:prstGeom>
              <a:noFill/>
              <a:ln>
                <a:noFill/>
              </a:ln>
            </p:spPr>
            <p:txBody>
              <a:bodyPr wrap="square" lIns="0" tIns="0" rIns="0" bIns="0" rtlCol="0">
                <a:spAutoFit/>
              </a:bodyPr>
              <a:lstStyle/>
              <a:p>
                <a:pPr algn="ctr"/>
                <a:r>
                  <a:rPr lang="en-US" sz="1400" b="1" noProof="0">
                    <a:solidFill>
                      <a:schemeClr val="tx1"/>
                    </a:solidFill>
                    <a:cs typeface="Arial" pitchFamily="34" charset="0"/>
                  </a:rPr>
                  <a:t>Equity</a:t>
                </a:r>
              </a:p>
            </p:txBody>
          </p:sp>
        </p:grpSp>
        <p:sp>
          <p:nvSpPr>
            <p:cNvPr id="145" name="TextBox 144">
              <a:extLst>
                <a:ext uri="{FF2B5EF4-FFF2-40B4-BE49-F238E27FC236}">
                  <a16:creationId xmlns:a16="http://schemas.microsoft.com/office/drawing/2014/main" id="{D3A3A752-5DD2-41D3-A3F9-F23F9B9389B7}"/>
                </a:ext>
              </a:extLst>
            </p:cNvPr>
            <p:cNvSpPr txBox="1"/>
            <p:nvPr/>
          </p:nvSpPr>
          <p:spPr>
            <a:xfrm>
              <a:off x="9914372" y="3321278"/>
              <a:ext cx="1469156" cy="215444"/>
            </a:xfrm>
            <a:prstGeom prst="rect">
              <a:avLst/>
            </a:prstGeom>
            <a:noFill/>
            <a:ln>
              <a:noFill/>
            </a:ln>
          </p:spPr>
          <p:txBody>
            <a:bodyPr wrap="square" lIns="0" tIns="0" rIns="0" bIns="0" rtlCol="0">
              <a:spAutoFit/>
            </a:bodyPr>
            <a:lstStyle/>
            <a:p>
              <a:pPr algn="ctr"/>
              <a:r>
                <a:rPr lang="en-US" sz="1400" noProof="0">
                  <a:solidFill>
                    <a:schemeClr val="tx1"/>
                  </a:solidFill>
                  <a:cs typeface="Arial" pitchFamily="34" charset="0"/>
                </a:rPr>
                <a:t>US$ 4 million</a:t>
              </a:r>
            </a:p>
          </p:txBody>
        </p:sp>
      </p:grpSp>
      <p:grpSp>
        <p:nvGrpSpPr>
          <p:cNvPr id="148" name="Group 147">
            <a:extLst>
              <a:ext uri="{FF2B5EF4-FFF2-40B4-BE49-F238E27FC236}">
                <a16:creationId xmlns:a16="http://schemas.microsoft.com/office/drawing/2014/main" id="{0C81CD82-0F81-41FA-B8BC-D58FD7E570A7}"/>
              </a:ext>
            </a:extLst>
          </p:cNvPr>
          <p:cNvGrpSpPr/>
          <p:nvPr/>
        </p:nvGrpSpPr>
        <p:grpSpPr>
          <a:xfrm>
            <a:off x="8611665" y="2999490"/>
            <a:ext cx="1469156" cy="773202"/>
            <a:chOff x="9914372" y="2763520"/>
            <a:chExt cx="1469156" cy="773202"/>
          </a:xfrm>
        </p:grpSpPr>
        <p:grpSp>
          <p:nvGrpSpPr>
            <p:cNvPr id="149" name="Group 148">
              <a:extLst>
                <a:ext uri="{FF2B5EF4-FFF2-40B4-BE49-F238E27FC236}">
                  <a16:creationId xmlns:a16="http://schemas.microsoft.com/office/drawing/2014/main" id="{33550AB9-3227-4231-953E-FEDFB17EE276}"/>
                </a:ext>
              </a:extLst>
            </p:cNvPr>
            <p:cNvGrpSpPr/>
            <p:nvPr/>
          </p:nvGrpSpPr>
          <p:grpSpPr>
            <a:xfrm>
              <a:off x="10029681" y="2763520"/>
              <a:ext cx="1238539" cy="458019"/>
              <a:chOff x="10050891" y="2763520"/>
              <a:chExt cx="1238539" cy="458019"/>
            </a:xfrm>
          </p:grpSpPr>
          <p:sp>
            <p:nvSpPr>
              <p:cNvPr id="151" name="Freeform 73">
                <a:extLst>
                  <a:ext uri="{FF2B5EF4-FFF2-40B4-BE49-F238E27FC236}">
                    <a16:creationId xmlns:a16="http://schemas.microsoft.com/office/drawing/2014/main" id="{397EB500-CD02-426D-A3C9-98EE09EA1D1B}"/>
                  </a:ext>
                </a:extLst>
              </p:cNvPr>
              <p:cNvSpPr>
                <a:spLocks noChangeAspect="1" noEditPoints="1"/>
              </p:cNvSpPr>
              <p:nvPr/>
            </p:nvSpPr>
            <p:spPr bwMode="auto">
              <a:xfrm>
                <a:off x="10050891" y="2763520"/>
                <a:ext cx="458087" cy="458019"/>
              </a:xfrm>
              <a:custGeom>
                <a:avLst/>
                <a:gdLst>
                  <a:gd name="T0" fmla="*/ 6709 w 6709"/>
                  <a:gd name="T1" fmla="*/ 0 h 6708"/>
                  <a:gd name="T2" fmla="*/ 2508 w 6709"/>
                  <a:gd name="T3" fmla="*/ 5788 h 6708"/>
                  <a:gd name="T4" fmla="*/ 2430 w 6709"/>
                  <a:gd name="T5" fmla="*/ 5806 h 6708"/>
                  <a:gd name="T6" fmla="*/ 2342 w 6709"/>
                  <a:gd name="T7" fmla="*/ 5764 h 6708"/>
                  <a:gd name="T8" fmla="*/ 1534 w 6709"/>
                  <a:gd name="T9" fmla="*/ 4892 h 6708"/>
                  <a:gd name="T10" fmla="*/ 1536 w 6709"/>
                  <a:gd name="T11" fmla="*/ 4802 h 6708"/>
                  <a:gd name="T12" fmla="*/ 1658 w 6709"/>
                  <a:gd name="T13" fmla="*/ 4404 h 6708"/>
                  <a:gd name="T14" fmla="*/ 1504 w 6709"/>
                  <a:gd name="T15" fmla="*/ 4280 h 6708"/>
                  <a:gd name="T16" fmla="*/ 1388 w 6709"/>
                  <a:gd name="T17" fmla="*/ 4084 h 6708"/>
                  <a:gd name="T18" fmla="*/ 1868 w 6709"/>
                  <a:gd name="T19" fmla="*/ 2096 h 6708"/>
                  <a:gd name="T20" fmla="*/ 2684 w 6709"/>
                  <a:gd name="T21" fmla="*/ 1736 h 6708"/>
                  <a:gd name="T22" fmla="*/ 2958 w 6709"/>
                  <a:gd name="T23" fmla="*/ 1754 h 6708"/>
                  <a:gd name="T24" fmla="*/ 1732 w 6709"/>
                  <a:gd name="T25" fmla="*/ 3102 h 6708"/>
                  <a:gd name="T26" fmla="*/ 1572 w 6709"/>
                  <a:gd name="T27" fmla="*/ 3390 h 6708"/>
                  <a:gd name="T28" fmla="*/ 1608 w 6709"/>
                  <a:gd name="T29" fmla="*/ 3674 h 6708"/>
                  <a:gd name="T30" fmla="*/ 1740 w 6709"/>
                  <a:gd name="T31" fmla="*/ 3848 h 6708"/>
                  <a:gd name="T32" fmla="*/ 1978 w 6709"/>
                  <a:gd name="T33" fmla="*/ 3956 h 6708"/>
                  <a:gd name="T34" fmla="*/ 2278 w 6709"/>
                  <a:gd name="T35" fmla="*/ 3910 h 6708"/>
                  <a:gd name="T36" fmla="*/ 2882 w 6709"/>
                  <a:gd name="T37" fmla="*/ 3398 h 6708"/>
                  <a:gd name="T38" fmla="*/ 3172 w 6709"/>
                  <a:gd name="T39" fmla="*/ 3238 h 6708"/>
                  <a:gd name="T40" fmla="*/ 3377 w 6709"/>
                  <a:gd name="T41" fmla="*/ 3228 h 6708"/>
                  <a:gd name="T42" fmla="*/ 5341 w 6709"/>
                  <a:gd name="T43" fmla="*/ 4200 h 6708"/>
                  <a:gd name="T44" fmla="*/ 5373 w 6709"/>
                  <a:gd name="T45" fmla="*/ 4246 h 6708"/>
                  <a:gd name="T46" fmla="*/ 3985 w 6709"/>
                  <a:gd name="T47" fmla="*/ 5558 h 6708"/>
                  <a:gd name="T48" fmla="*/ 3889 w 6709"/>
                  <a:gd name="T49" fmla="*/ 5616 h 6708"/>
                  <a:gd name="T50" fmla="*/ 5215 w 6709"/>
                  <a:gd name="T51" fmla="*/ 3814 h 6708"/>
                  <a:gd name="T52" fmla="*/ 3661 w 6709"/>
                  <a:gd name="T53" fmla="*/ 3014 h 6708"/>
                  <a:gd name="T54" fmla="*/ 3399 w 6709"/>
                  <a:gd name="T55" fmla="*/ 2942 h 6708"/>
                  <a:gd name="T56" fmla="*/ 3142 w 6709"/>
                  <a:gd name="T57" fmla="*/ 2950 h 6708"/>
                  <a:gd name="T58" fmla="*/ 2894 w 6709"/>
                  <a:gd name="T59" fmla="*/ 3042 h 6708"/>
                  <a:gd name="T60" fmla="*/ 2192 w 6709"/>
                  <a:gd name="T61" fmla="*/ 3626 h 6708"/>
                  <a:gd name="T62" fmla="*/ 2082 w 6709"/>
                  <a:gd name="T63" fmla="*/ 3676 h 6708"/>
                  <a:gd name="T64" fmla="*/ 1948 w 6709"/>
                  <a:gd name="T65" fmla="*/ 3646 h 6708"/>
                  <a:gd name="T66" fmla="*/ 1868 w 6709"/>
                  <a:gd name="T67" fmla="*/ 3556 h 6708"/>
                  <a:gd name="T68" fmla="*/ 1854 w 6709"/>
                  <a:gd name="T69" fmla="*/ 3438 h 6708"/>
                  <a:gd name="T70" fmla="*/ 1920 w 6709"/>
                  <a:gd name="T71" fmla="*/ 3316 h 6708"/>
                  <a:gd name="T72" fmla="*/ 3493 w 6709"/>
                  <a:gd name="T73" fmla="*/ 1978 h 6708"/>
                  <a:gd name="T74" fmla="*/ 3707 w 6709"/>
                  <a:gd name="T75" fmla="*/ 1956 h 6708"/>
                  <a:gd name="T76" fmla="*/ 6423 w 6709"/>
                  <a:gd name="T77" fmla="*/ 2402 h 6708"/>
                  <a:gd name="T78" fmla="*/ 3891 w 6709"/>
                  <a:gd name="T79" fmla="*/ 1710 h 6708"/>
                  <a:gd name="T80" fmla="*/ 3675 w 6709"/>
                  <a:gd name="T81" fmla="*/ 1668 h 6708"/>
                  <a:gd name="T82" fmla="*/ 3457 w 6709"/>
                  <a:gd name="T83" fmla="*/ 1692 h 6708"/>
                  <a:gd name="T84" fmla="*/ 2982 w 6709"/>
                  <a:gd name="T85" fmla="*/ 1466 h 6708"/>
                  <a:gd name="T86" fmla="*/ 2588 w 6709"/>
                  <a:gd name="T87" fmla="*/ 1462 h 6708"/>
                  <a:gd name="T88" fmla="*/ 286 w 6709"/>
                  <a:gd name="T89" fmla="*/ 286 h 6708"/>
                  <a:gd name="T90" fmla="*/ 1088 w 6709"/>
                  <a:gd name="T91" fmla="*/ 4076 h 6708"/>
                  <a:gd name="T92" fmla="*/ 1182 w 6709"/>
                  <a:gd name="T93" fmla="*/ 4318 h 6708"/>
                  <a:gd name="T94" fmla="*/ 1342 w 6709"/>
                  <a:gd name="T95" fmla="*/ 4522 h 6708"/>
                  <a:gd name="T96" fmla="*/ 1264 w 6709"/>
                  <a:gd name="T97" fmla="*/ 4716 h 6708"/>
                  <a:gd name="T98" fmla="*/ 1266 w 6709"/>
                  <a:gd name="T99" fmla="*/ 4988 h 6708"/>
                  <a:gd name="T100" fmla="*/ 2146 w 6709"/>
                  <a:gd name="T101" fmla="*/ 5976 h 6708"/>
                  <a:gd name="T102" fmla="*/ 2410 w 6709"/>
                  <a:gd name="T103" fmla="*/ 6090 h 6708"/>
                  <a:gd name="T104" fmla="*/ 2588 w 6709"/>
                  <a:gd name="T105" fmla="*/ 6066 h 6708"/>
                  <a:gd name="T106" fmla="*/ 3677 w 6709"/>
                  <a:gd name="T107" fmla="*/ 5848 h 6708"/>
                  <a:gd name="T108" fmla="*/ 3855 w 6709"/>
                  <a:gd name="T109" fmla="*/ 5902 h 6708"/>
                  <a:gd name="T110" fmla="*/ 4003 w 6709"/>
                  <a:gd name="T111" fmla="*/ 5886 h 6708"/>
                  <a:gd name="T112" fmla="*/ 4153 w 6709"/>
                  <a:gd name="T113" fmla="*/ 5800 h 6708"/>
                  <a:gd name="T114" fmla="*/ 5583 w 6709"/>
                  <a:gd name="T115" fmla="*/ 4476 h 6708"/>
                  <a:gd name="T116" fmla="*/ 5657 w 6709"/>
                  <a:gd name="T117" fmla="*/ 4210 h 6708"/>
                  <a:gd name="T118" fmla="*/ 5559 w 6709"/>
                  <a:gd name="T119" fmla="*/ 4010 h 6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09" h="6708">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rgbClr val="A3202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52" name="TextBox 151">
                <a:extLst>
                  <a:ext uri="{FF2B5EF4-FFF2-40B4-BE49-F238E27FC236}">
                    <a16:creationId xmlns:a16="http://schemas.microsoft.com/office/drawing/2014/main" id="{6DBED1D0-6C34-470B-9F9D-4FDA97A7CC27}"/>
                  </a:ext>
                </a:extLst>
              </p:cNvPr>
              <p:cNvSpPr txBox="1"/>
              <p:nvPr/>
            </p:nvSpPr>
            <p:spPr>
              <a:xfrm>
                <a:off x="10551396" y="2884807"/>
                <a:ext cx="738034" cy="215444"/>
              </a:xfrm>
              <a:prstGeom prst="rect">
                <a:avLst/>
              </a:prstGeom>
              <a:noFill/>
              <a:ln>
                <a:noFill/>
              </a:ln>
            </p:spPr>
            <p:txBody>
              <a:bodyPr wrap="square" lIns="0" tIns="0" rIns="0" bIns="0" rtlCol="0">
                <a:spAutoFit/>
              </a:bodyPr>
              <a:lstStyle/>
              <a:p>
                <a:pPr algn="ctr"/>
                <a:r>
                  <a:rPr lang="en-US" sz="1400" b="1" noProof="0">
                    <a:solidFill>
                      <a:schemeClr val="tx1"/>
                    </a:solidFill>
                    <a:cs typeface="Arial" pitchFamily="34" charset="0"/>
                  </a:rPr>
                  <a:t>Debt</a:t>
                </a:r>
              </a:p>
            </p:txBody>
          </p:sp>
        </p:grpSp>
        <p:sp>
          <p:nvSpPr>
            <p:cNvPr id="150" name="TextBox 149">
              <a:extLst>
                <a:ext uri="{FF2B5EF4-FFF2-40B4-BE49-F238E27FC236}">
                  <a16:creationId xmlns:a16="http://schemas.microsoft.com/office/drawing/2014/main" id="{02C026A6-01F2-436C-A525-78F31BEBEE91}"/>
                </a:ext>
              </a:extLst>
            </p:cNvPr>
            <p:cNvSpPr txBox="1"/>
            <p:nvPr/>
          </p:nvSpPr>
          <p:spPr>
            <a:xfrm>
              <a:off x="9914372" y="3321278"/>
              <a:ext cx="1469156" cy="215444"/>
            </a:xfrm>
            <a:prstGeom prst="rect">
              <a:avLst/>
            </a:prstGeom>
            <a:noFill/>
            <a:ln>
              <a:noFill/>
            </a:ln>
          </p:spPr>
          <p:txBody>
            <a:bodyPr wrap="square" lIns="0" tIns="0" rIns="0" bIns="0" rtlCol="0">
              <a:spAutoFit/>
            </a:bodyPr>
            <a:lstStyle/>
            <a:p>
              <a:pPr algn="ctr"/>
              <a:r>
                <a:rPr lang="en-US" sz="1400" noProof="0">
                  <a:solidFill>
                    <a:schemeClr val="tx1"/>
                  </a:solidFill>
                  <a:cs typeface="Arial" pitchFamily="34" charset="0"/>
                </a:rPr>
                <a:t>US$ 4.4 million</a:t>
              </a:r>
            </a:p>
          </p:txBody>
        </p:sp>
      </p:grpSp>
      <p:grpSp>
        <p:nvGrpSpPr>
          <p:cNvPr id="153" name="Group 152">
            <a:extLst>
              <a:ext uri="{FF2B5EF4-FFF2-40B4-BE49-F238E27FC236}">
                <a16:creationId xmlns:a16="http://schemas.microsoft.com/office/drawing/2014/main" id="{815BF34E-E47A-4935-935E-F2AC482392AB}"/>
              </a:ext>
            </a:extLst>
          </p:cNvPr>
          <p:cNvGrpSpPr/>
          <p:nvPr/>
        </p:nvGrpSpPr>
        <p:grpSpPr>
          <a:xfrm>
            <a:off x="3594474" y="2999490"/>
            <a:ext cx="1469156" cy="773202"/>
            <a:chOff x="9914372" y="2763520"/>
            <a:chExt cx="1469156" cy="773202"/>
          </a:xfrm>
        </p:grpSpPr>
        <p:grpSp>
          <p:nvGrpSpPr>
            <p:cNvPr id="154" name="Group 153">
              <a:extLst>
                <a:ext uri="{FF2B5EF4-FFF2-40B4-BE49-F238E27FC236}">
                  <a16:creationId xmlns:a16="http://schemas.microsoft.com/office/drawing/2014/main" id="{58DFA0B9-A6AB-4287-9759-C5AB2EAE8F3F}"/>
                </a:ext>
              </a:extLst>
            </p:cNvPr>
            <p:cNvGrpSpPr/>
            <p:nvPr/>
          </p:nvGrpSpPr>
          <p:grpSpPr>
            <a:xfrm>
              <a:off x="10029681" y="2763520"/>
              <a:ext cx="1238539" cy="458019"/>
              <a:chOff x="10050891" y="2763520"/>
              <a:chExt cx="1238539" cy="458019"/>
            </a:xfrm>
          </p:grpSpPr>
          <p:sp>
            <p:nvSpPr>
              <p:cNvPr id="156" name="Freeform 73">
                <a:extLst>
                  <a:ext uri="{FF2B5EF4-FFF2-40B4-BE49-F238E27FC236}">
                    <a16:creationId xmlns:a16="http://schemas.microsoft.com/office/drawing/2014/main" id="{965BCA2E-A409-40C0-84AA-4E53834AC31E}"/>
                  </a:ext>
                </a:extLst>
              </p:cNvPr>
              <p:cNvSpPr>
                <a:spLocks noChangeAspect="1" noEditPoints="1"/>
              </p:cNvSpPr>
              <p:nvPr/>
            </p:nvSpPr>
            <p:spPr bwMode="auto">
              <a:xfrm>
                <a:off x="10050891" y="2763520"/>
                <a:ext cx="458087" cy="458019"/>
              </a:xfrm>
              <a:custGeom>
                <a:avLst/>
                <a:gdLst>
                  <a:gd name="T0" fmla="*/ 6709 w 6709"/>
                  <a:gd name="T1" fmla="*/ 0 h 6708"/>
                  <a:gd name="T2" fmla="*/ 2508 w 6709"/>
                  <a:gd name="T3" fmla="*/ 5788 h 6708"/>
                  <a:gd name="T4" fmla="*/ 2430 w 6709"/>
                  <a:gd name="T5" fmla="*/ 5806 h 6708"/>
                  <a:gd name="T6" fmla="*/ 2342 w 6709"/>
                  <a:gd name="T7" fmla="*/ 5764 h 6708"/>
                  <a:gd name="T8" fmla="*/ 1534 w 6709"/>
                  <a:gd name="T9" fmla="*/ 4892 h 6708"/>
                  <a:gd name="T10" fmla="*/ 1536 w 6709"/>
                  <a:gd name="T11" fmla="*/ 4802 h 6708"/>
                  <a:gd name="T12" fmla="*/ 1658 w 6709"/>
                  <a:gd name="T13" fmla="*/ 4404 h 6708"/>
                  <a:gd name="T14" fmla="*/ 1504 w 6709"/>
                  <a:gd name="T15" fmla="*/ 4280 h 6708"/>
                  <a:gd name="T16" fmla="*/ 1388 w 6709"/>
                  <a:gd name="T17" fmla="*/ 4084 h 6708"/>
                  <a:gd name="T18" fmla="*/ 1868 w 6709"/>
                  <a:gd name="T19" fmla="*/ 2096 h 6708"/>
                  <a:gd name="T20" fmla="*/ 2684 w 6709"/>
                  <a:gd name="T21" fmla="*/ 1736 h 6708"/>
                  <a:gd name="T22" fmla="*/ 2958 w 6709"/>
                  <a:gd name="T23" fmla="*/ 1754 h 6708"/>
                  <a:gd name="T24" fmla="*/ 1732 w 6709"/>
                  <a:gd name="T25" fmla="*/ 3102 h 6708"/>
                  <a:gd name="T26" fmla="*/ 1572 w 6709"/>
                  <a:gd name="T27" fmla="*/ 3390 h 6708"/>
                  <a:gd name="T28" fmla="*/ 1608 w 6709"/>
                  <a:gd name="T29" fmla="*/ 3674 h 6708"/>
                  <a:gd name="T30" fmla="*/ 1740 w 6709"/>
                  <a:gd name="T31" fmla="*/ 3848 h 6708"/>
                  <a:gd name="T32" fmla="*/ 1978 w 6709"/>
                  <a:gd name="T33" fmla="*/ 3956 h 6708"/>
                  <a:gd name="T34" fmla="*/ 2278 w 6709"/>
                  <a:gd name="T35" fmla="*/ 3910 h 6708"/>
                  <a:gd name="T36" fmla="*/ 2882 w 6709"/>
                  <a:gd name="T37" fmla="*/ 3398 h 6708"/>
                  <a:gd name="T38" fmla="*/ 3172 w 6709"/>
                  <a:gd name="T39" fmla="*/ 3238 h 6708"/>
                  <a:gd name="T40" fmla="*/ 3377 w 6709"/>
                  <a:gd name="T41" fmla="*/ 3228 h 6708"/>
                  <a:gd name="T42" fmla="*/ 5341 w 6709"/>
                  <a:gd name="T43" fmla="*/ 4200 h 6708"/>
                  <a:gd name="T44" fmla="*/ 5373 w 6709"/>
                  <a:gd name="T45" fmla="*/ 4246 h 6708"/>
                  <a:gd name="T46" fmla="*/ 3985 w 6709"/>
                  <a:gd name="T47" fmla="*/ 5558 h 6708"/>
                  <a:gd name="T48" fmla="*/ 3889 w 6709"/>
                  <a:gd name="T49" fmla="*/ 5616 h 6708"/>
                  <a:gd name="T50" fmla="*/ 5215 w 6709"/>
                  <a:gd name="T51" fmla="*/ 3814 h 6708"/>
                  <a:gd name="T52" fmla="*/ 3661 w 6709"/>
                  <a:gd name="T53" fmla="*/ 3014 h 6708"/>
                  <a:gd name="T54" fmla="*/ 3399 w 6709"/>
                  <a:gd name="T55" fmla="*/ 2942 h 6708"/>
                  <a:gd name="T56" fmla="*/ 3142 w 6709"/>
                  <a:gd name="T57" fmla="*/ 2950 h 6708"/>
                  <a:gd name="T58" fmla="*/ 2894 w 6709"/>
                  <a:gd name="T59" fmla="*/ 3042 h 6708"/>
                  <a:gd name="T60" fmla="*/ 2192 w 6709"/>
                  <a:gd name="T61" fmla="*/ 3626 h 6708"/>
                  <a:gd name="T62" fmla="*/ 2082 w 6709"/>
                  <a:gd name="T63" fmla="*/ 3676 h 6708"/>
                  <a:gd name="T64" fmla="*/ 1948 w 6709"/>
                  <a:gd name="T65" fmla="*/ 3646 h 6708"/>
                  <a:gd name="T66" fmla="*/ 1868 w 6709"/>
                  <a:gd name="T67" fmla="*/ 3556 h 6708"/>
                  <a:gd name="T68" fmla="*/ 1854 w 6709"/>
                  <a:gd name="T69" fmla="*/ 3438 h 6708"/>
                  <a:gd name="T70" fmla="*/ 1920 w 6709"/>
                  <a:gd name="T71" fmla="*/ 3316 h 6708"/>
                  <a:gd name="T72" fmla="*/ 3493 w 6709"/>
                  <a:gd name="T73" fmla="*/ 1978 h 6708"/>
                  <a:gd name="T74" fmla="*/ 3707 w 6709"/>
                  <a:gd name="T75" fmla="*/ 1956 h 6708"/>
                  <a:gd name="T76" fmla="*/ 6423 w 6709"/>
                  <a:gd name="T77" fmla="*/ 2402 h 6708"/>
                  <a:gd name="T78" fmla="*/ 3891 w 6709"/>
                  <a:gd name="T79" fmla="*/ 1710 h 6708"/>
                  <a:gd name="T80" fmla="*/ 3675 w 6709"/>
                  <a:gd name="T81" fmla="*/ 1668 h 6708"/>
                  <a:gd name="T82" fmla="*/ 3457 w 6709"/>
                  <a:gd name="T83" fmla="*/ 1692 h 6708"/>
                  <a:gd name="T84" fmla="*/ 2982 w 6709"/>
                  <a:gd name="T85" fmla="*/ 1466 h 6708"/>
                  <a:gd name="T86" fmla="*/ 2588 w 6709"/>
                  <a:gd name="T87" fmla="*/ 1462 h 6708"/>
                  <a:gd name="T88" fmla="*/ 286 w 6709"/>
                  <a:gd name="T89" fmla="*/ 286 h 6708"/>
                  <a:gd name="T90" fmla="*/ 1088 w 6709"/>
                  <a:gd name="T91" fmla="*/ 4076 h 6708"/>
                  <a:gd name="T92" fmla="*/ 1182 w 6709"/>
                  <a:gd name="T93" fmla="*/ 4318 h 6708"/>
                  <a:gd name="T94" fmla="*/ 1342 w 6709"/>
                  <a:gd name="T95" fmla="*/ 4522 h 6708"/>
                  <a:gd name="T96" fmla="*/ 1264 w 6709"/>
                  <a:gd name="T97" fmla="*/ 4716 h 6708"/>
                  <a:gd name="T98" fmla="*/ 1266 w 6709"/>
                  <a:gd name="T99" fmla="*/ 4988 h 6708"/>
                  <a:gd name="T100" fmla="*/ 2146 w 6709"/>
                  <a:gd name="T101" fmla="*/ 5976 h 6708"/>
                  <a:gd name="T102" fmla="*/ 2410 w 6709"/>
                  <a:gd name="T103" fmla="*/ 6090 h 6708"/>
                  <a:gd name="T104" fmla="*/ 2588 w 6709"/>
                  <a:gd name="T105" fmla="*/ 6066 h 6708"/>
                  <a:gd name="T106" fmla="*/ 3677 w 6709"/>
                  <a:gd name="T107" fmla="*/ 5848 h 6708"/>
                  <a:gd name="T108" fmla="*/ 3855 w 6709"/>
                  <a:gd name="T109" fmla="*/ 5902 h 6708"/>
                  <a:gd name="T110" fmla="*/ 4003 w 6709"/>
                  <a:gd name="T111" fmla="*/ 5886 h 6708"/>
                  <a:gd name="T112" fmla="*/ 4153 w 6709"/>
                  <a:gd name="T113" fmla="*/ 5800 h 6708"/>
                  <a:gd name="T114" fmla="*/ 5583 w 6709"/>
                  <a:gd name="T115" fmla="*/ 4476 h 6708"/>
                  <a:gd name="T116" fmla="*/ 5657 w 6709"/>
                  <a:gd name="T117" fmla="*/ 4210 h 6708"/>
                  <a:gd name="T118" fmla="*/ 5559 w 6709"/>
                  <a:gd name="T119" fmla="*/ 4010 h 6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09" h="6708">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rgbClr val="A3202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57" name="TextBox 156">
                <a:extLst>
                  <a:ext uri="{FF2B5EF4-FFF2-40B4-BE49-F238E27FC236}">
                    <a16:creationId xmlns:a16="http://schemas.microsoft.com/office/drawing/2014/main" id="{3C8F25A2-AACA-4EBB-9F8B-6290AC45E481}"/>
                  </a:ext>
                </a:extLst>
              </p:cNvPr>
              <p:cNvSpPr txBox="1"/>
              <p:nvPr/>
            </p:nvSpPr>
            <p:spPr>
              <a:xfrm>
                <a:off x="10551396" y="2884807"/>
                <a:ext cx="738034" cy="215444"/>
              </a:xfrm>
              <a:prstGeom prst="rect">
                <a:avLst/>
              </a:prstGeom>
              <a:noFill/>
              <a:ln>
                <a:noFill/>
              </a:ln>
            </p:spPr>
            <p:txBody>
              <a:bodyPr wrap="square" lIns="0" tIns="0" rIns="0" bIns="0" rtlCol="0">
                <a:spAutoFit/>
              </a:bodyPr>
              <a:lstStyle/>
              <a:p>
                <a:pPr algn="ctr"/>
                <a:r>
                  <a:rPr lang="en-US" sz="1400" b="1" noProof="0">
                    <a:solidFill>
                      <a:schemeClr val="tx1"/>
                    </a:solidFill>
                    <a:cs typeface="Arial" pitchFamily="34" charset="0"/>
                  </a:rPr>
                  <a:t>Debt</a:t>
                </a:r>
              </a:p>
            </p:txBody>
          </p:sp>
        </p:grpSp>
        <p:sp>
          <p:nvSpPr>
            <p:cNvPr id="155" name="TextBox 154">
              <a:extLst>
                <a:ext uri="{FF2B5EF4-FFF2-40B4-BE49-F238E27FC236}">
                  <a16:creationId xmlns:a16="http://schemas.microsoft.com/office/drawing/2014/main" id="{85A7CC54-4ED2-4ACC-8A74-CEE064A2EB47}"/>
                </a:ext>
              </a:extLst>
            </p:cNvPr>
            <p:cNvSpPr txBox="1"/>
            <p:nvPr/>
          </p:nvSpPr>
          <p:spPr>
            <a:xfrm>
              <a:off x="9914372" y="3321278"/>
              <a:ext cx="1469156" cy="215444"/>
            </a:xfrm>
            <a:prstGeom prst="rect">
              <a:avLst/>
            </a:prstGeom>
            <a:noFill/>
            <a:ln>
              <a:noFill/>
            </a:ln>
          </p:spPr>
          <p:txBody>
            <a:bodyPr wrap="square" lIns="0" tIns="0" rIns="0" bIns="0" rtlCol="0">
              <a:spAutoFit/>
            </a:bodyPr>
            <a:lstStyle/>
            <a:p>
              <a:pPr algn="ctr"/>
              <a:r>
                <a:rPr lang="en-US" sz="1400" noProof="0">
                  <a:solidFill>
                    <a:schemeClr val="tx1"/>
                  </a:solidFill>
                  <a:cs typeface="Arial" pitchFamily="34" charset="0"/>
                </a:rPr>
                <a:t>US$ 16.9 million</a:t>
              </a:r>
            </a:p>
          </p:txBody>
        </p:sp>
      </p:grpSp>
      <p:grpSp>
        <p:nvGrpSpPr>
          <p:cNvPr id="158" name="Group 157">
            <a:extLst>
              <a:ext uri="{FF2B5EF4-FFF2-40B4-BE49-F238E27FC236}">
                <a16:creationId xmlns:a16="http://schemas.microsoft.com/office/drawing/2014/main" id="{75C5E2AE-B253-41C7-A375-90095AA824CF}"/>
              </a:ext>
            </a:extLst>
          </p:cNvPr>
          <p:cNvGrpSpPr/>
          <p:nvPr/>
        </p:nvGrpSpPr>
        <p:grpSpPr>
          <a:xfrm>
            <a:off x="1287068" y="2999490"/>
            <a:ext cx="1469156" cy="773202"/>
            <a:chOff x="9914372" y="2763520"/>
            <a:chExt cx="1469156" cy="773202"/>
          </a:xfrm>
        </p:grpSpPr>
        <p:grpSp>
          <p:nvGrpSpPr>
            <p:cNvPr id="159" name="Group 158">
              <a:extLst>
                <a:ext uri="{FF2B5EF4-FFF2-40B4-BE49-F238E27FC236}">
                  <a16:creationId xmlns:a16="http://schemas.microsoft.com/office/drawing/2014/main" id="{A7BB73AA-7613-407F-9609-9F9D5B1C799B}"/>
                </a:ext>
              </a:extLst>
            </p:cNvPr>
            <p:cNvGrpSpPr/>
            <p:nvPr/>
          </p:nvGrpSpPr>
          <p:grpSpPr>
            <a:xfrm>
              <a:off x="10029681" y="2763520"/>
              <a:ext cx="1238539" cy="458019"/>
              <a:chOff x="10050891" y="2763520"/>
              <a:chExt cx="1238539" cy="458019"/>
            </a:xfrm>
          </p:grpSpPr>
          <p:sp>
            <p:nvSpPr>
              <p:cNvPr id="161" name="Freeform 73">
                <a:extLst>
                  <a:ext uri="{FF2B5EF4-FFF2-40B4-BE49-F238E27FC236}">
                    <a16:creationId xmlns:a16="http://schemas.microsoft.com/office/drawing/2014/main" id="{614D1F39-843C-4149-B49F-F2BE0161B8F8}"/>
                  </a:ext>
                </a:extLst>
              </p:cNvPr>
              <p:cNvSpPr>
                <a:spLocks noChangeAspect="1" noEditPoints="1"/>
              </p:cNvSpPr>
              <p:nvPr/>
            </p:nvSpPr>
            <p:spPr bwMode="auto">
              <a:xfrm>
                <a:off x="10050891" y="2763520"/>
                <a:ext cx="458087" cy="458019"/>
              </a:xfrm>
              <a:custGeom>
                <a:avLst/>
                <a:gdLst>
                  <a:gd name="T0" fmla="*/ 6709 w 6709"/>
                  <a:gd name="T1" fmla="*/ 0 h 6708"/>
                  <a:gd name="T2" fmla="*/ 2508 w 6709"/>
                  <a:gd name="T3" fmla="*/ 5788 h 6708"/>
                  <a:gd name="T4" fmla="*/ 2430 w 6709"/>
                  <a:gd name="T5" fmla="*/ 5806 h 6708"/>
                  <a:gd name="T6" fmla="*/ 2342 w 6709"/>
                  <a:gd name="T7" fmla="*/ 5764 h 6708"/>
                  <a:gd name="T8" fmla="*/ 1534 w 6709"/>
                  <a:gd name="T9" fmla="*/ 4892 h 6708"/>
                  <a:gd name="T10" fmla="*/ 1536 w 6709"/>
                  <a:gd name="T11" fmla="*/ 4802 h 6708"/>
                  <a:gd name="T12" fmla="*/ 1658 w 6709"/>
                  <a:gd name="T13" fmla="*/ 4404 h 6708"/>
                  <a:gd name="T14" fmla="*/ 1504 w 6709"/>
                  <a:gd name="T15" fmla="*/ 4280 h 6708"/>
                  <a:gd name="T16" fmla="*/ 1388 w 6709"/>
                  <a:gd name="T17" fmla="*/ 4084 h 6708"/>
                  <a:gd name="T18" fmla="*/ 1868 w 6709"/>
                  <a:gd name="T19" fmla="*/ 2096 h 6708"/>
                  <a:gd name="T20" fmla="*/ 2684 w 6709"/>
                  <a:gd name="T21" fmla="*/ 1736 h 6708"/>
                  <a:gd name="T22" fmla="*/ 2958 w 6709"/>
                  <a:gd name="T23" fmla="*/ 1754 h 6708"/>
                  <a:gd name="T24" fmla="*/ 1732 w 6709"/>
                  <a:gd name="T25" fmla="*/ 3102 h 6708"/>
                  <a:gd name="T26" fmla="*/ 1572 w 6709"/>
                  <a:gd name="T27" fmla="*/ 3390 h 6708"/>
                  <a:gd name="T28" fmla="*/ 1608 w 6709"/>
                  <a:gd name="T29" fmla="*/ 3674 h 6708"/>
                  <a:gd name="T30" fmla="*/ 1740 w 6709"/>
                  <a:gd name="T31" fmla="*/ 3848 h 6708"/>
                  <a:gd name="T32" fmla="*/ 1978 w 6709"/>
                  <a:gd name="T33" fmla="*/ 3956 h 6708"/>
                  <a:gd name="T34" fmla="*/ 2278 w 6709"/>
                  <a:gd name="T35" fmla="*/ 3910 h 6708"/>
                  <a:gd name="T36" fmla="*/ 2882 w 6709"/>
                  <a:gd name="T37" fmla="*/ 3398 h 6708"/>
                  <a:gd name="T38" fmla="*/ 3172 w 6709"/>
                  <a:gd name="T39" fmla="*/ 3238 h 6708"/>
                  <a:gd name="T40" fmla="*/ 3377 w 6709"/>
                  <a:gd name="T41" fmla="*/ 3228 h 6708"/>
                  <a:gd name="T42" fmla="*/ 5341 w 6709"/>
                  <a:gd name="T43" fmla="*/ 4200 h 6708"/>
                  <a:gd name="T44" fmla="*/ 5373 w 6709"/>
                  <a:gd name="T45" fmla="*/ 4246 h 6708"/>
                  <a:gd name="T46" fmla="*/ 3985 w 6709"/>
                  <a:gd name="T47" fmla="*/ 5558 h 6708"/>
                  <a:gd name="T48" fmla="*/ 3889 w 6709"/>
                  <a:gd name="T49" fmla="*/ 5616 h 6708"/>
                  <a:gd name="T50" fmla="*/ 5215 w 6709"/>
                  <a:gd name="T51" fmla="*/ 3814 h 6708"/>
                  <a:gd name="T52" fmla="*/ 3661 w 6709"/>
                  <a:gd name="T53" fmla="*/ 3014 h 6708"/>
                  <a:gd name="T54" fmla="*/ 3399 w 6709"/>
                  <a:gd name="T55" fmla="*/ 2942 h 6708"/>
                  <a:gd name="T56" fmla="*/ 3142 w 6709"/>
                  <a:gd name="T57" fmla="*/ 2950 h 6708"/>
                  <a:gd name="T58" fmla="*/ 2894 w 6709"/>
                  <a:gd name="T59" fmla="*/ 3042 h 6708"/>
                  <a:gd name="T60" fmla="*/ 2192 w 6709"/>
                  <a:gd name="T61" fmla="*/ 3626 h 6708"/>
                  <a:gd name="T62" fmla="*/ 2082 w 6709"/>
                  <a:gd name="T63" fmla="*/ 3676 h 6708"/>
                  <a:gd name="T64" fmla="*/ 1948 w 6709"/>
                  <a:gd name="T65" fmla="*/ 3646 h 6708"/>
                  <a:gd name="T66" fmla="*/ 1868 w 6709"/>
                  <a:gd name="T67" fmla="*/ 3556 h 6708"/>
                  <a:gd name="T68" fmla="*/ 1854 w 6709"/>
                  <a:gd name="T69" fmla="*/ 3438 h 6708"/>
                  <a:gd name="T70" fmla="*/ 1920 w 6709"/>
                  <a:gd name="T71" fmla="*/ 3316 h 6708"/>
                  <a:gd name="T72" fmla="*/ 3493 w 6709"/>
                  <a:gd name="T73" fmla="*/ 1978 h 6708"/>
                  <a:gd name="T74" fmla="*/ 3707 w 6709"/>
                  <a:gd name="T75" fmla="*/ 1956 h 6708"/>
                  <a:gd name="T76" fmla="*/ 6423 w 6709"/>
                  <a:gd name="T77" fmla="*/ 2402 h 6708"/>
                  <a:gd name="T78" fmla="*/ 3891 w 6709"/>
                  <a:gd name="T79" fmla="*/ 1710 h 6708"/>
                  <a:gd name="T80" fmla="*/ 3675 w 6709"/>
                  <a:gd name="T81" fmla="*/ 1668 h 6708"/>
                  <a:gd name="T82" fmla="*/ 3457 w 6709"/>
                  <a:gd name="T83" fmla="*/ 1692 h 6708"/>
                  <a:gd name="T84" fmla="*/ 2982 w 6709"/>
                  <a:gd name="T85" fmla="*/ 1466 h 6708"/>
                  <a:gd name="T86" fmla="*/ 2588 w 6709"/>
                  <a:gd name="T87" fmla="*/ 1462 h 6708"/>
                  <a:gd name="T88" fmla="*/ 286 w 6709"/>
                  <a:gd name="T89" fmla="*/ 286 h 6708"/>
                  <a:gd name="T90" fmla="*/ 1088 w 6709"/>
                  <a:gd name="T91" fmla="*/ 4076 h 6708"/>
                  <a:gd name="T92" fmla="*/ 1182 w 6709"/>
                  <a:gd name="T93" fmla="*/ 4318 h 6708"/>
                  <a:gd name="T94" fmla="*/ 1342 w 6709"/>
                  <a:gd name="T95" fmla="*/ 4522 h 6708"/>
                  <a:gd name="T96" fmla="*/ 1264 w 6709"/>
                  <a:gd name="T97" fmla="*/ 4716 h 6708"/>
                  <a:gd name="T98" fmla="*/ 1266 w 6709"/>
                  <a:gd name="T99" fmla="*/ 4988 h 6708"/>
                  <a:gd name="T100" fmla="*/ 2146 w 6709"/>
                  <a:gd name="T101" fmla="*/ 5976 h 6708"/>
                  <a:gd name="T102" fmla="*/ 2410 w 6709"/>
                  <a:gd name="T103" fmla="*/ 6090 h 6708"/>
                  <a:gd name="T104" fmla="*/ 2588 w 6709"/>
                  <a:gd name="T105" fmla="*/ 6066 h 6708"/>
                  <a:gd name="T106" fmla="*/ 3677 w 6709"/>
                  <a:gd name="T107" fmla="*/ 5848 h 6708"/>
                  <a:gd name="T108" fmla="*/ 3855 w 6709"/>
                  <a:gd name="T109" fmla="*/ 5902 h 6708"/>
                  <a:gd name="T110" fmla="*/ 4003 w 6709"/>
                  <a:gd name="T111" fmla="*/ 5886 h 6708"/>
                  <a:gd name="T112" fmla="*/ 4153 w 6709"/>
                  <a:gd name="T113" fmla="*/ 5800 h 6708"/>
                  <a:gd name="T114" fmla="*/ 5583 w 6709"/>
                  <a:gd name="T115" fmla="*/ 4476 h 6708"/>
                  <a:gd name="T116" fmla="*/ 5657 w 6709"/>
                  <a:gd name="T117" fmla="*/ 4210 h 6708"/>
                  <a:gd name="T118" fmla="*/ 5559 w 6709"/>
                  <a:gd name="T119" fmla="*/ 4010 h 6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09" h="6708">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rgbClr val="A3202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62" name="TextBox 161">
                <a:extLst>
                  <a:ext uri="{FF2B5EF4-FFF2-40B4-BE49-F238E27FC236}">
                    <a16:creationId xmlns:a16="http://schemas.microsoft.com/office/drawing/2014/main" id="{D9733778-6853-411B-B0DF-ABA7DE97A634}"/>
                  </a:ext>
                </a:extLst>
              </p:cNvPr>
              <p:cNvSpPr txBox="1"/>
              <p:nvPr/>
            </p:nvSpPr>
            <p:spPr>
              <a:xfrm>
                <a:off x="10551396" y="2884807"/>
                <a:ext cx="738034" cy="215444"/>
              </a:xfrm>
              <a:prstGeom prst="rect">
                <a:avLst/>
              </a:prstGeom>
              <a:noFill/>
              <a:ln>
                <a:noFill/>
              </a:ln>
            </p:spPr>
            <p:txBody>
              <a:bodyPr wrap="square" lIns="0" tIns="0" rIns="0" bIns="0" rtlCol="0">
                <a:spAutoFit/>
              </a:bodyPr>
              <a:lstStyle/>
              <a:p>
                <a:pPr algn="ctr"/>
                <a:r>
                  <a:rPr lang="en-US" sz="1400" b="1" noProof="0">
                    <a:solidFill>
                      <a:schemeClr val="tx1"/>
                    </a:solidFill>
                    <a:cs typeface="Arial" pitchFamily="34" charset="0"/>
                  </a:rPr>
                  <a:t>Equity</a:t>
                </a:r>
              </a:p>
            </p:txBody>
          </p:sp>
        </p:grpSp>
        <p:sp>
          <p:nvSpPr>
            <p:cNvPr id="160" name="TextBox 159">
              <a:extLst>
                <a:ext uri="{FF2B5EF4-FFF2-40B4-BE49-F238E27FC236}">
                  <a16:creationId xmlns:a16="http://schemas.microsoft.com/office/drawing/2014/main" id="{40C48C17-FF65-464A-85F3-782BF0B59937}"/>
                </a:ext>
              </a:extLst>
            </p:cNvPr>
            <p:cNvSpPr txBox="1"/>
            <p:nvPr/>
          </p:nvSpPr>
          <p:spPr>
            <a:xfrm>
              <a:off x="9914372" y="3321278"/>
              <a:ext cx="1469156" cy="215444"/>
            </a:xfrm>
            <a:prstGeom prst="rect">
              <a:avLst/>
            </a:prstGeom>
            <a:noFill/>
            <a:ln>
              <a:noFill/>
            </a:ln>
          </p:spPr>
          <p:txBody>
            <a:bodyPr wrap="square" lIns="0" tIns="0" rIns="0" bIns="0" rtlCol="0">
              <a:spAutoFit/>
            </a:bodyPr>
            <a:lstStyle/>
            <a:p>
              <a:pPr algn="ctr"/>
              <a:r>
                <a:rPr lang="en-US" sz="1400" noProof="0">
                  <a:solidFill>
                    <a:schemeClr val="tx1"/>
                  </a:solidFill>
                  <a:cs typeface="Arial" pitchFamily="34" charset="0"/>
                </a:rPr>
                <a:t>US$ 15.6 million</a:t>
              </a:r>
            </a:p>
          </p:txBody>
        </p:sp>
      </p:grpSp>
      <p:graphicFrame>
        <p:nvGraphicFramePr>
          <p:cNvPr id="244" name="Chart 243">
            <a:extLst>
              <a:ext uri="{FF2B5EF4-FFF2-40B4-BE49-F238E27FC236}">
                <a16:creationId xmlns:a16="http://schemas.microsoft.com/office/drawing/2014/main" id="{10691EBA-3127-4A27-86F0-EE79C5D37158}"/>
              </a:ext>
            </a:extLst>
          </p:cNvPr>
          <p:cNvGraphicFramePr/>
          <p:nvPr>
            <p:custDataLst>
              <p:tags r:id="rId20"/>
            </p:custDataLst>
            <p:extLst>
              <p:ext uri="{D42A27DB-BD31-4B8C-83A1-F6EECF244321}">
                <p14:modId xmlns:p14="http://schemas.microsoft.com/office/powerpoint/2010/main" val="2160489026"/>
              </p:ext>
            </p:extLst>
          </p:nvPr>
        </p:nvGraphicFramePr>
        <p:xfrm>
          <a:off x="430213" y="4094163"/>
          <a:ext cx="11728450" cy="715962"/>
        </p:xfrm>
        <a:graphic>
          <a:graphicData uri="http://schemas.openxmlformats.org/drawingml/2006/chart">
            <c:chart xmlns:c="http://schemas.openxmlformats.org/drawingml/2006/chart" xmlns:r="http://schemas.openxmlformats.org/officeDocument/2006/relationships" r:id="rId30"/>
          </a:graphicData>
        </a:graphic>
      </p:graphicFrame>
      <p:sp>
        <p:nvSpPr>
          <p:cNvPr id="177" name="Text Placeholder 2">
            <a:extLst>
              <a:ext uri="{FF2B5EF4-FFF2-40B4-BE49-F238E27FC236}">
                <a16:creationId xmlns:a16="http://schemas.microsoft.com/office/drawing/2014/main" id="{ABB55E0D-5475-4C9B-B011-5691EDEE04E9}"/>
              </a:ext>
            </a:extLst>
          </p:cNvPr>
          <p:cNvSpPr>
            <a:spLocks noGrp="1"/>
          </p:cNvSpPr>
          <p:nvPr>
            <p:custDataLst>
              <p:tags r:id="rId21"/>
            </p:custDataLst>
          </p:nvPr>
        </p:nvSpPr>
        <p:spPr bwMode="auto">
          <a:xfrm>
            <a:off x="150813" y="4287838"/>
            <a:ext cx="1524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r">
              <a:spcBef>
                <a:spcPct val="0"/>
              </a:spcBef>
              <a:spcAft>
                <a:spcPct val="0"/>
              </a:spcAft>
            </a:pPr>
            <a:fld id="{CC9753A3-A0BF-46E9-A8EE-0189A39E9A4A}" type="datetime'''''P''roj''e''''''ct'' NP''''V'','''' U''S$'' ''’00''''0'''">
              <a:rPr lang="en-US" altLang="en-US" sz="1200" smtClean="0"/>
              <a:pPr lvl="0" algn="r">
                <a:spcBef>
                  <a:spcPct val="0"/>
                </a:spcBef>
                <a:spcAft>
                  <a:spcPct val="0"/>
                </a:spcAft>
              </a:pPr>
              <a:t>Project NPV, US$ ’000</a:t>
            </a:fld>
            <a:endParaRPr lang="en-US" sz="1200" noProof="0"/>
          </a:p>
        </p:txBody>
      </p:sp>
      <p:sp>
        <p:nvSpPr>
          <p:cNvPr id="206" name="Text Placeholder 2">
            <a:extLst>
              <a:ext uri="{FF2B5EF4-FFF2-40B4-BE49-F238E27FC236}">
                <a16:creationId xmlns:a16="http://schemas.microsoft.com/office/drawing/2014/main" id="{3B6FB9B7-15DC-48FF-8A11-0C1E319AFD27}"/>
              </a:ext>
            </a:extLst>
          </p:cNvPr>
          <p:cNvSpPr>
            <a:spLocks noGrp="1"/>
          </p:cNvSpPr>
          <p:nvPr>
            <p:custDataLst>
              <p:tags r:id="rId22"/>
            </p:custDataLst>
          </p:nvPr>
        </p:nvSpPr>
        <p:spPr bwMode="gray">
          <a:xfrm>
            <a:off x="9118600" y="3968750"/>
            <a:ext cx="134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BBD6E482-B734-49B6-9C4A-1F0FA009E286}" type="datetime'''''''''''''''''''''4'''''''">
              <a:rPr lang="en-US" altLang="en-US" sz="1200" b="1" smtClean="0">
                <a:effectLst/>
              </a:rPr>
              <a:pPr lvl="0" algn="ctr">
                <a:spcBef>
                  <a:spcPct val="0"/>
                </a:spcBef>
                <a:spcAft>
                  <a:spcPct val="0"/>
                </a:spcAft>
              </a:pPr>
              <a:t>4</a:t>
            </a:fld>
            <a:endParaRPr lang="en-US" sz="1200" b="1" noProof="0"/>
          </a:p>
        </p:txBody>
      </p:sp>
      <p:graphicFrame>
        <p:nvGraphicFramePr>
          <p:cNvPr id="243" name="Chart 242">
            <a:extLst>
              <a:ext uri="{FF2B5EF4-FFF2-40B4-BE49-F238E27FC236}">
                <a16:creationId xmlns:a16="http://schemas.microsoft.com/office/drawing/2014/main" id="{9849673E-C239-4ADE-B914-6FF55E6E714A}"/>
              </a:ext>
            </a:extLst>
          </p:cNvPr>
          <p:cNvGraphicFramePr/>
          <p:nvPr>
            <p:custDataLst>
              <p:tags r:id="rId23"/>
            </p:custDataLst>
            <p:extLst>
              <p:ext uri="{D42A27DB-BD31-4B8C-83A1-F6EECF244321}">
                <p14:modId xmlns:p14="http://schemas.microsoft.com/office/powerpoint/2010/main" val="1625275805"/>
              </p:ext>
            </p:extLst>
          </p:nvPr>
        </p:nvGraphicFramePr>
        <p:xfrm>
          <a:off x="420688" y="4618038"/>
          <a:ext cx="11728450" cy="715962"/>
        </p:xfrm>
        <a:graphic>
          <a:graphicData uri="http://schemas.openxmlformats.org/drawingml/2006/chart">
            <c:chart xmlns:c="http://schemas.openxmlformats.org/drawingml/2006/chart" xmlns:r="http://schemas.openxmlformats.org/officeDocument/2006/relationships" r:id="rId31"/>
          </a:graphicData>
        </a:graphic>
      </p:graphicFrame>
      <p:sp>
        <p:nvSpPr>
          <p:cNvPr id="222" name="Text Placeholder 2">
            <a:extLst>
              <a:ext uri="{FF2B5EF4-FFF2-40B4-BE49-F238E27FC236}">
                <a16:creationId xmlns:a16="http://schemas.microsoft.com/office/drawing/2014/main" id="{AF19BCD3-1873-4034-A9E3-C4D428D16C4F}"/>
              </a:ext>
            </a:extLst>
          </p:cNvPr>
          <p:cNvSpPr>
            <a:spLocks noGrp="1"/>
          </p:cNvSpPr>
          <p:nvPr>
            <p:custDataLst>
              <p:tags r:id="rId24"/>
            </p:custDataLst>
          </p:nvPr>
        </p:nvSpPr>
        <p:spPr bwMode="auto">
          <a:xfrm>
            <a:off x="887414" y="5043488"/>
            <a:ext cx="777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r">
              <a:spcBef>
                <a:spcPct val="0"/>
              </a:spcBef>
              <a:spcAft>
                <a:spcPct val="0"/>
              </a:spcAft>
            </a:pPr>
            <a:fld id="{7DD4C1E7-0887-4539-AE66-2D0DC2C6557E}" type="datetime'P''''''''''''ro''''je''c''t'''' ''''''''''I''''''''R''''''R'''">
              <a:rPr lang="en-US" altLang="en-US" sz="1200" smtClean="0"/>
              <a:pPr lvl="0" algn="r">
                <a:spcBef>
                  <a:spcPct val="0"/>
                </a:spcBef>
                <a:spcAft>
                  <a:spcPct val="0"/>
                </a:spcAft>
              </a:pPr>
              <a:t>Project IRR</a:t>
            </a:fld>
            <a:endParaRPr lang="en-US" sz="1200" noProof="0"/>
          </a:p>
        </p:txBody>
      </p:sp>
      <p:sp>
        <p:nvSpPr>
          <p:cNvPr id="238" name="TextBox 237">
            <a:extLst>
              <a:ext uri="{FF2B5EF4-FFF2-40B4-BE49-F238E27FC236}">
                <a16:creationId xmlns:a16="http://schemas.microsoft.com/office/drawing/2014/main" id="{D7B2B50D-A812-4CA5-BEAE-C6BE69323576}"/>
              </a:ext>
            </a:extLst>
          </p:cNvPr>
          <p:cNvSpPr txBox="1"/>
          <p:nvPr/>
        </p:nvSpPr>
        <p:spPr>
          <a:xfrm>
            <a:off x="2756224" y="4960730"/>
            <a:ext cx="1469156" cy="215900"/>
          </a:xfrm>
          <a:prstGeom prst="rect">
            <a:avLst/>
          </a:prstGeom>
          <a:noFill/>
          <a:ln>
            <a:noFill/>
          </a:ln>
        </p:spPr>
        <p:txBody>
          <a:bodyPr wrap="square" lIns="0" tIns="0" rIns="0" bIns="0" rtlCol="0">
            <a:spAutoFit/>
          </a:bodyPr>
          <a:lstStyle/>
          <a:p>
            <a:pPr algn="ctr"/>
            <a:r>
              <a:rPr lang="en-US" sz="1400" b="1" noProof="0">
                <a:solidFill>
                  <a:schemeClr val="tx1"/>
                </a:solidFill>
                <a:cs typeface="Arial" pitchFamily="34" charset="0"/>
              </a:rPr>
              <a:t>N/A</a:t>
            </a:r>
          </a:p>
        </p:txBody>
      </p:sp>
      <p:sp>
        <p:nvSpPr>
          <p:cNvPr id="240" name="Freeform 18">
            <a:extLst>
              <a:ext uri="{FF2B5EF4-FFF2-40B4-BE49-F238E27FC236}">
                <a16:creationId xmlns:a16="http://schemas.microsoft.com/office/drawing/2014/main" id="{DED40B76-B0D3-4B77-9D06-6822BBC76B14}"/>
              </a:ext>
            </a:extLst>
          </p:cNvPr>
          <p:cNvSpPr>
            <a:spLocks noChangeAspect="1"/>
          </p:cNvSpPr>
          <p:nvPr/>
        </p:nvSpPr>
        <p:spPr bwMode="auto">
          <a:xfrm>
            <a:off x="9104943" y="5368925"/>
            <a:ext cx="482600" cy="376238"/>
          </a:xfrm>
          <a:custGeom>
            <a:avLst/>
            <a:gdLst>
              <a:gd name="T0" fmla="*/ 263 w 304"/>
              <a:gd name="T1" fmla="*/ 0 h 237"/>
              <a:gd name="T2" fmla="*/ 108 w 304"/>
              <a:gd name="T3" fmla="*/ 157 h 237"/>
              <a:gd name="T4" fmla="*/ 40 w 304"/>
              <a:gd name="T5" fmla="*/ 88 h 237"/>
              <a:gd name="T6" fmla="*/ 0 w 304"/>
              <a:gd name="T7" fmla="*/ 128 h 237"/>
              <a:gd name="T8" fmla="*/ 108 w 304"/>
              <a:gd name="T9" fmla="*/ 237 h 237"/>
              <a:gd name="T10" fmla="*/ 304 w 304"/>
              <a:gd name="T11" fmla="*/ 41 h 237"/>
              <a:gd name="T12" fmla="*/ 263 w 304"/>
              <a:gd name="T13" fmla="*/ 0 h 237"/>
            </a:gdLst>
            <a:ahLst/>
            <a:cxnLst>
              <a:cxn ang="0">
                <a:pos x="T0" y="T1"/>
              </a:cxn>
              <a:cxn ang="0">
                <a:pos x="T2" y="T3"/>
              </a:cxn>
              <a:cxn ang="0">
                <a:pos x="T4" y="T5"/>
              </a:cxn>
              <a:cxn ang="0">
                <a:pos x="T6" y="T7"/>
              </a:cxn>
              <a:cxn ang="0">
                <a:pos x="T8" y="T9"/>
              </a:cxn>
              <a:cxn ang="0">
                <a:pos x="T10" y="T11"/>
              </a:cxn>
              <a:cxn ang="0">
                <a:pos x="T12" y="T13"/>
              </a:cxn>
            </a:cxnLst>
            <a:rect l="0" t="0" r="r" b="b"/>
            <a:pathLst>
              <a:path w="304" h="237">
                <a:moveTo>
                  <a:pt x="263" y="0"/>
                </a:moveTo>
                <a:lnTo>
                  <a:pt x="108" y="157"/>
                </a:lnTo>
                <a:lnTo>
                  <a:pt x="40" y="88"/>
                </a:lnTo>
                <a:lnTo>
                  <a:pt x="0" y="128"/>
                </a:lnTo>
                <a:lnTo>
                  <a:pt x="108" y="237"/>
                </a:lnTo>
                <a:lnTo>
                  <a:pt x="304" y="41"/>
                </a:lnTo>
                <a:lnTo>
                  <a:pt x="263" y="0"/>
                </a:ln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241" name="Freeform 100">
            <a:extLst>
              <a:ext uri="{FF2B5EF4-FFF2-40B4-BE49-F238E27FC236}">
                <a16:creationId xmlns:a16="http://schemas.microsoft.com/office/drawing/2014/main" id="{56D8E52C-2488-4A24-8254-EE0D4F7E0415}"/>
              </a:ext>
            </a:extLst>
          </p:cNvPr>
          <p:cNvSpPr>
            <a:spLocks noChangeAspect="1"/>
          </p:cNvSpPr>
          <p:nvPr/>
        </p:nvSpPr>
        <p:spPr bwMode="auto">
          <a:xfrm>
            <a:off x="2931098" y="5387206"/>
            <a:ext cx="482599" cy="481013"/>
          </a:xfrm>
          <a:custGeom>
            <a:avLst/>
            <a:gdLst>
              <a:gd name="T0" fmla="*/ 117 w 304"/>
              <a:gd name="T1" fmla="*/ 151 h 303"/>
              <a:gd name="T2" fmla="*/ 0 w 304"/>
              <a:gd name="T3" fmla="*/ 35 h 303"/>
              <a:gd name="T4" fmla="*/ 35 w 304"/>
              <a:gd name="T5" fmla="*/ 0 h 303"/>
              <a:gd name="T6" fmla="*/ 152 w 304"/>
              <a:gd name="T7" fmla="*/ 116 h 303"/>
              <a:gd name="T8" fmla="*/ 269 w 304"/>
              <a:gd name="T9" fmla="*/ 0 h 303"/>
              <a:gd name="T10" fmla="*/ 304 w 304"/>
              <a:gd name="T11" fmla="*/ 35 h 303"/>
              <a:gd name="T12" fmla="*/ 187 w 304"/>
              <a:gd name="T13" fmla="*/ 151 h 303"/>
              <a:gd name="T14" fmla="*/ 304 w 304"/>
              <a:gd name="T15" fmla="*/ 268 h 303"/>
              <a:gd name="T16" fmla="*/ 269 w 304"/>
              <a:gd name="T17" fmla="*/ 303 h 303"/>
              <a:gd name="T18" fmla="*/ 152 w 304"/>
              <a:gd name="T19" fmla="*/ 186 h 303"/>
              <a:gd name="T20" fmla="*/ 35 w 304"/>
              <a:gd name="T21" fmla="*/ 303 h 303"/>
              <a:gd name="T22" fmla="*/ 0 w 304"/>
              <a:gd name="T23" fmla="*/ 268 h 303"/>
              <a:gd name="T24" fmla="*/ 117 w 304"/>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4" h="303">
                <a:moveTo>
                  <a:pt x="117" y="151"/>
                </a:moveTo>
                <a:lnTo>
                  <a:pt x="0" y="35"/>
                </a:lnTo>
                <a:lnTo>
                  <a:pt x="35" y="0"/>
                </a:lnTo>
                <a:lnTo>
                  <a:pt x="152" y="116"/>
                </a:lnTo>
                <a:lnTo>
                  <a:pt x="269" y="0"/>
                </a:lnTo>
                <a:lnTo>
                  <a:pt x="304" y="35"/>
                </a:lnTo>
                <a:lnTo>
                  <a:pt x="187" y="151"/>
                </a:lnTo>
                <a:lnTo>
                  <a:pt x="304" y="268"/>
                </a:lnTo>
                <a:lnTo>
                  <a:pt x="269" y="303"/>
                </a:lnTo>
                <a:lnTo>
                  <a:pt x="152" y="186"/>
                </a:lnTo>
                <a:lnTo>
                  <a:pt x="35" y="303"/>
                </a:lnTo>
                <a:lnTo>
                  <a:pt x="0" y="268"/>
                </a:lnTo>
                <a:lnTo>
                  <a:pt x="117" y="151"/>
                </a:lnTo>
                <a:close/>
              </a:path>
            </a:pathLst>
          </a:custGeom>
          <a:solidFill>
            <a:srgbClr val="E0301E"/>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242" name="TextBox 241">
            <a:extLst>
              <a:ext uri="{FF2B5EF4-FFF2-40B4-BE49-F238E27FC236}">
                <a16:creationId xmlns:a16="http://schemas.microsoft.com/office/drawing/2014/main" id="{2EDA859D-7BB0-453B-A653-E06AAB0F7638}"/>
              </a:ext>
            </a:extLst>
          </p:cNvPr>
          <p:cNvSpPr txBox="1"/>
          <p:nvPr/>
        </p:nvSpPr>
        <p:spPr>
          <a:xfrm>
            <a:off x="442914" y="6469063"/>
            <a:ext cx="4622799" cy="153888"/>
          </a:xfrm>
          <a:prstGeom prst="rect">
            <a:avLst/>
          </a:prstGeom>
          <a:noFill/>
          <a:ln>
            <a:noFill/>
          </a:ln>
        </p:spPr>
        <p:txBody>
          <a:bodyPr wrap="square" lIns="0" tIns="0" rIns="0" bIns="0" rtlCol="0">
            <a:spAutoFit/>
          </a:bodyPr>
          <a:lstStyle/>
          <a:p>
            <a:r>
              <a:rPr lang="en-US" sz="1000" noProof="0">
                <a:solidFill>
                  <a:schemeClr val="tx1"/>
                </a:solidFill>
                <a:cs typeface="Arial" pitchFamily="34" charset="0"/>
              </a:rPr>
              <a:t>Source: Study team analysis</a:t>
            </a:r>
          </a:p>
        </p:txBody>
      </p:sp>
      <p:grpSp>
        <p:nvGrpSpPr>
          <p:cNvPr id="253" name="Group 114">
            <a:extLst>
              <a:ext uri="{FF2B5EF4-FFF2-40B4-BE49-F238E27FC236}">
                <a16:creationId xmlns:a16="http://schemas.microsoft.com/office/drawing/2014/main" id="{5C1B2E27-0006-4658-AFBF-444E87F942EC}"/>
              </a:ext>
            </a:extLst>
          </p:cNvPr>
          <p:cNvGrpSpPr>
            <a:grpSpLocks noChangeAspect="1"/>
          </p:cNvGrpSpPr>
          <p:nvPr/>
        </p:nvGrpSpPr>
        <p:grpSpPr bwMode="auto">
          <a:xfrm>
            <a:off x="10722349" y="3000309"/>
            <a:ext cx="457268" cy="457200"/>
            <a:chOff x="986" y="0"/>
            <a:chExt cx="6709" cy="6708"/>
          </a:xfrm>
          <a:solidFill>
            <a:srgbClr val="A32020"/>
          </a:solidFill>
        </p:grpSpPr>
        <p:sp>
          <p:nvSpPr>
            <p:cNvPr id="254" name="Freeform 115">
              <a:extLst>
                <a:ext uri="{FF2B5EF4-FFF2-40B4-BE49-F238E27FC236}">
                  <a16:creationId xmlns:a16="http://schemas.microsoft.com/office/drawing/2014/main" id="{D2CFF67B-4C8C-4F02-A0CB-49F234BAA8DE}"/>
                </a:ext>
              </a:extLst>
            </p:cNvPr>
            <p:cNvSpPr>
              <a:spLocks noEditPoints="1"/>
            </p:cNvSpPr>
            <p:nvPr/>
          </p:nvSpPr>
          <p:spPr bwMode="auto">
            <a:xfrm>
              <a:off x="986" y="0"/>
              <a:ext cx="6709" cy="6708"/>
            </a:xfrm>
            <a:custGeom>
              <a:avLst/>
              <a:gdLst>
                <a:gd name="T0" fmla="*/ 0 w 6709"/>
                <a:gd name="T1" fmla="*/ 0 h 6708"/>
                <a:gd name="T2" fmla="*/ 0 w 6709"/>
                <a:gd name="T3" fmla="*/ 6708 h 6708"/>
                <a:gd name="T4" fmla="*/ 6709 w 6709"/>
                <a:gd name="T5" fmla="*/ 6708 h 6708"/>
                <a:gd name="T6" fmla="*/ 6709 w 6709"/>
                <a:gd name="T7" fmla="*/ 0 h 6708"/>
                <a:gd name="T8" fmla="*/ 0 w 6709"/>
                <a:gd name="T9" fmla="*/ 0 h 6708"/>
                <a:gd name="T10" fmla="*/ 6423 w 6709"/>
                <a:gd name="T11" fmla="*/ 6422 h 6708"/>
                <a:gd name="T12" fmla="*/ 286 w 6709"/>
                <a:gd name="T13" fmla="*/ 6422 h 6708"/>
                <a:gd name="T14" fmla="*/ 286 w 6709"/>
                <a:gd name="T15" fmla="*/ 286 h 6708"/>
                <a:gd name="T16" fmla="*/ 6423 w 6709"/>
                <a:gd name="T17" fmla="*/ 286 h 6708"/>
                <a:gd name="T18" fmla="*/ 6423 w 6709"/>
                <a:gd name="T19" fmla="*/ 6422 h 6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09" h="6708">
                  <a:moveTo>
                    <a:pt x="0" y="0"/>
                  </a:moveTo>
                  <a:lnTo>
                    <a:pt x="0" y="6708"/>
                  </a:lnTo>
                  <a:lnTo>
                    <a:pt x="6709" y="6708"/>
                  </a:lnTo>
                  <a:lnTo>
                    <a:pt x="6709" y="0"/>
                  </a:lnTo>
                  <a:lnTo>
                    <a:pt x="0" y="0"/>
                  </a:lnTo>
                  <a:close/>
                  <a:moveTo>
                    <a:pt x="6423" y="6422"/>
                  </a:moveTo>
                  <a:lnTo>
                    <a:pt x="286" y="6422"/>
                  </a:lnTo>
                  <a:lnTo>
                    <a:pt x="286" y="286"/>
                  </a:lnTo>
                  <a:lnTo>
                    <a:pt x="6423" y="286"/>
                  </a:lnTo>
                  <a:lnTo>
                    <a:pt x="6423" y="6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800"/>
            </a:p>
          </p:txBody>
        </p:sp>
        <p:sp>
          <p:nvSpPr>
            <p:cNvPr id="255" name="Rectangle 116">
              <a:extLst>
                <a:ext uri="{FF2B5EF4-FFF2-40B4-BE49-F238E27FC236}">
                  <a16:creationId xmlns:a16="http://schemas.microsoft.com/office/drawing/2014/main" id="{9FEAD837-155A-4320-ACA8-01327FA59A9E}"/>
                </a:ext>
              </a:extLst>
            </p:cNvPr>
            <p:cNvSpPr>
              <a:spLocks noChangeArrowheads="1"/>
            </p:cNvSpPr>
            <p:nvPr/>
          </p:nvSpPr>
          <p:spPr bwMode="auto">
            <a:xfrm>
              <a:off x="1844" y="5576"/>
              <a:ext cx="4957"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p>
          </p:txBody>
        </p:sp>
        <p:sp>
          <p:nvSpPr>
            <p:cNvPr id="256" name="Freeform 117">
              <a:extLst>
                <a:ext uri="{FF2B5EF4-FFF2-40B4-BE49-F238E27FC236}">
                  <a16:creationId xmlns:a16="http://schemas.microsoft.com/office/drawing/2014/main" id="{48904D7C-CAA3-46EE-95E8-A482F81E1D9D}"/>
                </a:ext>
              </a:extLst>
            </p:cNvPr>
            <p:cNvSpPr>
              <a:spLocks noEditPoints="1"/>
            </p:cNvSpPr>
            <p:nvPr/>
          </p:nvSpPr>
          <p:spPr bwMode="auto">
            <a:xfrm>
              <a:off x="1844" y="926"/>
              <a:ext cx="4957" cy="1734"/>
            </a:xfrm>
            <a:custGeom>
              <a:avLst/>
              <a:gdLst>
                <a:gd name="T0" fmla="*/ 4957 w 4957"/>
                <a:gd name="T1" fmla="*/ 1448 h 1734"/>
                <a:gd name="T2" fmla="*/ 2661 w 4957"/>
                <a:gd name="T3" fmla="*/ 1448 h 1734"/>
                <a:gd name="T4" fmla="*/ 2661 w 4957"/>
                <a:gd name="T5" fmla="*/ 1010 h 1734"/>
                <a:gd name="T6" fmla="*/ 3175 w 4957"/>
                <a:gd name="T7" fmla="*/ 1010 h 1734"/>
                <a:gd name="T8" fmla="*/ 3175 w 4957"/>
                <a:gd name="T9" fmla="*/ 1278 h 1734"/>
                <a:gd name="T10" fmla="*/ 4051 w 4957"/>
                <a:gd name="T11" fmla="*/ 1278 h 1734"/>
                <a:gd name="T12" fmla="*/ 4051 w 4957"/>
                <a:gd name="T13" fmla="*/ 342 h 1734"/>
                <a:gd name="T14" fmla="*/ 3461 w 4957"/>
                <a:gd name="T15" fmla="*/ 342 h 1734"/>
                <a:gd name="T16" fmla="*/ 3461 w 4957"/>
                <a:gd name="T17" fmla="*/ 0 h 1734"/>
                <a:gd name="T18" fmla="*/ 2374 w 4957"/>
                <a:gd name="T19" fmla="*/ 0 h 1734"/>
                <a:gd name="T20" fmla="*/ 2374 w 4957"/>
                <a:gd name="T21" fmla="*/ 1448 h 1734"/>
                <a:gd name="T22" fmla="*/ 0 w 4957"/>
                <a:gd name="T23" fmla="*/ 1448 h 1734"/>
                <a:gd name="T24" fmla="*/ 0 w 4957"/>
                <a:gd name="T25" fmla="*/ 1734 h 1734"/>
                <a:gd name="T26" fmla="*/ 4957 w 4957"/>
                <a:gd name="T27" fmla="*/ 1734 h 1734"/>
                <a:gd name="T28" fmla="*/ 4957 w 4957"/>
                <a:gd name="T29" fmla="*/ 1448 h 1734"/>
                <a:gd name="T30" fmla="*/ 3765 w 4957"/>
                <a:gd name="T31" fmla="*/ 630 h 1734"/>
                <a:gd name="T32" fmla="*/ 3765 w 4957"/>
                <a:gd name="T33" fmla="*/ 990 h 1734"/>
                <a:gd name="T34" fmla="*/ 3461 w 4957"/>
                <a:gd name="T35" fmla="*/ 990 h 1734"/>
                <a:gd name="T36" fmla="*/ 3461 w 4957"/>
                <a:gd name="T37" fmla="*/ 630 h 1734"/>
                <a:gd name="T38" fmla="*/ 3765 w 4957"/>
                <a:gd name="T39" fmla="*/ 630 h 1734"/>
                <a:gd name="T40" fmla="*/ 2661 w 4957"/>
                <a:gd name="T41" fmla="*/ 286 h 1734"/>
                <a:gd name="T42" fmla="*/ 3175 w 4957"/>
                <a:gd name="T43" fmla="*/ 286 h 1734"/>
                <a:gd name="T44" fmla="*/ 3175 w 4957"/>
                <a:gd name="T45" fmla="*/ 342 h 1734"/>
                <a:gd name="T46" fmla="*/ 3175 w 4957"/>
                <a:gd name="T47" fmla="*/ 724 h 1734"/>
                <a:gd name="T48" fmla="*/ 2661 w 4957"/>
                <a:gd name="T49" fmla="*/ 724 h 1734"/>
                <a:gd name="T50" fmla="*/ 2661 w 4957"/>
                <a:gd name="T51" fmla="*/ 286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57" h="1734">
                  <a:moveTo>
                    <a:pt x="4957" y="1448"/>
                  </a:moveTo>
                  <a:lnTo>
                    <a:pt x="2661" y="1448"/>
                  </a:lnTo>
                  <a:lnTo>
                    <a:pt x="2661" y="1010"/>
                  </a:lnTo>
                  <a:lnTo>
                    <a:pt x="3175" y="1010"/>
                  </a:lnTo>
                  <a:lnTo>
                    <a:pt x="3175" y="1278"/>
                  </a:lnTo>
                  <a:lnTo>
                    <a:pt x="4051" y="1278"/>
                  </a:lnTo>
                  <a:lnTo>
                    <a:pt x="4051" y="342"/>
                  </a:lnTo>
                  <a:lnTo>
                    <a:pt x="3461" y="342"/>
                  </a:lnTo>
                  <a:lnTo>
                    <a:pt x="3461" y="0"/>
                  </a:lnTo>
                  <a:lnTo>
                    <a:pt x="2374" y="0"/>
                  </a:lnTo>
                  <a:lnTo>
                    <a:pt x="2374" y="1448"/>
                  </a:lnTo>
                  <a:lnTo>
                    <a:pt x="0" y="1448"/>
                  </a:lnTo>
                  <a:lnTo>
                    <a:pt x="0" y="1734"/>
                  </a:lnTo>
                  <a:lnTo>
                    <a:pt x="4957" y="1734"/>
                  </a:lnTo>
                  <a:lnTo>
                    <a:pt x="4957" y="1448"/>
                  </a:lnTo>
                  <a:close/>
                  <a:moveTo>
                    <a:pt x="3765" y="630"/>
                  </a:moveTo>
                  <a:lnTo>
                    <a:pt x="3765" y="990"/>
                  </a:lnTo>
                  <a:lnTo>
                    <a:pt x="3461" y="990"/>
                  </a:lnTo>
                  <a:lnTo>
                    <a:pt x="3461" y="630"/>
                  </a:lnTo>
                  <a:lnTo>
                    <a:pt x="3765" y="630"/>
                  </a:lnTo>
                  <a:close/>
                  <a:moveTo>
                    <a:pt x="2661" y="286"/>
                  </a:moveTo>
                  <a:lnTo>
                    <a:pt x="3175" y="286"/>
                  </a:lnTo>
                  <a:lnTo>
                    <a:pt x="3175" y="342"/>
                  </a:lnTo>
                  <a:lnTo>
                    <a:pt x="3175" y="724"/>
                  </a:lnTo>
                  <a:lnTo>
                    <a:pt x="2661" y="724"/>
                  </a:lnTo>
                  <a:lnTo>
                    <a:pt x="2661"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800"/>
            </a:p>
          </p:txBody>
        </p:sp>
        <p:sp>
          <p:nvSpPr>
            <p:cNvPr id="257" name="Freeform 118">
              <a:extLst>
                <a:ext uri="{FF2B5EF4-FFF2-40B4-BE49-F238E27FC236}">
                  <a16:creationId xmlns:a16="http://schemas.microsoft.com/office/drawing/2014/main" id="{3A875E93-5641-4B24-B184-CEA15F358DC7}"/>
                </a:ext>
              </a:extLst>
            </p:cNvPr>
            <p:cNvSpPr>
              <a:spLocks noEditPoints="1"/>
            </p:cNvSpPr>
            <p:nvPr/>
          </p:nvSpPr>
          <p:spPr bwMode="auto">
            <a:xfrm>
              <a:off x="2226" y="2832"/>
              <a:ext cx="858" cy="2572"/>
            </a:xfrm>
            <a:custGeom>
              <a:avLst/>
              <a:gdLst>
                <a:gd name="T0" fmla="*/ 858 w 858"/>
                <a:gd name="T1" fmla="*/ 2572 h 2572"/>
                <a:gd name="T2" fmla="*/ 858 w 858"/>
                <a:gd name="T3" fmla="*/ 0 h 2572"/>
                <a:gd name="T4" fmla="*/ 0 w 858"/>
                <a:gd name="T5" fmla="*/ 0 h 2572"/>
                <a:gd name="T6" fmla="*/ 0 w 858"/>
                <a:gd name="T7" fmla="*/ 2572 h 2572"/>
                <a:gd name="T8" fmla="*/ 858 w 858"/>
                <a:gd name="T9" fmla="*/ 2572 h 2572"/>
                <a:gd name="T10" fmla="*/ 286 w 858"/>
                <a:gd name="T11" fmla="*/ 286 h 2572"/>
                <a:gd name="T12" fmla="*/ 572 w 858"/>
                <a:gd name="T13" fmla="*/ 286 h 2572"/>
                <a:gd name="T14" fmla="*/ 572 w 858"/>
                <a:gd name="T15" fmla="*/ 2286 h 2572"/>
                <a:gd name="T16" fmla="*/ 286 w 858"/>
                <a:gd name="T17" fmla="*/ 2286 h 2572"/>
                <a:gd name="T18" fmla="*/ 286 w 858"/>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8" h="2572">
                  <a:moveTo>
                    <a:pt x="858" y="2572"/>
                  </a:moveTo>
                  <a:lnTo>
                    <a:pt x="858" y="0"/>
                  </a:lnTo>
                  <a:lnTo>
                    <a:pt x="0" y="0"/>
                  </a:lnTo>
                  <a:lnTo>
                    <a:pt x="0" y="2572"/>
                  </a:lnTo>
                  <a:lnTo>
                    <a:pt x="858" y="2572"/>
                  </a:lnTo>
                  <a:close/>
                  <a:moveTo>
                    <a:pt x="286" y="286"/>
                  </a:moveTo>
                  <a:lnTo>
                    <a:pt x="572" y="286"/>
                  </a:lnTo>
                  <a:lnTo>
                    <a:pt x="572"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800"/>
            </a:p>
          </p:txBody>
        </p:sp>
        <p:sp>
          <p:nvSpPr>
            <p:cNvPr id="258" name="Freeform 119">
              <a:extLst>
                <a:ext uri="{FF2B5EF4-FFF2-40B4-BE49-F238E27FC236}">
                  <a16:creationId xmlns:a16="http://schemas.microsoft.com/office/drawing/2014/main" id="{AB0FBDFE-78BE-4D84-B31A-EBD878A8749E}"/>
                </a:ext>
              </a:extLst>
            </p:cNvPr>
            <p:cNvSpPr>
              <a:spLocks noEditPoints="1"/>
            </p:cNvSpPr>
            <p:nvPr/>
          </p:nvSpPr>
          <p:spPr bwMode="auto">
            <a:xfrm>
              <a:off x="3338" y="2832"/>
              <a:ext cx="858" cy="2572"/>
            </a:xfrm>
            <a:custGeom>
              <a:avLst/>
              <a:gdLst>
                <a:gd name="T0" fmla="*/ 858 w 858"/>
                <a:gd name="T1" fmla="*/ 2572 h 2572"/>
                <a:gd name="T2" fmla="*/ 858 w 858"/>
                <a:gd name="T3" fmla="*/ 0 h 2572"/>
                <a:gd name="T4" fmla="*/ 0 w 858"/>
                <a:gd name="T5" fmla="*/ 0 h 2572"/>
                <a:gd name="T6" fmla="*/ 0 w 858"/>
                <a:gd name="T7" fmla="*/ 2572 h 2572"/>
                <a:gd name="T8" fmla="*/ 858 w 858"/>
                <a:gd name="T9" fmla="*/ 2572 h 2572"/>
                <a:gd name="T10" fmla="*/ 286 w 858"/>
                <a:gd name="T11" fmla="*/ 286 h 2572"/>
                <a:gd name="T12" fmla="*/ 572 w 858"/>
                <a:gd name="T13" fmla="*/ 286 h 2572"/>
                <a:gd name="T14" fmla="*/ 572 w 858"/>
                <a:gd name="T15" fmla="*/ 2286 h 2572"/>
                <a:gd name="T16" fmla="*/ 286 w 858"/>
                <a:gd name="T17" fmla="*/ 2286 h 2572"/>
                <a:gd name="T18" fmla="*/ 286 w 858"/>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8" h="2572">
                  <a:moveTo>
                    <a:pt x="858" y="2572"/>
                  </a:moveTo>
                  <a:lnTo>
                    <a:pt x="858" y="0"/>
                  </a:lnTo>
                  <a:lnTo>
                    <a:pt x="0" y="0"/>
                  </a:lnTo>
                  <a:lnTo>
                    <a:pt x="0" y="2572"/>
                  </a:lnTo>
                  <a:lnTo>
                    <a:pt x="858" y="2572"/>
                  </a:lnTo>
                  <a:close/>
                  <a:moveTo>
                    <a:pt x="286" y="286"/>
                  </a:moveTo>
                  <a:lnTo>
                    <a:pt x="572" y="286"/>
                  </a:lnTo>
                  <a:lnTo>
                    <a:pt x="572"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800"/>
            </a:p>
          </p:txBody>
        </p:sp>
        <p:sp>
          <p:nvSpPr>
            <p:cNvPr id="259" name="Freeform 120">
              <a:extLst>
                <a:ext uri="{FF2B5EF4-FFF2-40B4-BE49-F238E27FC236}">
                  <a16:creationId xmlns:a16="http://schemas.microsoft.com/office/drawing/2014/main" id="{D33C50B0-4FCC-48E4-AE54-5A796E58D50E}"/>
                </a:ext>
              </a:extLst>
            </p:cNvPr>
            <p:cNvSpPr>
              <a:spLocks noEditPoints="1"/>
            </p:cNvSpPr>
            <p:nvPr/>
          </p:nvSpPr>
          <p:spPr bwMode="auto">
            <a:xfrm>
              <a:off x="4451" y="2832"/>
              <a:ext cx="856" cy="2572"/>
            </a:xfrm>
            <a:custGeom>
              <a:avLst/>
              <a:gdLst>
                <a:gd name="T0" fmla="*/ 856 w 856"/>
                <a:gd name="T1" fmla="*/ 2572 h 2572"/>
                <a:gd name="T2" fmla="*/ 856 w 856"/>
                <a:gd name="T3" fmla="*/ 0 h 2572"/>
                <a:gd name="T4" fmla="*/ 0 w 856"/>
                <a:gd name="T5" fmla="*/ 0 h 2572"/>
                <a:gd name="T6" fmla="*/ 0 w 856"/>
                <a:gd name="T7" fmla="*/ 2572 h 2572"/>
                <a:gd name="T8" fmla="*/ 856 w 856"/>
                <a:gd name="T9" fmla="*/ 2572 h 2572"/>
                <a:gd name="T10" fmla="*/ 286 w 856"/>
                <a:gd name="T11" fmla="*/ 286 h 2572"/>
                <a:gd name="T12" fmla="*/ 570 w 856"/>
                <a:gd name="T13" fmla="*/ 286 h 2572"/>
                <a:gd name="T14" fmla="*/ 570 w 856"/>
                <a:gd name="T15" fmla="*/ 2286 h 2572"/>
                <a:gd name="T16" fmla="*/ 286 w 856"/>
                <a:gd name="T17" fmla="*/ 2286 h 2572"/>
                <a:gd name="T18" fmla="*/ 286 w 856"/>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6" h="2572">
                  <a:moveTo>
                    <a:pt x="856" y="2572"/>
                  </a:moveTo>
                  <a:lnTo>
                    <a:pt x="856" y="0"/>
                  </a:lnTo>
                  <a:lnTo>
                    <a:pt x="0" y="0"/>
                  </a:lnTo>
                  <a:lnTo>
                    <a:pt x="0" y="2572"/>
                  </a:lnTo>
                  <a:lnTo>
                    <a:pt x="856" y="2572"/>
                  </a:lnTo>
                  <a:close/>
                  <a:moveTo>
                    <a:pt x="286" y="286"/>
                  </a:moveTo>
                  <a:lnTo>
                    <a:pt x="570" y="286"/>
                  </a:lnTo>
                  <a:lnTo>
                    <a:pt x="570"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800"/>
            </a:p>
          </p:txBody>
        </p:sp>
        <p:sp>
          <p:nvSpPr>
            <p:cNvPr id="260" name="Freeform 121">
              <a:extLst>
                <a:ext uri="{FF2B5EF4-FFF2-40B4-BE49-F238E27FC236}">
                  <a16:creationId xmlns:a16="http://schemas.microsoft.com/office/drawing/2014/main" id="{E5CA4C04-1A8D-4B96-8EF8-15842F70E02A}"/>
                </a:ext>
              </a:extLst>
            </p:cNvPr>
            <p:cNvSpPr>
              <a:spLocks noEditPoints="1"/>
            </p:cNvSpPr>
            <p:nvPr/>
          </p:nvSpPr>
          <p:spPr bwMode="auto">
            <a:xfrm>
              <a:off x="5561" y="2832"/>
              <a:ext cx="858" cy="2572"/>
            </a:xfrm>
            <a:custGeom>
              <a:avLst/>
              <a:gdLst>
                <a:gd name="T0" fmla="*/ 858 w 858"/>
                <a:gd name="T1" fmla="*/ 2572 h 2572"/>
                <a:gd name="T2" fmla="*/ 858 w 858"/>
                <a:gd name="T3" fmla="*/ 0 h 2572"/>
                <a:gd name="T4" fmla="*/ 0 w 858"/>
                <a:gd name="T5" fmla="*/ 0 h 2572"/>
                <a:gd name="T6" fmla="*/ 0 w 858"/>
                <a:gd name="T7" fmla="*/ 2572 h 2572"/>
                <a:gd name="T8" fmla="*/ 858 w 858"/>
                <a:gd name="T9" fmla="*/ 2572 h 2572"/>
                <a:gd name="T10" fmla="*/ 286 w 858"/>
                <a:gd name="T11" fmla="*/ 286 h 2572"/>
                <a:gd name="T12" fmla="*/ 572 w 858"/>
                <a:gd name="T13" fmla="*/ 286 h 2572"/>
                <a:gd name="T14" fmla="*/ 572 w 858"/>
                <a:gd name="T15" fmla="*/ 2286 h 2572"/>
                <a:gd name="T16" fmla="*/ 286 w 858"/>
                <a:gd name="T17" fmla="*/ 2286 h 2572"/>
                <a:gd name="T18" fmla="*/ 286 w 858"/>
                <a:gd name="T19" fmla="*/ 286 h 2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8" h="2572">
                  <a:moveTo>
                    <a:pt x="858" y="2572"/>
                  </a:moveTo>
                  <a:lnTo>
                    <a:pt x="858" y="0"/>
                  </a:lnTo>
                  <a:lnTo>
                    <a:pt x="0" y="0"/>
                  </a:lnTo>
                  <a:lnTo>
                    <a:pt x="0" y="2572"/>
                  </a:lnTo>
                  <a:lnTo>
                    <a:pt x="858" y="2572"/>
                  </a:lnTo>
                  <a:close/>
                  <a:moveTo>
                    <a:pt x="286" y="286"/>
                  </a:moveTo>
                  <a:lnTo>
                    <a:pt x="572" y="286"/>
                  </a:lnTo>
                  <a:lnTo>
                    <a:pt x="572" y="2286"/>
                  </a:lnTo>
                  <a:lnTo>
                    <a:pt x="286" y="2286"/>
                  </a:lnTo>
                  <a:lnTo>
                    <a:pt x="28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800"/>
            </a:p>
          </p:txBody>
        </p:sp>
      </p:grpSp>
      <p:sp>
        <p:nvSpPr>
          <p:cNvPr id="73" name="Google Shape;50;p2">
            <a:extLst>
              <a:ext uri="{FF2B5EF4-FFF2-40B4-BE49-F238E27FC236}">
                <a16:creationId xmlns:a16="http://schemas.microsoft.com/office/drawing/2014/main" id="{A9D0A30A-CACD-497A-AFE1-E089D87BB83C}"/>
              </a:ext>
            </a:extLst>
          </p:cNvPr>
          <p:cNvSpPr txBox="1">
            <a:spLocks noGrp="1"/>
          </p:cNvSpPr>
          <p:nvPr>
            <p:ph type="title"/>
          </p:nvPr>
        </p:nvSpPr>
        <p:spPr>
          <a:xfrm>
            <a:off x="442914" y="345559"/>
            <a:ext cx="11306175" cy="369332"/>
          </a:xfrm>
        </p:spPr>
        <p:txBody>
          <a:bodyPr anchor="ctr" anchorCtr="0">
            <a:normAutofit/>
          </a:bodyPr>
          <a:lstStyle/>
          <a:p>
            <a:pPr lvl="0"/>
            <a:r>
              <a:rPr lang="en-US" sz="2400" b="0" dirty="0">
                <a:latin typeface="Georgia" panose="02040502050405020303" pitchFamily="18" charset="0"/>
              </a:rPr>
              <a:t>Financial Assessment</a:t>
            </a:r>
          </a:p>
        </p:txBody>
      </p:sp>
      <p:sp>
        <p:nvSpPr>
          <p:cNvPr id="4" name="Date Placeholder 3">
            <a:extLst>
              <a:ext uri="{FF2B5EF4-FFF2-40B4-BE49-F238E27FC236}">
                <a16:creationId xmlns:a16="http://schemas.microsoft.com/office/drawing/2014/main" id="{28C4358C-F459-4875-BA50-52FA860FBD45}"/>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5" name="Slide Number Placeholder 4">
            <a:extLst>
              <a:ext uri="{FF2B5EF4-FFF2-40B4-BE49-F238E27FC236}">
                <a16:creationId xmlns:a16="http://schemas.microsoft.com/office/drawing/2014/main" id="{2F2DCBF8-CA51-4C7C-8243-0AFEBC929292}"/>
              </a:ext>
            </a:extLst>
          </p:cNvPr>
          <p:cNvSpPr>
            <a:spLocks noGrp="1"/>
          </p:cNvSpPr>
          <p:nvPr>
            <p:ph type="sldNum" idx="12"/>
          </p:nvPr>
        </p:nvSpPr>
        <p:spPr/>
        <p:txBody>
          <a:bodyPr/>
          <a:lstStyle/>
          <a:p>
            <a:pPr lvl="0"/>
            <a:fld id="{00000000-1234-1234-1234-123412341234}" type="slidenum">
              <a:rPr lang="en-US" smtClean="0"/>
              <a:pPr lvl="0"/>
              <a:t>20</a:t>
            </a:fld>
            <a:endParaRPr lang="en-US"/>
          </a:p>
        </p:txBody>
      </p:sp>
    </p:spTree>
    <p:custDataLst>
      <p:custData r:id="rId1"/>
    </p:custDataLst>
    <p:extLst>
      <p:ext uri="{BB962C8B-B14F-4D97-AF65-F5344CB8AC3E}">
        <p14:creationId xmlns:p14="http://schemas.microsoft.com/office/powerpoint/2010/main" val="18817506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6000"/>
            <a:lum/>
            <a:extLst>
              <a:ext uri="{837473B0-CC2E-450A-ABE3-18F120FF3D39}">
                <a1611:picAttrSrcUrl xmlns:a1611="http://schemas.microsoft.com/office/drawing/2016/11/main" r:id="rId4"/>
              </a:ext>
            </a:extLst>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379AA2-ED46-4BD9-A397-5BBD93295767}"/>
              </a:ext>
            </a:extLst>
          </p:cNvPr>
          <p:cNvSpPr/>
          <p:nvPr/>
        </p:nvSpPr>
        <p:spPr>
          <a:xfrm>
            <a:off x="0" y="2150807"/>
            <a:ext cx="7895073" cy="2556387"/>
          </a:xfrm>
          <a:prstGeom prst="rect">
            <a:avLst/>
          </a:prstGeom>
          <a:solidFill>
            <a:schemeClr val="accent1">
              <a:lumMod val="7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a:solidFill>
                  <a:prstClr val="white"/>
                </a:solidFill>
                <a:latin typeface="Georgia"/>
              </a:rPr>
              <a:t>External Enablers</a:t>
            </a:r>
            <a:endParaRPr kumimoji="0" lang="en-US" sz="3200" b="0" i="0" u="none" strike="noStrike" kern="1200" cap="none" spc="0" normalizeH="0" baseline="0" noProof="0">
              <a:ln>
                <a:noFill/>
              </a:ln>
              <a:solidFill>
                <a:prstClr val="white"/>
              </a:solidFill>
              <a:effectLst/>
              <a:uLnTx/>
              <a:uFillTx/>
              <a:latin typeface="Georgia"/>
              <a:ea typeface="+mn-ea"/>
              <a:cs typeface="+mn-cs"/>
            </a:endParaRPr>
          </a:p>
        </p:txBody>
      </p:sp>
    </p:spTree>
    <p:custDataLst>
      <p:custData r:id="rId1"/>
    </p:custDataLst>
    <p:extLst>
      <p:ext uri="{BB962C8B-B14F-4D97-AF65-F5344CB8AC3E}">
        <p14:creationId xmlns:p14="http://schemas.microsoft.com/office/powerpoint/2010/main" val="17941689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201618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pPr lvl="0"/>
            <a:r>
              <a:rPr lang="en-US" sz="2400" b="0" dirty="0">
                <a:latin typeface="Georgia" panose="02040502050405020303" pitchFamily="18" charset="0"/>
              </a:rPr>
              <a:t>Infrastructure Investment and Trade Facilitation</a:t>
            </a:r>
          </a:p>
        </p:txBody>
      </p:sp>
      <p:sp>
        <p:nvSpPr>
          <p:cNvPr id="85" name="Freeform: Shape 84">
            <a:extLst>
              <a:ext uri="{FF2B5EF4-FFF2-40B4-BE49-F238E27FC236}">
                <a16:creationId xmlns:a16="http://schemas.microsoft.com/office/drawing/2014/main" id="{D1FE9C22-E182-4069-9CA3-D97A45A73B75}"/>
              </a:ext>
            </a:extLst>
          </p:cNvPr>
          <p:cNvSpPr/>
          <p:nvPr/>
        </p:nvSpPr>
        <p:spPr>
          <a:xfrm>
            <a:off x="489061" y="2515569"/>
            <a:ext cx="1647964" cy="280791"/>
          </a:xfrm>
          <a:custGeom>
            <a:avLst/>
            <a:gdLst>
              <a:gd name="connsiteX0" fmla="*/ 0 w 6131333"/>
              <a:gd name="connsiteY0" fmla="*/ 0 h 382434"/>
              <a:gd name="connsiteX1" fmla="*/ 6131333 w 6131333"/>
              <a:gd name="connsiteY1" fmla="*/ 0 h 382434"/>
              <a:gd name="connsiteX2" fmla="*/ 6131333 w 6131333"/>
              <a:gd name="connsiteY2" fmla="*/ 382434 h 382434"/>
              <a:gd name="connsiteX3" fmla="*/ 0 w 6131333"/>
              <a:gd name="connsiteY3" fmla="*/ 382434 h 382434"/>
              <a:gd name="connsiteX4" fmla="*/ 0 w 6131333"/>
              <a:gd name="connsiteY4" fmla="*/ 0 h 38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1333" h="382434">
                <a:moveTo>
                  <a:pt x="0" y="0"/>
                </a:moveTo>
                <a:lnTo>
                  <a:pt x="6131333" y="0"/>
                </a:lnTo>
                <a:lnTo>
                  <a:pt x="6131333" y="382434"/>
                </a:lnTo>
                <a:lnTo>
                  <a:pt x="0" y="382434"/>
                </a:lnTo>
                <a:lnTo>
                  <a:pt x="0" y="0"/>
                </a:lnTo>
                <a:close/>
              </a:path>
            </a:pathLst>
          </a:custGeom>
          <a:solidFill>
            <a:schemeClr val="accent1">
              <a:lumMod val="20000"/>
              <a:lumOff val="80000"/>
            </a:schemeClr>
          </a:solidFill>
          <a:ln>
            <a:noFill/>
          </a:ln>
          <a:effectLst/>
        </p:spPr>
        <p:txBody>
          <a:bodyPr spcFirstLastPara="0" vert="horz" wrap="square" lIns="0" tIns="57150" rIns="0" bIns="57150" numCol="1" spcCol="1270" anchor="b" anchorCtr="0">
            <a:noAutofit/>
          </a:bodyPr>
          <a:lstStyle/>
          <a:p>
            <a:pPr marL="0" marR="0" lvl="0" indent="0" defTabSz="666750" eaLnBrk="1" fontAlgn="auto" latinLnBrk="0" hangingPunct="1">
              <a:lnSpc>
                <a:spcPct val="100000"/>
              </a:lnSpc>
              <a:spcBef>
                <a:spcPct val="0"/>
              </a:spcBef>
              <a:spcAft>
                <a:spcPts val="300"/>
              </a:spcAft>
              <a:buClr>
                <a:srgbClr val="000000"/>
              </a:buClr>
              <a:buSzTx/>
              <a:buFont typeface="Arial"/>
              <a:buNone/>
              <a:tabLst/>
              <a:defRPr/>
            </a:pPr>
            <a:r>
              <a:rPr kumimoji="0" lang="en-US" sz="1400" b="1" i="0" u="none" strike="noStrike" kern="0" cap="none" spc="0" normalizeH="0" baseline="0" noProof="0">
                <a:ln>
                  <a:noFill/>
                </a:ln>
                <a:solidFill>
                  <a:srgbClr val="000000">
                    <a:hueOff val="0"/>
                    <a:satOff val="0"/>
                    <a:lumOff val="0"/>
                    <a:alphaOff val="0"/>
                  </a:srgbClr>
                </a:solidFill>
                <a:effectLst/>
                <a:uLnTx/>
                <a:uFillTx/>
                <a:latin typeface="Arial"/>
                <a:ea typeface="+mn-ea"/>
                <a:cs typeface="+mn-cs"/>
                <a:sym typeface="Arial"/>
              </a:rPr>
              <a:t>Modernize BCP</a:t>
            </a:r>
          </a:p>
        </p:txBody>
      </p:sp>
      <p:sp>
        <p:nvSpPr>
          <p:cNvPr id="86" name="Freeform: Shape 85">
            <a:extLst>
              <a:ext uri="{FF2B5EF4-FFF2-40B4-BE49-F238E27FC236}">
                <a16:creationId xmlns:a16="http://schemas.microsoft.com/office/drawing/2014/main" id="{D21423E1-AF01-45EE-BF80-A3AE08215638}"/>
              </a:ext>
            </a:extLst>
          </p:cNvPr>
          <p:cNvSpPr/>
          <p:nvPr/>
        </p:nvSpPr>
        <p:spPr>
          <a:xfrm>
            <a:off x="640162" y="2808691"/>
            <a:ext cx="11108926" cy="851760"/>
          </a:xfrm>
          <a:custGeom>
            <a:avLst/>
            <a:gdLst>
              <a:gd name="connsiteX0" fmla="*/ 0 w 6131308"/>
              <a:gd name="connsiteY0" fmla="*/ 0 h 623226"/>
              <a:gd name="connsiteX1" fmla="*/ 6131308 w 6131308"/>
              <a:gd name="connsiteY1" fmla="*/ 0 h 623226"/>
              <a:gd name="connsiteX2" fmla="*/ 6131308 w 6131308"/>
              <a:gd name="connsiteY2" fmla="*/ 623226 h 623226"/>
              <a:gd name="connsiteX3" fmla="*/ 0 w 6131308"/>
              <a:gd name="connsiteY3" fmla="*/ 623226 h 623226"/>
              <a:gd name="connsiteX4" fmla="*/ 0 w 6131308"/>
              <a:gd name="connsiteY4" fmla="*/ 0 h 623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1308" h="623226">
                <a:moveTo>
                  <a:pt x="0" y="0"/>
                </a:moveTo>
                <a:lnTo>
                  <a:pt x="6131308" y="0"/>
                </a:lnTo>
                <a:lnTo>
                  <a:pt x="6131308" y="623226"/>
                </a:lnTo>
                <a:lnTo>
                  <a:pt x="0" y="623226"/>
                </a:lnTo>
                <a:lnTo>
                  <a:pt x="0" y="0"/>
                </a:lnTo>
                <a:close/>
              </a:path>
            </a:pathLst>
          </a:custGeom>
          <a:solidFill>
            <a:srgbClr val="7D7D7D">
              <a:lumMod val="20000"/>
              <a:lumOff val="80000"/>
            </a:srgbClr>
          </a:solidFill>
          <a:ln w="12700" cap="flat" cmpd="sng" algn="ctr">
            <a:noFill/>
            <a:prstDash val="solid"/>
          </a:ln>
          <a:effectLst/>
        </p:spPr>
        <p:txBody>
          <a:bodyPr spcFirstLastPara="0" vert="horz" wrap="square" lIns="90000" tIns="90000" rIns="90000" bIns="90000" numCol="1" spcCol="1270" anchor="ctr" anchorCtr="0">
            <a:noAutofit/>
          </a:bodyPr>
          <a:lstStyle/>
          <a:p>
            <a:pPr marL="171450" marR="0" lvl="0" indent="-171450" defTabSz="533400" eaLnBrk="1" fontAlgn="auto" latinLnBrk="0" hangingPunct="1">
              <a:lnSpc>
                <a:spcPct val="100000"/>
              </a:lnSpc>
              <a:spcBef>
                <a:spcPct val="0"/>
              </a:spcBef>
              <a:spcAft>
                <a:spcPts val="300"/>
              </a:spcAft>
              <a:buClr>
                <a:srgbClr val="000000"/>
              </a:buClr>
              <a:buSzTx/>
              <a:buFont typeface="Arial" panose="020B0604020202020204" pitchFamily="34" charset="0"/>
              <a:buChar char="•"/>
              <a:tabLst/>
              <a:defRPr/>
            </a:pPr>
            <a:r>
              <a:rPr lang="en-US" sz="1400">
                <a:effectLst/>
                <a:latin typeface="Arial" panose="020B0604020202020204" pitchFamily="34" charset="0"/>
                <a:ea typeface="SimSun" panose="02010600030101010101" pitchFamily="2" charset="-122"/>
                <a:cs typeface="Times New Roman" panose="02020603050405020304" pitchFamily="18" charset="0"/>
              </a:rPr>
              <a:t>Considering the increasing cargo turnover from Central and South Asian countries</a:t>
            </a:r>
            <a:r>
              <a:rPr lang="en-US" sz="1400" b="1">
                <a:effectLst/>
                <a:latin typeface="Arial" panose="020B0604020202020204" pitchFamily="34" charset="0"/>
                <a:ea typeface="SimSun" panose="02010600030101010101" pitchFamily="2" charset="-122"/>
                <a:cs typeface="Times New Roman" panose="02020603050405020304" pitchFamily="18" charset="0"/>
              </a:rPr>
              <a:t>, it is necessary to modernize the trade and logistics infrastructure at the border</a:t>
            </a:r>
            <a:endParaRPr kumimoji="0" lang="en-US" sz="1400" b="1" i="0" u="none" strike="noStrike" kern="0" cap="none" spc="0" normalizeH="0" baseline="0" noProof="0">
              <a:ln>
                <a:noFill/>
              </a:ln>
              <a:solidFill>
                <a:srgbClr val="000000">
                  <a:hueOff val="0"/>
                  <a:satOff val="0"/>
                  <a:lumOff val="0"/>
                  <a:alphaOff val="0"/>
                </a:srgbClr>
              </a:solidFill>
              <a:effectLst/>
              <a:uLnTx/>
              <a:uFillTx/>
              <a:latin typeface="Arial"/>
              <a:ea typeface="+mn-ea"/>
              <a:cs typeface="+mn-cs"/>
              <a:sym typeface="Arial"/>
            </a:endParaRPr>
          </a:p>
        </p:txBody>
      </p:sp>
      <p:sp>
        <p:nvSpPr>
          <p:cNvPr id="95" name="Freeform: Shape 94">
            <a:extLst>
              <a:ext uri="{FF2B5EF4-FFF2-40B4-BE49-F238E27FC236}">
                <a16:creationId xmlns:a16="http://schemas.microsoft.com/office/drawing/2014/main" id="{B4492212-7A47-4826-BF55-7B2257E52E75}"/>
              </a:ext>
            </a:extLst>
          </p:cNvPr>
          <p:cNvSpPr/>
          <p:nvPr/>
        </p:nvSpPr>
        <p:spPr>
          <a:xfrm>
            <a:off x="574975" y="2808691"/>
            <a:ext cx="109648" cy="851757"/>
          </a:xfrm>
          <a:custGeom>
            <a:avLst/>
            <a:gdLst>
              <a:gd name="connsiteX0" fmla="*/ 0 w 6131308"/>
              <a:gd name="connsiteY0" fmla="*/ 0 h 623226"/>
              <a:gd name="connsiteX1" fmla="*/ 6131308 w 6131308"/>
              <a:gd name="connsiteY1" fmla="*/ 0 h 623226"/>
              <a:gd name="connsiteX2" fmla="*/ 6131308 w 6131308"/>
              <a:gd name="connsiteY2" fmla="*/ 623226 h 623226"/>
              <a:gd name="connsiteX3" fmla="*/ 0 w 6131308"/>
              <a:gd name="connsiteY3" fmla="*/ 623226 h 623226"/>
              <a:gd name="connsiteX4" fmla="*/ 0 w 6131308"/>
              <a:gd name="connsiteY4" fmla="*/ 0 h 623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1308" h="623226">
                <a:moveTo>
                  <a:pt x="0" y="0"/>
                </a:moveTo>
                <a:lnTo>
                  <a:pt x="6131308" y="0"/>
                </a:lnTo>
                <a:lnTo>
                  <a:pt x="6131308" y="623226"/>
                </a:lnTo>
                <a:lnTo>
                  <a:pt x="0" y="623226"/>
                </a:lnTo>
                <a:lnTo>
                  <a:pt x="0" y="0"/>
                </a:lnTo>
                <a:close/>
              </a:path>
            </a:pathLst>
          </a:custGeom>
          <a:solidFill>
            <a:srgbClr val="000000"/>
          </a:solidFill>
          <a:ln w="12700" cap="flat" cmpd="sng" algn="ctr">
            <a:noFill/>
            <a:prstDash val="solid"/>
          </a:ln>
          <a:effectLst/>
        </p:spPr>
        <p:txBody>
          <a:bodyPr spcFirstLastPara="0" vert="horz" wrap="square" lIns="90000" tIns="90000" rIns="90000" bIns="90000" numCol="1" spcCol="1270" anchor="ctr" anchorCtr="0">
            <a:noAutofit/>
          </a:bodyPr>
          <a:lstStyle/>
          <a:p>
            <a:pPr marL="0" marR="0" lvl="0" indent="0" defTabSz="533400" eaLnBrk="1" fontAlgn="auto" latinLnBrk="0" hangingPunct="1">
              <a:lnSpc>
                <a:spcPct val="100000"/>
              </a:lnSpc>
              <a:spcBef>
                <a:spcPct val="0"/>
              </a:spcBef>
              <a:spcAft>
                <a:spcPts val="300"/>
              </a:spcAft>
              <a:buClr>
                <a:srgbClr val="000000"/>
              </a:buClr>
              <a:buSzTx/>
              <a:buFont typeface="Arial"/>
              <a:buNone/>
              <a:tabLst/>
              <a:defRPr/>
            </a:pPr>
            <a:endParaRPr kumimoji="0" lang="en-US" sz="1050" b="0" i="0" u="none" strike="noStrike" kern="0" cap="none" spc="0" normalizeH="0" baseline="0" noProof="0">
              <a:ln>
                <a:noFill/>
              </a:ln>
              <a:solidFill>
                <a:srgbClr val="000000">
                  <a:hueOff val="0"/>
                  <a:satOff val="0"/>
                  <a:lumOff val="0"/>
                  <a:alphaOff val="0"/>
                </a:srgbClr>
              </a:solidFill>
              <a:effectLst/>
              <a:uLnTx/>
              <a:uFillTx/>
              <a:latin typeface="Arial"/>
              <a:ea typeface="+mn-ea"/>
              <a:cs typeface="+mn-cs"/>
              <a:sym typeface="Arial"/>
            </a:endParaRPr>
          </a:p>
        </p:txBody>
      </p:sp>
      <p:sp>
        <p:nvSpPr>
          <p:cNvPr id="122" name="Google Shape;6278;g138ac581a49_12_50">
            <a:extLst>
              <a:ext uri="{FF2B5EF4-FFF2-40B4-BE49-F238E27FC236}">
                <a16:creationId xmlns:a16="http://schemas.microsoft.com/office/drawing/2014/main" id="{2FCE6EFF-033E-4C96-B8D8-15D70F1B3D65}"/>
              </a:ext>
            </a:extLst>
          </p:cNvPr>
          <p:cNvSpPr/>
          <p:nvPr/>
        </p:nvSpPr>
        <p:spPr>
          <a:xfrm>
            <a:off x="3464716" y="3996816"/>
            <a:ext cx="2747553" cy="925151"/>
          </a:xfrm>
          <a:prstGeom prst="roundRect">
            <a:avLst>
              <a:gd name="adj" fmla="val 5070"/>
            </a:avLst>
          </a:prstGeom>
          <a:solidFill>
            <a:srgbClr val="FFFFFF"/>
          </a:solidFill>
          <a:ln w="9525" cap="flat" cmpd="sng">
            <a:solidFill>
              <a:srgbClr val="808080"/>
            </a:solidFill>
            <a:prstDash val="dash"/>
            <a:miter lim="800000"/>
            <a:headEnd type="none" w="sm" len="sm"/>
            <a:tailEnd type="none" w="sm" len="sm"/>
          </a:ln>
        </p:spPr>
        <p:txBody>
          <a:bodyPr spcFirstLastPara="1" wrap="square" lIns="640075" tIns="91425" rIns="76200" bIns="91425" anchor="ctr" anchorCtr="0">
            <a:noAutofit/>
          </a:bodyPr>
          <a:lstStyle/>
          <a:p>
            <a:pPr>
              <a:buClr>
                <a:srgbClr val="000000"/>
              </a:buClr>
              <a:buSzPts val="900"/>
              <a:buFont typeface="Arial"/>
              <a:buNone/>
            </a:pPr>
            <a:endParaRPr sz="1500" kern="0">
              <a:solidFill>
                <a:srgbClr val="000000"/>
              </a:solidFill>
              <a:latin typeface="Arial" panose="020B0604020202020204" pitchFamily="34" charset="0"/>
              <a:ea typeface="Arial"/>
              <a:cs typeface="Arial" panose="020B0604020202020204" pitchFamily="34" charset="0"/>
              <a:sym typeface="Arial"/>
            </a:endParaRPr>
          </a:p>
        </p:txBody>
      </p:sp>
      <p:sp>
        <p:nvSpPr>
          <p:cNvPr id="125" name="Google Shape;6281;g138ac581a49_12_50">
            <a:extLst>
              <a:ext uri="{FF2B5EF4-FFF2-40B4-BE49-F238E27FC236}">
                <a16:creationId xmlns:a16="http://schemas.microsoft.com/office/drawing/2014/main" id="{CB449F90-D22B-4CBB-BC06-96103DB62C1E}"/>
              </a:ext>
            </a:extLst>
          </p:cNvPr>
          <p:cNvSpPr/>
          <p:nvPr/>
        </p:nvSpPr>
        <p:spPr>
          <a:xfrm>
            <a:off x="6312382" y="3996816"/>
            <a:ext cx="2747553" cy="925151"/>
          </a:xfrm>
          <a:prstGeom prst="roundRect">
            <a:avLst>
              <a:gd name="adj" fmla="val 5070"/>
            </a:avLst>
          </a:prstGeom>
          <a:solidFill>
            <a:srgbClr val="FFFFFF"/>
          </a:solidFill>
          <a:ln w="9525" cap="flat" cmpd="sng">
            <a:solidFill>
              <a:srgbClr val="808080"/>
            </a:solidFill>
            <a:prstDash val="dash"/>
            <a:miter lim="800000"/>
            <a:headEnd type="none" w="sm" len="sm"/>
            <a:tailEnd type="none" w="sm" len="sm"/>
          </a:ln>
        </p:spPr>
        <p:txBody>
          <a:bodyPr spcFirstLastPara="1" wrap="square" lIns="640075" tIns="91425" rIns="76200" bIns="91425" anchor="ctr" anchorCtr="0">
            <a:noAutofit/>
          </a:bodyPr>
          <a:lstStyle/>
          <a:p>
            <a:pPr>
              <a:buClr>
                <a:srgbClr val="000000"/>
              </a:buClr>
              <a:buSzPts val="900"/>
              <a:buFont typeface="Arial"/>
              <a:buNone/>
            </a:pPr>
            <a:endParaRPr sz="1500" kern="0">
              <a:solidFill>
                <a:srgbClr val="000000"/>
              </a:solidFill>
              <a:latin typeface="Arial" panose="020B0604020202020204" pitchFamily="34" charset="0"/>
              <a:ea typeface="Arial"/>
              <a:cs typeface="Arial" panose="020B0604020202020204" pitchFamily="34" charset="0"/>
              <a:sym typeface="Arial"/>
            </a:endParaRPr>
          </a:p>
        </p:txBody>
      </p:sp>
      <p:sp>
        <p:nvSpPr>
          <p:cNvPr id="128" name="Google Shape;6284;g138ac581a49_12_50">
            <a:extLst>
              <a:ext uri="{FF2B5EF4-FFF2-40B4-BE49-F238E27FC236}">
                <a16:creationId xmlns:a16="http://schemas.microsoft.com/office/drawing/2014/main" id="{BAE13F06-96F3-4431-9FF9-382AD5CABA3A}"/>
              </a:ext>
            </a:extLst>
          </p:cNvPr>
          <p:cNvSpPr/>
          <p:nvPr/>
        </p:nvSpPr>
        <p:spPr>
          <a:xfrm>
            <a:off x="9160048" y="3996816"/>
            <a:ext cx="2747553" cy="925151"/>
          </a:xfrm>
          <a:prstGeom prst="roundRect">
            <a:avLst>
              <a:gd name="adj" fmla="val 5070"/>
            </a:avLst>
          </a:prstGeom>
          <a:solidFill>
            <a:srgbClr val="FFFFFF"/>
          </a:solidFill>
          <a:ln w="9525" cap="flat" cmpd="sng">
            <a:solidFill>
              <a:srgbClr val="808080"/>
            </a:solidFill>
            <a:prstDash val="dash"/>
            <a:miter lim="800000"/>
            <a:headEnd type="none" w="sm" len="sm"/>
            <a:tailEnd type="none" w="sm" len="sm"/>
          </a:ln>
        </p:spPr>
        <p:txBody>
          <a:bodyPr spcFirstLastPara="1" wrap="square" lIns="640075" tIns="91425" rIns="76200" bIns="91425" anchor="ctr" anchorCtr="0">
            <a:noAutofit/>
          </a:bodyPr>
          <a:lstStyle/>
          <a:p>
            <a:pPr>
              <a:buClr>
                <a:srgbClr val="000000"/>
              </a:buClr>
              <a:buSzPts val="900"/>
              <a:buFont typeface="Arial"/>
              <a:buNone/>
            </a:pPr>
            <a:r>
              <a:rPr lang="en-US" sz="1500" kern="0" dirty="0">
                <a:solidFill>
                  <a:srgbClr val="000000"/>
                </a:solidFill>
                <a:latin typeface="Arial" panose="020B0604020202020204" pitchFamily="34" charset="0"/>
                <a:ea typeface="Arial"/>
                <a:cs typeface="Arial" panose="020B0604020202020204" pitchFamily="34" charset="0"/>
                <a:sym typeface="Arial"/>
              </a:rPr>
              <a:t>Adoption of integrated border management</a:t>
            </a:r>
            <a:endParaRPr sz="1500" kern="0" dirty="0">
              <a:solidFill>
                <a:srgbClr val="000000"/>
              </a:solidFill>
              <a:latin typeface="Arial" panose="020B0604020202020204" pitchFamily="34" charset="0"/>
              <a:ea typeface="Arial"/>
              <a:cs typeface="Arial" panose="020B0604020202020204" pitchFamily="34" charset="0"/>
              <a:sym typeface="Arial"/>
            </a:endParaRPr>
          </a:p>
        </p:txBody>
      </p:sp>
      <p:sp>
        <p:nvSpPr>
          <p:cNvPr id="131" name="Google Shape;6287;g138ac581a49_12_50">
            <a:extLst>
              <a:ext uri="{FF2B5EF4-FFF2-40B4-BE49-F238E27FC236}">
                <a16:creationId xmlns:a16="http://schemas.microsoft.com/office/drawing/2014/main" id="{3428815A-BC22-4CB4-A1D8-2A54B0730172}"/>
              </a:ext>
            </a:extLst>
          </p:cNvPr>
          <p:cNvSpPr/>
          <p:nvPr/>
        </p:nvSpPr>
        <p:spPr>
          <a:xfrm>
            <a:off x="617050" y="3996816"/>
            <a:ext cx="2747553" cy="925151"/>
          </a:xfrm>
          <a:prstGeom prst="roundRect">
            <a:avLst>
              <a:gd name="adj" fmla="val 5070"/>
            </a:avLst>
          </a:prstGeom>
          <a:solidFill>
            <a:srgbClr val="FFFFFF"/>
          </a:solidFill>
          <a:ln w="9525" cap="flat" cmpd="sng">
            <a:solidFill>
              <a:srgbClr val="808080"/>
            </a:solidFill>
            <a:prstDash val="dash"/>
            <a:miter lim="800000"/>
            <a:headEnd type="none" w="sm" len="sm"/>
            <a:tailEnd type="none" w="sm" len="sm"/>
          </a:ln>
        </p:spPr>
        <p:txBody>
          <a:bodyPr spcFirstLastPara="1" wrap="square" lIns="640075" tIns="91425" rIns="76200" bIns="91425" anchor="ctr" anchorCtr="0">
            <a:noAutofit/>
          </a:bodyPr>
          <a:lstStyle/>
          <a:p>
            <a:pPr>
              <a:buClr>
                <a:srgbClr val="000000"/>
              </a:buClr>
              <a:buSzPts val="900"/>
              <a:buFont typeface="Arial"/>
              <a:buNone/>
            </a:pPr>
            <a:r>
              <a:rPr lang="en-US" sz="1500" kern="0" dirty="0">
                <a:solidFill>
                  <a:srgbClr val="000000"/>
                </a:solidFill>
                <a:latin typeface="Arial" panose="020B0604020202020204" pitchFamily="34" charset="0"/>
                <a:ea typeface="Arial"/>
                <a:cs typeface="Arial" panose="020B0604020202020204" pitchFamily="34" charset="0"/>
                <a:sym typeface="Arial"/>
              </a:rPr>
              <a:t>Smart Queuing management and Parking center</a:t>
            </a:r>
            <a:endParaRPr sz="1500" kern="0" dirty="0">
              <a:solidFill>
                <a:srgbClr val="000000"/>
              </a:solidFill>
              <a:latin typeface="Arial" panose="020B0604020202020204" pitchFamily="34" charset="0"/>
              <a:ea typeface="Arial"/>
              <a:cs typeface="Arial" panose="020B0604020202020204" pitchFamily="34" charset="0"/>
              <a:sym typeface="Arial"/>
            </a:endParaRPr>
          </a:p>
        </p:txBody>
      </p:sp>
      <p:pic>
        <p:nvPicPr>
          <p:cNvPr id="133" name="Google Shape;6291;g138ac581a49_12_50" descr="Icon&#10;&#10;Description automatically generated">
            <a:extLst>
              <a:ext uri="{FF2B5EF4-FFF2-40B4-BE49-F238E27FC236}">
                <a16:creationId xmlns:a16="http://schemas.microsoft.com/office/drawing/2014/main" id="{E70DD3EE-E71A-412A-B297-1700FAC79D13}"/>
              </a:ext>
            </a:extLst>
          </p:cNvPr>
          <p:cNvPicPr preferRelativeResize="0"/>
          <p:nvPr/>
        </p:nvPicPr>
        <p:blipFill rotWithShape="1">
          <a:blip r:embed="rId7">
            <a:alphaModFix/>
          </a:blip>
          <a:srcRect/>
          <a:stretch/>
        </p:blipFill>
        <p:spPr>
          <a:xfrm>
            <a:off x="11489475" y="3642977"/>
            <a:ext cx="195033" cy="195033"/>
          </a:xfrm>
          <a:prstGeom prst="rect">
            <a:avLst/>
          </a:prstGeom>
          <a:noFill/>
          <a:ln>
            <a:noFill/>
          </a:ln>
        </p:spPr>
      </p:pic>
      <p:sp>
        <p:nvSpPr>
          <p:cNvPr id="4" name="TextBox 3">
            <a:extLst>
              <a:ext uri="{FF2B5EF4-FFF2-40B4-BE49-F238E27FC236}">
                <a16:creationId xmlns:a16="http://schemas.microsoft.com/office/drawing/2014/main" id="{47A10A3E-BFA6-496B-9BD0-61433D1AAE0F}"/>
              </a:ext>
            </a:extLst>
          </p:cNvPr>
          <p:cNvSpPr txBox="1"/>
          <p:nvPr/>
        </p:nvSpPr>
        <p:spPr>
          <a:xfrm>
            <a:off x="4268831" y="4153661"/>
            <a:ext cx="1801792" cy="553998"/>
          </a:xfrm>
          <a:prstGeom prst="rect">
            <a:avLst/>
          </a:prstGeom>
          <a:noFill/>
        </p:spPr>
        <p:txBody>
          <a:bodyPr wrap="square" rtlCol="0">
            <a:spAutoFit/>
          </a:bodyPr>
          <a:lstStyle/>
          <a:p>
            <a:r>
              <a:rPr lang="en-US" sz="1500">
                <a:latin typeface="Arial" panose="020B0604020202020204" pitchFamily="34" charset="0"/>
                <a:cs typeface="Arial" panose="020B0604020202020204" pitchFamily="34" charset="0"/>
              </a:rPr>
              <a:t>Smart Gate Management</a:t>
            </a:r>
          </a:p>
        </p:txBody>
      </p:sp>
      <p:sp>
        <p:nvSpPr>
          <p:cNvPr id="135" name="TextBox 134">
            <a:extLst>
              <a:ext uri="{FF2B5EF4-FFF2-40B4-BE49-F238E27FC236}">
                <a16:creationId xmlns:a16="http://schemas.microsoft.com/office/drawing/2014/main" id="{BEE92660-83A7-4637-A0B7-54256BA44CBB}"/>
              </a:ext>
            </a:extLst>
          </p:cNvPr>
          <p:cNvSpPr txBox="1"/>
          <p:nvPr/>
        </p:nvSpPr>
        <p:spPr>
          <a:xfrm>
            <a:off x="7015474" y="4204715"/>
            <a:ext cx="1801792" cy="553998"/>
          </a:xfrm>
          <a:prstGeom prst="rect">
            <a:avLst/>
          </a:prstGeom>
          <a:noFill/>
        </p:spPr>
        <p:txBody>
          <a:bodyPr wrap="square" rtlCol="0">
            <a:spAutoFit/>
          </a:bodyPr>
          <a:lstStyle/>
          <a:p>
            <a:r>
              <a:rPr lang="en-US" sz="1500">
                <a:latin typeface="Arial" panose="020B0604020202020204" pitchFamily="34" charset="0"/>
                <a:cs typeface="Arial" panose="020B0604020202020204" pitchFamily="34" charset="0"/>
              </a:rPr>
              <a:t>Segregation of Traffic Flows</a:t>
            </a:r>
          </a:p>
        </p:txBody>
      </p:sp>
      <p:graphicFrame>
        <p:nvGraphicFramePr>
          <p:cNvPr id="139" name="Table 32">
            <a:extLst>
              <a:ext uri="{FF2B5EF4-FFF2-40B4-BE49-F238E27FC236}">
                <a16:creationId xmlns:a16="http://schemas.microsoft.com/office/drawing/2014/main" id="{6245D4AD-65B8-4F9E-BB0D-6E70F4BC4182}"/>
              </a:ext>
            </a:extLst>
          </p:cNvPr>
          <p:cNvGraphicFramePr>
            <a:graphicFrameLocks noGrp="1"/>
          </p:cNvGraphicFramePr>
          <p:nvPr>
            <p:extLst>
              <p:ext uri="{D42A27DB-BD31-4B8C-83A1-F6EECF244321}">
                <p14:modId xmlns:p14="http://schemas.microsoft.com/office/powerpoint/2010/main" val="3053226400"/>
              </p:ext>
            </p:extLst>
          </p:nvPr>
        </p:nvGraphicFramePr>
        <p:xfrm>
          <a:off x="574975" y="5155251"/>
          <a:ext cx="11447268" cy="681098"/>
        </p:xfrm>
        <a:graphic>
          <a:graphicData uri="http://schemas.openxmlformats.org/drawingml/2006/table">
            <a:tbl>
              <a:tblPr firstRow="1" bandRow="1"/>
              <a:tblGrid>
                <a:gridCol w="2861817">
                  <a:extLst>
                    <a:ext uri="{9D8B030D-6E8A-4147-A177-3AD203B41FA5}">
                      <a16:colId xmlns:a16="http://schemas.microsoft.com/office/drawing/2014/main" val="2926247487"/>
                    </a:ext>
                  </a:extLst>
                </a:gridCol>
                <a:gridCol w="2861817">
                  <a:extLst>
                    <a:ext uri="{9D8B030D-6E8A-4147-A177-3AD203B41FA5}">
                      <a16:colId xmlns:a16="http://schemas.microsoft.com/office/drawing/2014/main" val="2847155147"/>
                    </a:ext>
                  </a:extLst>
                </a:gridCol>
                <a:gridCol w="2861817">
                  <a:extLst>
                    <a:ext uri="{9D8B030D-6E8A-4147-A177-3AD203B41FA5}">
                      <a16:colId xmlns:a16="http://schemas.microsoft.com/office/drawing/2014/main" val="3785271933"/>
                    </a:ext>
                  </a:extLst>
                </a:gridCol>
                <a:gridCol w="2861817">
                  <a:extLst>
                    <a:ext uri="{9D8B030D-6E8A-4147-A177-3AD203B41FA5}">
                      <a16:colId xmlns:a16="http://schemas.microsoft.com/office/drawing/2014/main" val="3959223439"/>
                    </a:ext>
                  </a:extLst>
                </a:gridCol>
              </a:tblGrid>
              <a:tr h="681098">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r>
                        <a:rPr lang="en-US" sz="1200" b="1" kern="1200">
                          <a:solidFill>
                            <a:schemeClr val="accent5">
                              <a:lumMod val="75000"/>
                            </a:schemeClr>
                          </a:solidFill>
                          <a:latin typeface="Arial"/>
                          <a:ea typeface="+mn-ea"/>
                          <a:cs typeface="+mn-cs"/>
                        </a:rPr>
                        <a:t>Implement a smart queuing system and parking center. . </a:t>
                      </a:r>
                    </a:p>
                  </a:txBody>
                  <a:tcPr>
                    <a:lnL>
                      <a:noFill/>
                    </a:lnL>
                    <a:lnR>
                      <a:noFill/>
                    </a:lnR>
                    <a:lnT w="12700" cmpd="sng">
                      <a:solidFill>
                        <a:srgbClr val="DB536A"/>
                      </a:solidFill>
                    </a:lnT>
                    <a:lnB w="12700" cmpd="sng">
                      <a:solidFill>
                        <a:srgbClr val="DB536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a:solidFill>
                            <a:schemeClr val="tx1"/>
                          </a:solidFill>
                          <a:effectLst/>
                        </a:rPr>
                        <a:t>Cargo flow can be subdivided into a green lane, over-sized vehicles, and normal vehicles. </a:t>
                      </a:r>
                      <a:endParaRPr lang="en-US" sz="1200" b="0" kern="1200">
                        <a:solidFill>
                          <a:schemeClr val="accent5">
                            <a:lumMod val="75000"/>
                          </a:schemeClr>
                        </a:solidFill>
                        <a:effectLst/>
                      </a:endParaRPr>
                    </a:p>
                  </a:txBody>
                  <a:tcPr>
                    <a:lnL>
                      <a:noFill/>
                    </a:lnL>
                    <a:lnR>
                      <a:noFill/>
                    </a:lnR>
                    <a:lnT w="12700" cmpd="sng">
                      <a:solidFill>
                        <a:srgbClr val="DB536A"/>
                      </a:solidFill>
                    </a:lnT>
                    <a:lnB w="12700" cmpd="sng">
                      <a:solidFill>
                        <a:srgbClr val="DB536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r>
                        <a:rPr lang="en-US" sz="1200" b="1">
                          <a:solidFill>
                            <a:schemeClr val="accent5">
                              <a:lumMod val="75000"/>
                            </a:schemeClr>
                          </a:solidFill>
                        </a:rPr>
                        <a:t>Different lanes should be demarcated to ensure correct queuing at the entry point</a:t>
                      </a:r>
                      <a:r>
                        <a:rPr lang="en-US" sz="1200" b="0">
                          <a:solidFill>
                            <a:schemeClr val="accent5">
                              <a:lumMod val="75000"/>
                            </a:schemeClr>
                          </a:solidFill>
                        </a:rPr>
                        <a:t>. </a:t>
                      </a:r>
                    </a:p>
                  </a:txBody>
                  <a:tcPr>
                    <a:lnL>
                      <a:noFill/>
                    </a:lnL>
                    <a:lnR>
                      <a:noFill/>
                    </a:lnR>
                    <a:lnT w="12700" cmpd="sng">
                      <a:solidFill>
                        <a:srgbClr val="DB536A"/>
                      </a:solidFill>
                    </a:lnT>
                    <a:lnB w="12700" cmpd="sng">
                      <a:solidFill>
                        <a:srgbClr val="DB536A"/>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latin typeface="Arial"/>
                          <a:ea typeface="+mn-ea"/>
                          <a:cs typeface="+mn-cs"/>
                        </a:rPr>
                        <a:t>Establishment of one-stop-shop station where all relevant documents are checked</a:t>
                      </a:r>
                    </a:p>
                  </a:txBody>
                  <a:tcPr>
                    <a:lnL>
                      <a:noFill/>
                    </a:lnL>
                    <a:lnR>
                      <a:noFill/>
                    </a:lnR>
                    <a:lnT w="12700" cmpd="sng">
                      <a:solidFill>
                        <a:srgbClr val="DB536A"/>
                      </a:solidFill>
                    </a:lnT>
                    <a:lnB w="12700" cmpd="sng">
                      <a:solidFill>
                        <a:srgbClr val="DB536A"/>
                      </a:solidFill>
                    </a:lnB>
                    <a:lnTlToBr w="12700" cmpd="sng">
                      <a:noFill/>
                      <a:prstDash val="solid"/>
                    </a:lnTlToBr>
                    <a:lnBlToTr w="12700" cmpd="sng">
                      <a:noFill/>
                      <a:prstDash val="solid"/>
                    </a:lnBlToTr>
                    <a:noFill/>
                  </a:tcPr>
                </a:tc>
                <a:extLst>
                  <a:ext uri="{0D108BD9-81ED-4DB2-BD59-A6C34878D82A}">
                    <a16:rowId xmlns:a16="http://schemas.microsoft.com/office/drawing/2014/main" val="1203241996"/>
                  </a:ext>
                </a:extLst>
              </a:tr>
            </a:tbl>
          </a:graphicData>
        </a:graphic>
      </p:graphicFrame>
      <p:sp>
        <p:nvSpPr>
          <p:cNvPr id="141" name="Freeform: Shape 140">
            <a:extLst>
              <a:ext uri="{FF2B5EF4-FFF2-40B4-BE49-F238E27FC236}">
                <a16:creationId xmlns:a16="http://schemas.microsoft.com/office/drawing/2014/main" id="{0FB57B42-452A-404D-98E2-4677E6396BB0}"/>
              </a:ext>
            </a:extLst>
          </p:cNvPr>
          <p:cNvSpPr/>
          <p:nvPr/>
        </p:nvSpPr>
        <p:spPr>
          <a:xfrm>
            <a:off x="702778" y="3633743"/>
            <a:ext cx="6595312" cy="321444"/>
          </a:xfrm>
          <a:custGeom>
            <a:avLst/>
            <a:gdLst>
              <a:gd name="connsiteX0" fmla="*/ 0 w 6131333"/>
              <a:gd name="connsiteY0" fmla="*/ 0 h 382434"/>
              <a:gd name="connsiteX1" fmla="*/ 6131333 w 6131333"/>
              <a:gd name="connsiteY1" fmla="*/ 0 h 382434"/>
              <a:gd name="connsiteX2" fmla="*/ 6131333 w 6131333"/>
              <a:gd name="connsiteY2" fmla="*/ 382434 h 382434"/>
              <a:gd name="connsiteX3" fmla="*/ 0 w 6131333"/>
              <a:gd name="connsiteY3" fmla="*/ 382434 h 382434"/>
              <a:gd name="connsiteX4" fmla="*/ 0 w 6131333"/>
              <a:gd name="connsiteY4" fmla="*/ 0 h 38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1333" h="382434">
                <a:moveTo>
                  <a:pt x="0" y="0"/>
                </a:moveTo>
                <a:lnTo>
                  <a:pt x="6131333" y="0"/>
                </a:lnTo>
                <a:lnTo>
                  <a:pt x="6131333" y="382434"/>
                </a:lnTo>
                <a:lnTo>
                  <a:pt x="0" y="38243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60960" rIns="0" bIns="60960" numCol="1" spcCol="1270" anchor="b" anchorCtr="0">
            <a:noAutofit/>
          </a:bodyPr>
          <a:lstStyle/>
          <a:p>
            <a:pPr marL="0" marR="0" lvl="0" indent="0" algn="l" defTabSz="711200" rtl="0" eaLnBrk="1" fontAlgn="auto" latinLnBrk="0" hangingPunct="1">
              <a:lnSpc>
                <a:spcPct val="100000"/>
              </a:lnSpc>
              <a:spcBef>
                <a:spcPct val="0"/>
              </a:spcBef>
              <a:spcAft>
                <a:spcPts val="300"/>
              </a:spcAft>
              <a:buClr>
                <a:srgbClr val="000000"/>
              </a:buClr>
              <a:buSzTx/>
              <a:buFont typeface="Arial"/>
              <a:buNone/>
              <a:tabLst/>
              <a:defRPr/>
            </a:pPr>
            <a:r>
              <a:rPr kumimoji="0" lang="en-US" sz="1400" b="1" i="0" u="none" strike="noStrike" kern="1200" cap="none" spc="0" normalizeH="0" baseline="0" noProof="0">
                <a:ln>
                  <a:noFill/>
                </a:ln>
                <a:solidFill>
                  <a:srgbClr val="E0301E"/>
                </a:solidFill>
                <a:effectLst/>
                <a:uLnTx/>
                <a:uFillTx/>
                <a:latin typeface="Arial"/>
                <a:ea typeface="+mn-ea"/>
                <a:cs typeface="+mn-cs"/>
                <a:sym typeface="Arial"/>
              </a:rPr>
              <a:t>Modernization of BCP entails the following:</a:t>
            </a:r>
          </a:p>
        </p:txBody>
      </p:sp>
      <p:sp>
        <p:nvSpPr>
          <p:cNvPr id="142" name="Rectangle: Rounded Corners 141">
            <a:extLst>
              <a:ext uri="{FF2B5EF4-FFF2-40B4-BE49-F238E27FC236}">
                <a16:creationId xmlns:a16="http://schemas.microsoft.com/office/drawing/2014/main" id="{7D940AE6-2F89-421A-9DB9-3F96BD212CB2}"/>
              </a:ext>
            </a:extLst>
          </p:cNvPr>
          <p:cNvSpPr/>
          <p:nvPr/>
        </p:nvSpPr>
        <p:spPr>
          <a:xfrm>
            <a:off x="154113" y="2499173"/>
            <a:ext cx="256854" cy="288327"/>
          </a:xfrm>
          <a:prstGeom prst="roundRect">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latin typeface="Arial" panose="020B0604020202020204" pitchFamily="34" charset="0"/>
                <a:cs typeface="Arial" panose="020B0604020202020204" pitchFamily="34" charset="0"/>
              </a:rPr>
              <a:t>2</a:t>
            </a:r>
          </a:p>
        </p:txBody>
      </p:sp>
      <p:sp>
        <p:nvSpPr>
          <p:cNvPr id="43" name="Freeform: Shape 42">
            <a:extLst>
              <a:ext uri="{FF2B5EF4-FFF2-40B4-BE49-F238E27FC236}">
                <a16:creationId xmlns:a16="http://schemas.microsoft.com/office/drawing/2014/main" id="{DB867DE8-350C-4138-A4D1-96D0319876A4}"/>
              </a:ext>
            </a:extLst>
          </p:cNvPr>
          <p:cNvSpPr/>
          <p:nvPr/>
        </p:nvSpPr>
        <p:spPr>
          <a:xfrm>
            <a:off x="689823" y="1539744"/>
            <a:ext cx="11059265" cy="851760"/>
          </a:xfrm>
          <a:custGeom>
            <a:avLst/>
            <a:gdLst>
              <a:gd name="connsiteX0" fmla="*/ 0 w 6134547"/>
              <a:gd name="connsiteY0" fmla="*/ 0 h 623226"/>
              <a:gd name="connsiteX1" fmla="*/ 6134547 w 6134547"/>
              <a:gd name="connsiteY1" fmla="*/ 0 h 623226"/>
              <a:gd name="connsiteX2" fmla="*/ 6134547 w 6134547"/>
              <a:gd name="connsiteY2" fmla="*/ 623226 h 623226"/>
              <a:gd name="connsiteX3" fmla="*/ 0 w 6134547"/>
              <a:gd name="connsiteY3" fmla="*/ 623226 h 623226"/>
              <a:gd name="connsiteX4" fmla="*/ 0 w 6134547"/>
              <a:gd name="connsiteY4" fmla="*/ 0 h 623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547" h="623226">
                <a:moveTo>
                  <a:pt x="0" y="0"/>
                </a:moveTo>
                <a:lnTo>
                  <a:pt x="6134547" y="0"/>
                </a:lnTo>
                <a:lnTo>
                  <a:pt x="6134547" y="623226"/>
                </a:lnTo>
                <a:lnTo>
                  <a:pt x="0" y="623226"/>
                </a:lnTo>
                <a:lnTo>
                  <a:pt x="0" y="0"/>
                </a:lnTo>
                <a:close/>
              </a:path>
            </a:pathLst>
          </a:custGeom>
          <a:solidFill>
            <a:srgbClr val="FFFFFF">
              <a:lumMod val="95000"/>
            </a:srgbClr>
          </a:solidFill>
          <a:ln w="12700" cap="flat" cmpd="sng" algn="ctr">
            <a:noFill/>
            <a:prstDash val="solid"/>
          </a:ln>
          <a:effectLst/>
        </p:spPr>
        <p:txBody>
          <a:bodyPr spcFirstLastPara="0" vert="horz" wrap="square" lIns="90000" tIns="90000" rIns="90000" bIns="90000" numCol="1" spcCol="1270" anchor="ctr" anchorCtr="0">
            <a:noAutofit/>
          </a:bodyPr>
          <a:lstStyle/>
          <a:p>
            <a:pPr marL="171450" marR="0" lvl="0" indent="-171450" defTabSz="533400" eaLnBrk="1" fontAlgn="auto" latinLnBrk="0" hangingPunct="1">
              <a:lnSpc>
                <a:spcPct val="100000"/>
              </a:lnSpc>
              <a:spcBef>
                <a:spcPct val="0"/>
              </a:spcBef>
              <a:spcAft>
                <a:spcPts val="300"/>
              </a:spcAft>
              <a:buClr>
                <a:srgbClr val="000000"/>
              </a:buClr>
              <a:buSzTx/>
              <a:buFont typeface="Arial" panose="020B0604020202020204" pitchFamily="34" charset="0"/>
              <a:buChar char="•"/>
              <a:tabLst/>
              <a:defRPr/>
            </a:pPr>
            <a:r>
              <a:rPr kumimoji="0" lang="en-US" sz="1400" b="1" i="0" u="none" strike="noStrike" kern="0" cap="none" spc="0" normalizeH="0" baseline="0" noProof="0">
                <a:ln>
                  <a:noFill/>
                </a:ln>
                <a:solidFill>
                  <a:srgbClr val="000000">
                    <a:hueOff val="0"/>
                    <a:satOff val="0"/>
                    <a:lumOff val="0"/>
                    <a:alphaOff val="0"/>
                  </a:srgbClr>
                </a:solidFill>
                <a:effectLst/>
                <a:uLnTx/>
                <a:uFillTx/>
                <a:latin typeface="Arial"/>
                <a:ea typeface="+mn-ea"/>
                <a:cs typeface="+mn-cs"/>
                <a:sym typeface="Arial"/>
              </a:rPr>
              <a:t>Construction of the Darbaza - Maktaaral railway will reduce the capacity shortage in Sarygash/Keles checkpoint, </a:t>
            </a:r>
            <a:r>
              <a:rPr kumimoji="0" lang="en-US" sz="1400" b="0" i="0" u="none" strike="noStrike" kern="0" cap="none" spc="0" normalizeH="0" baseline="0" noProof="0">
                <a:ln>
                  <a:noFill/>
                </a:ln>
                <a:solidFill>
                  <a:srgbClr val="000000">
                    <a:hueOff val="0"/>
                    <a:satOff val="0"/>
                    <a:lumOff val="0"/>
                    <a:alphaOff val="0"/>
                  </a:srgbClr>
                </a:solidFill>
                <a:effectLst/>
                <a:uLnTx/>
                <a:uFillTx/>
                <a:latin typeface="Arial"/>
                <a:ea typeface="+mn-ea"/>
                <a:cs typeface="+mn-cs"/>
                <a:sym typeface="Arial"/>
              </a:rPr>
              <a:t>especially during peak periods of seasonal freight loading</a:t>
            </a:r>
          </a:p>
        </p:txBody>
      </p:sp>
      <p:sp>
        <p:nvSpPr>
          <p:cNvPr id="44" name="Freeform: Shape 43">
            <a:extLst>
              <a:ext uri="{FF2B5EF4-FFF2-40B4-BE49-F238E27FC236}">
                <a16:creationId xmlns:a16="http://schemas.microsoft.com/office/drawing/2014/main" id="{C57C7C0C-40A7-47E1-B582-4497777901FE}"/>
              </a:ext>
            </a:extLst>
          </p:cNvPr>
          <p:cNvSpPr/>
          <p:nvPr/>
        </p:nvSpPr>
        <p:spPr>
          <a:xfrm>
            <a:off x="574975" y="1539747"/>
            <a:ext cx="109648" cy="851757"/>
          </a:xfrm>
          <a:custGeom>
            <a:avLst/>
            <a:gdLst>
              <a:gd name="connsiteX0" fmla="*/ 0 w 6134547"/>
              <a:gd name="connsiteY0" fmla="*/ 0 h 623226"/>
              <a:gd name="connsiteX1" fmla="*/ 6134547 w 6134547"/>
              <a:gd name="connsiteY1" fmla="*/ 0 h 623226"/>
              <a:gd name="connsiteX2" fmla="*/ 6134547 w 6134547"/>
              <a:gd name="connsiteY2" fmla="*/ 623226 h 623226"/>
              <a:gd name="connsiteX3" fmla="*/ 0 w 6134547"/>
              <a:gd name="connsiteY3" fmla="*/ 623226 h 623226"/>
              <a:gd name="connsiteX4" fmla="*/ 0 w 6134547"/>
              <a:gd name="connsiteY4" fmla="*/ 0 h 623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547" h="623226">
                <a:moveTo>
                  <a:pt x="0" y="0"/>
                </a:moveTo>
                <a:lnTo>
                  <a:pt x="6134547" y="0"/>
                </a:lnTo>
                <a:lnTo>
                  <a:pt x="6134547" y="623226"/>
                </a:lnTo>
                <a:lnTo>
                  <a:pt x="0" y="623226"/>
                </a:lnTo>
                <a:lnTo>
                  <a:pt x="0" y="0"/>
                </a:lnTo>
                <a:close/>
              </a:path>
            </a:pathLst>
          </a:custGeom>
          <a:solidFill>
            <a:srgbClr val="E0301E"/>
          </a:solidFill>
          <a:ln w="12700" cap="flat" cmpd="sng" algn="ctr">
            <a:noFill/>
            <a:prstDash val="solid"/>
          </a:ln>
          <a:effectLst/>
        </p:spPr>
        <p:txBody>
          <a:bodyPr spcFirstLastPara="0" vert="horz" wrap="square" lIns="90000" tIns="90000" rIns="90000" bIns="90000" numCol="1" spcCol="1270" anchor="ctr" anchorCtr="0">
            <a:noAutofit/>
          </a:bodyPr>
          <a:lstStyle/>
          <a:p>
            <a:pPr marL="0" marR="0" lvl="0" indent="0" defTabSz="533400" eaLnBrk="1" fontAlgn="auto" latinLnBrk="0" hangingPunct="1">
              <a:lnSpc>
                <a:spcPct val="100000"/>
              </a:lnSpc>
              <a:spcBef>
                <a:spcPct val="0"/>
              </a:spcBef>
              <a:spcAft>
                <a:spcPts val="300"/>
              </a:spcAft>
              <a:buClr>
                <a:srgbClr val="000000"/>
              </a:buClr>
              <a:buSzTx/>
              <a:buFont typeface="Arial"/>
              <a:buNone/>
              <a:tabLst/>
              <a:defRPr/>
            </a:pPr>
            <a:endParaRPr kumimoji="0" lang="en-US" sz="1050" b="0" i="0" u="none" strike="noStrike" kern="0" cap="none" spc="0" normalizeH="0" baseline="0" noProof="0">
              <a:ln>
                <a:noFill/>
              </a:ln>
              <a:solidFill>
                <a:srgbClr val="000000">
                  <a:hueOff val="0"/>
                  <a:satOff val="0"/>
                  <a:lumOff val="0"/>
                  <a:alphaOff val="0"/>
                </a:srgbClr>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1F2C3050-9E63-44DA-9E95-66AABE2CC03E}"/>
              </a:ext>
            </a:extLst>
          </p:cNvPr>
          <p:cNvSpPr/>
          <p:nvPr/>
        </p:nvSpPr>
        <p:spPr>
          <a:xfrm>
            <a:off x="489061" y="1251417"/>
            <a:ext cx="4072665" cy="286820"/>
          </a:xfrm>
          <a:custGeom>
            <a:avLst/>
            <a:gdLst>
              <a:gd name="connsiteX0" fmla="*/ 0 w 6131333"/>
              <a:gd name="connsiteY0" fmla="*/ 0 h 382434"/>
              <a:gd name="connsiteX1" fmla="*/ 6131333 w 6131333"/>
              <a:gd name="connsiteY1" fmla="*/ 0 h 382434"/>
              <a:gd name="connsiteX2" fmla="*/ 6131333 w 6131333"/>
              <a:gd name="connsiteY2" fmla="*/ 382434 h 382434"/>
              <a:gd name="connsiteX3" fmla="*/ 0 w 6131333"/>
              <a:gd name="connsiteY3" fmla="*/ 382434 h 382434"/>
              <a:gd name="connsiteX4" fmla="*/ 0 w 6131333"/>
              <a:gd name="connsiteY4" fmla="*/ 0 h 38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1333" h="382434">
                <a:moveTo>
                  <a:pt x="0" y="0"/>
                </a:moveTo>
                <a:lnTo>
                  <a:pt x="6131333" y="0"/>
                </a:lnTo>
                <a:lnTo>
                  <a:pt x="6131333" y="382434"/>
                </a:lnTo>
                <a:lnTo>
                  <a:pt x="0" y="382434"/>
                </a:lnTo>
                <a:lnTo>
                  <a:pt x="0" y="0"/>
                </a:lnTo>
                <a:close/>
              </a:path>
            </a:pathLst>
          </a:custGeom>
          <a:solidFill>
            <a:schemeClr val="accent3">
              <a:lumMod val="20000"/>
              <a:lumOff val="80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60960" rIns="0" bIns="60960" numCol="1" spcCol="1270" anchor="b" anchorCtr="0">
            <a:noAutofit/>
          </a:bodyPr>
          <a:lstStyle/>
          <a:p>
            <a:pPr marL="0" marR="0" lvl="0" indent="0" algn="l" defTabSz="711200" rtl="0" eaLnBrk="1" fontAlgn="auto" latinLnBrk="0" hangingPunct="1">
              <a:lnSpc>
                <a:spcPct val="100000"/>
              </a:lnSpc>
              <a:spcBef>
                <a:spcPct val="0"/>
              </a:spcBef>
              <a:spcAft>
                <a:spcPts val="300"/>
              </a:spcAft>
              <a:buClr>
                <a:srgbClr val="000000"/>
              </a:buClr>
              <a:buSzTx/>
              <a:buFont typeface="Arial"/>
              <a:buNone/>
              <a:tabLst/>
              <a:defRPr/>
            </a:pPr>
            <a:r>
              <a:rPr kumimoji="0" lang="en-US" sz="1400" b="1" i="0" u="none" strike="noStrike" kern="1200" cap="none" spc="0" normalizeH="0" baseline="0" noProof="0" dirty="0">
                <a:ln>
                  <a:noFill/>
                </a:ln>
                <a:solidFill>
                  <a:srgbClr val="E0301E"/>
                </a:solidFill>
                <a:effectLst/>
                <a:uLnTx/>
                <a:uFillTx/>
                <a:latin typeface="Arial"/>
                <a:ea typeface="+mn-ea"/>
                <a:cs typeface="+mn-cs"/>
                <a:sym typeface="Arial"/>
              </a:rPr>
              <a:t>Construct </a:t>
            </a:r>
            <a:r>
              <a:rPr kumimoji="0" lang="en-US" sz="1400" b="1" i="0" u="none" strike="noStrike" kern="1200" cap="none" spc="0" normalizeH="0" baseline="0" noProof="0" dirty="0" err="1">
                <a:ln>
                  <a:noFill/>
                </a:ln>
                <a:solidFill>
                  <a:srgbClr val="E0301E"/>
                </a:solidFill>
                <a:effectLst/>
                <a:uLnTx/>
                <a:uFillTx/>
                <a:latin typeface="Arial"/>
                <a:ea typeface="+mn-ea"/>
                <a:cs typeface="+mn-cs"/>
                <a:sym typeface="Arial"/>
              </a:rPr>
              <a:t>Darbaza</a:t>
            </a:r>
            <a:r>
              <a:rPr kumimoji="0" lang="en-US" sz="1400" b="1" i="0" u="none" strike="noStrike" kern="1200" cap="none" spc="0" normalizeH="0" baseline="0" noProof="0" dirty="0">
                <a:ln>
                  <a:noFill/>
                </a:ln>
                <a:solidFill>
                  <a:srgbClr val="E0301E"/>
                </a:solidFill>
                <a:effectLst/>
                <a:uLnTx/>
                <a:uFillTx/>
                <a:latin typeface="Arial"/>
                <a:ea typeface="+mn-ea"/>
                <a:cs typeface="+mn-cs"/>
                <a:sym typeface="Arial"/>
              </a:rPr>
              <a:t> </a:t>
            </a:r>
            <a:r>
              <a:rPr kumimoji="0" lang="en-US" sz="1400" b="1" i="0" u="none" strike="noStrike" kern="1200" cap="none" spc="0" normalizeH="0" baseline="0" noProof="0" dirty="0" err="1">
                <a:ln>
                  <a:noFill/>
                </a:ln>
                <a:solidFill>
                  <a:srgbClr val="E0301E"/>
                </a:solidFill>
                <a:effectLst/>
                <a:uLnTx/>
                <a:uFillTx/>
                <a:latin typeface="Arial"/>
                <a:ea typeface="+mn-ea"/>
                <a:cs typeface="+mn-cs"/>
                <a:sym typeface="Arial"/>
              </a:rPr>
              <a:t>Maktaaral</a:t>
            </a:r>
            <a:r>
              <a:rPr kumimoji="0" lang="en-US" sz="1400" b="1" i="0" u="none" strike="noStrike" kern="1200" cap="none" spc="0" normalizeH="0" baseline="0" noProof="0" dirty="0">
                <a:ln>
                  <a:noFill/>
                </a:ln>
                <a:solidFill>
                  <a:srgbClr val="E0301E"/>
                </a:solidFill>
                <a:effectLst/>
                <a:uLnTx/>
                <a:uFillTx/>
                <a:latin typeface="Arial"/>
                <a:ea typeface="+mn-ea"/>
                <a:cs typeface="+mn-cs"/>
                <a:sym typeface="Arial"/>
              </a:rPr>
              <a:t> Railway Link</a:t>
            </a:r>
          </a:p>
        </p:txBody>
      </p:sp>
      <p:sp>
        <p:nvSpPr>
          <p:cNvPr id="46" name="Rectangle: Rounded Corners 45">
            <a:extLst>
              <a:ext uri="{FF2B5EF4-FFF2-40B4-BE49-F238E27FC236}">
                <a16:creationId xmlns:a16="http://schemas.microsoft.com/office/drawing/2014/main" id="{B330E521-DADC-403D-8539-BA017C5BC3AD}"/>
              </a:ext>
            </a:extLst>
          </p:cNvPr>
          <p:cNvSpPr/>
          <p:nvPr/>
        </p:nvSpPr>
        <p:spPr>
          <a:xfrm>
            <a:off x="154113" y="1251417"/>
            <a:ext cx="256854" cy="288327"/>
          </a:xfrm>
          <a:prstGeom prst="round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latin typeface="Arial" panose="020B0604020202020204" pitchFamily="34" charset="0"/>
                <a:cs typeface="Arial" panose="020B0604020202020204" pitchFamily="34" charset="0"/>
              </a:rPr>
              <a:t>1</a:t>
            </a:r>
          </a:p>
        </p:txBody>
      </p:sp>
      <p:pic>
        <p:nvPicPr>
          <p:cNvPr id="5" name="Graphic 4" descr="Door Open with solid fill">
            <a:extLst>
              <a:ext uri="{FF2B5EF4-FFF2-40B4-BE49-F238E27FC236}">
                <a16:creationId xmlns:a16="http://schemas.microsoft.com/office/drawing/2014/main" id="{CEB90021-7A1A-4AA8-8CA6-133D29F8AC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74974" y="4088348"/>
            <a:ext cx="684623" cy="684623"/>
          </a:xfrm>
          <a:prstGeom prst="rect">
            <a:avLst/>
          </a:prstGeom>
        </p:spPr>
      </p:pic>
      <p:pic>
        <p:nvPicPr>
          <p:cNvPr id="9" name="Graphic 8" descr="Smart Phone with solid fill">
            <a:extLst>
              <a:ext uri="{FF2B5EF4-FFF2-40B4-BE49-F238E27FC236}">
                <a16:creationId xmlns:a16="http://schemas.microsoft.com/office/drawing/2014/main" id="{30AB10DE-7284-491D-9D03-4D008582767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2778" y="4143924"/>
            <a:ext cx="573469" cy="573469"/>
          </a:xfrm>
          <a:prstGeom prst="rect">
            <a:avLst/>
          </a:prstGeom>
        </p:spPr>
      </p:pic>
      <p:pic>
        <p:nvPicPr>
          <p:cNvPr id="11" name="Graphic 10" descr="Traffic light with solid fill">
            <a:extLst>
              <a:ext uri="{FF2B5EF4-FFF2-40B4-BE49-F238E27FC236}">
                <a16:creationId xmlns:a16="http://schemas.microsoft.com/office/drawing/2014/main" id="{AFCEF859-6CBF-4317-B641-673B7EC2177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06098" y="4067571"/>
            <a:ext cx="778219" cy="778219"/>
          </a:xfrm>
          <a:prstGeom prst="rect">
            <a:avLst/>
          </a:prstGeom>
        </p:spPr>
      </p:pic>
      <p:sp>
        <p:nvSpPr>
          <p:cNvPr id="3" name="Date Placeholder 2">
            <a:extLst>
              <a:ext uri="{FF2B5EF4-FFF2-40B4-BE49-F238E27FC236}">
                <a16:creationId xmlns:a16="http://schemas.microsoft.com/office/drawing/2014/main" id="{5C4B8F5A-51F6-45FC-9519-381323F4E21D}"/>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6" name="Slide Number Placeholder 5">
            <a:extLst>
              <a:ext uri="{FF2B5EF4-FFF2-40B4-BE49-F238E27FC236}">
                <a16:creationId xmlns:a16="http://schemas.microsoft.com/office/drawing/2014/main" id="{FB96C645-AD03-4CBD-931F-FA2F64732C48}"/>
              </a:ext>
            </a:extLst>
          </p:cNvPr>
          <p:cNvSpPr>
            <a:spLocks noGrp="1"/>
          </p:cNvSpPr>
          <p:nvPr>
            <p:ph type="sldNum" idx="12"/>
          </p:nvPr>
        </p:nvSpPr>
        <p:spPr/>
        <p:txBody>
          <a:bodyPr/>
          <a:lstStyle/>
          <a:p>
            <a:pPr lvl="0"/>
            <a:fld id="{00000000-1234-1234-1234-123412341234}" type="slidenum">
              <a:rPr lang="en-US" smtClean="0"/>
              <a:pPr lvl="0"/>
              <a:t>22</a:t>
            </a:fld>
            <a:endParaRPr lang="en-US"/>
          </a:p>
        </p:txBody>
      </p:sp>
      <p:sp>
        <p:nvSpPr>
          <p:cNvPr id="32" name="Footer Placeholder 11">
            <a:extLst>
              <a:ext uri="{FF2B5EF4-FFF2-40B4-BE49-F238E27FC236}">
                <a16:creationId xmlns:a16="http://schemas.microsoft.com/office/drawing/2014/main" id="{D72A0D51-D4DF-42F8-B2BF-345BA2C27974}"/>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sp>
        <p:nvSpPr>
          <p:cNvPr id="29" name="Freeform 32">
            <a:extLst>
              <a:ext uri="{FF2B5EF4-FFF2-40B4-BE49-F238E27FC236}">
                <a16:creationId xmlns:a16="http://schemas.microsoft.com/office/drawing/2014/main" id="{8F0807F6-83F2-4DD2-99C1-93A124CAAE66}"/>
              </a:ext>
            </a:extLst>
          </p:cNvPr>
          <p:cNvSpPr>
            <a:spLocks noChangeAspect="1" noEditPoints="1"/>
          </p:cNvSpPr>
          <p:nvPr/>
        </p:nvSpPr>
        <p:spPr bwMode="auto">
          <a:xfrm>
            <a:off x="9271001" y="4143924"/>
            <a:ext cx="394109" cy="563735"/>
          </a:xfrm>
          <a:custGeom>
            <a:avLst/>
            <a:gdLst>
              <a:gd name="T0" fmla="*/ 0 w 304"/>
              <a:gd name="T1" fmla="*/ 152 h 246"/>
              <a:gd name="T2" fmla="*/ 304 w 304"/>
              <a:gd name="T3" fmla="*/ 152 h 246"/>
              <a:gd name="T4" fmla="*/ 304 w 304"/>
              <a:gd name="T5" fmla="*/ 94 h 246"/>
              <a:gd name="T6" fmla="*/ 0 w 304"/>
              <a:gd name="T7" fmla="*/ 94 h 246"/>
              <a:gd name="T8" fmla="*/ 0 w 304"/>
              <a:gd name="T9" fmla="*/ 152 h 246"/>
              <a:gd name="T10" fmla="*/ 0 w 304"/>
              <a:gd name="T11" fmla="*/ 56 h 246"/>
              <a:gd name="T12" fmla="*/ 304 w 304"/>
              <a:gd name="T13" fmla="*/ 56 h 246"/>
              <a:gd name="T14" fmla="*/ 304 w 304"/>
              <a:gd name="T15" fmla="*/ 0 h 246"/>
              <a:gd name="T16" fmla="*/ 0 w 304"/>
              <a:gd name="T17" fmla="*/ 0 h 246"/>
              <a:gd name="T18" fmla="*/ 0 w 304"/>
              <a:gd name="T19" fmla="*/ 56 h 246"/>
              <a:gd name="T20" fmla="*/ 0 w 304"/>
              <a:gd name="T21" fmla="*/ 246 h 246"/>
              <a:gd name="T22" fmla="*/ 188 w 304"/>
              <a:gd name="T23" fmla="*/ 246 h 246"/>
              <a:gd name="T24" fmla="*/ 188 w 304"/>
              <a:gd name="T25" fmla="*/ 190 h 246"/>
              <a:gd name="T26" fmla="*/ 0 w 304"/>
              <a:gd name="T27" fmla="*/ 190 h 246"/>
              <a:gd name="T28" fmla="*/ 0 w 304"/>
              <a:gd name="T2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4" h="246">
                <a:moveTo>
                  <a:pt x="0" y="152"/>
                </a:moveTo>
                <a:lnTo>
                  <a:pt x="304" y="152"/>
                </a:lnTo>
                <a:lnTo>
                  <a:pt x="304" y="94"/>
                </a:lnTo>
                <a:lnTo>
                  <a:pt x="0" y="94"/>
                </a:lnTo>
                <a:lnTo>
                  <a:pt x="0" y="152"/>
                </a:lnTo>
                <a:close/>
                <a:moveTo>
                  <a:pt x="0" y="56"/>
                </a:moveTo>
                <a:lnTo>
                  <a:pt x="304" y="56"/>
                </a:lnTo>
                <a:lnTo>
                  <a:pt x="304" y="0"/>
                </a:lnTo>
                <a:lnTo>
                  <a:pt x="0" y="0"/>
                </a:lnTo>
                <a:lnTo>
                  <a:pt x="0" y="56"/>
                </a:lnTo>
                <a:close/>
                <a:moveTo>
                  <a:pt x="0" y="246"/>
                </a:moveTo>
                <a:lnTo>
                  <a:pt x="188" y="246"/>
                </a:lnTo>
                <a:lnTo>
                  <a:pt x="188" y="190"/>
                </a:lnTo>
                <a:lnTo>
                  <a:pt x="0" y="190"/>
                </a:lnTo>
                <a:lnTo>
                  <a:pt x="0" y="246"/>
                </a:lnTo>
                <a:close/>
              </a:path>
            </a:pathLst>
          </a:custGeom>
          <a:solidFill>
            <a:srgbClr val="BB274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30" name="Freeform: Shape 29">
            <a:extLst>
              <a:ext uri="{FF2B5EF4-FFF2-40B4-BE49-F238E27FC236}">
                <a16:creationId xmlns:a16="http://schemas.microsoft.com/office/drawing/2014/main" id="{832D9676-593F-4F8B-A6AE-1E0E463E82EA}"/>
              </a:ext>
            </a:extLst>
          </p:cNvPr>
          <p:cNvSpPr/>
          <p:nvPr/>
        </p:nvSpPr>
        <p:spPr>
          <a:xfrm>
            <a:off x="489061" y="6020863"/>
            <a:ext cx="6035040" cy="280791"/>
          </a:xfrm>
          <a:custGeom>
            <a:avLst/>
            <a:gdLst>
              <a:gd name="connsiteX0" fmla="*/ 0 w 6131333"/>
              <a:gd name="connsiteY0" fmla="*/ 0 h 382434"/>
              <a:gd name="connsiteX1" fmla="*/ 6131333 w 6131333"/>
              <a:gd name="connsiteY1" fmla="*/ 0 h 382434"/>
              <a:gd name="connsiteX2" fmla="*/ 6131333 w 6131333"/>
              <a:gd name="connsiteY2" fmla="*/ 382434 h 382434"/>
              <a:gd name="connsiteX3" fmla="*/ 0 w 6131333"/>
              <a:gd name="connsiteY3" fmla="*/ 382434 h 382434"/>
              <a:gd name="connsiteX4" fmla="*/ 0 w 6131333"/>
              <a:gd name="connsiteY4" fmla="*/ 0 h 38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1333" h="382434">
                <a:moveTo>
                  <a:pt x="0" y="0"/>
                </a:moveTo>
                <a:lnTo>
                  <a:pt x="6131333" y="0"/>
                </a:lnTo>
                <a:lnTo>
                  <a:pt x="6131333" y="382434"/>
                </a:lnTo>
                <a:lnTo>
                  <a:pt x="0" y="382434"/>
                </a:lnTo>
                <a:lnTo>
                  <a:pt x="0" y="0"/>
                </a:lnTo>
                <a:close/>
              </a:path>
            </a:pathLst>
          </a:custGeom>
          <a:solidFill>
            <a:srgbClr val="F9D5D2"/>
          </a:solidFill>
          <a:ln>
            <a:noFill/>
          </a:ln>
          <a:effectLst/>
        </p:spPr>
        <p:txBody>
          <a:bodyPr spcFirstLastPara="0" vert="horz" wrap="square" lIns="0" tIns="57150" rIns="0" bIns="57150" numCol="1" spcCol="1270" anchor="b" anchorCtr="0">
            <a:noAutofit/>
          </a:bodyPr>
          <a:lstStyle/>
          <a:p>
            <a:pPr defTabSz="711200">
              <a:spcBef>
                <a:spcPct val="0"/>
              </a:spcBef>
              <a:spcAft>
                <a:spcPts val="300"/>
              </a:spcAft>
              <a:buClr>
                <a:srgbClr val="000000"/>
              </a:buClr>
              <a:defRPr/>
            </a:pPr>
            <a:r>
              <a:rPr lang="en-US" sz="1400" b="1" dirty="0">
                <a:solidFill>
                  <a:srgbClr val="E0301E"/>
                </a:solidFill>
                <a:latin typeface="Arial"/>
                <a:sym typeface="Arial"/>
              </a:rPr>
              <a:t>Rehabilitate the A-2 and A-15 roads</a:t>
            </a:r>
          </a:p>
        </p:txBody>
      </p:sp>
      <p:sp>
        <p:nvSpPr>
          <p:cNvPr id="31" name="Rectangle: Rounded Corners 30">
            <a:extLst>
              <a:ext uri="{FF2B5EF4-FFF2-40B4-BE49-F238E27FC236}">
                <a16:creationId xmlns:a16="http://schemas.microsoft.com/office/drawing/2014/main" id="{A6F61FE0-644A-482A-B30A-B85FF904F9DA}"/>
              </a:ext>
            </a:extLst>
          </p:cNvPr>
          <p:cNvSpPr/>
          <p:nvPr/>
        </p:nvSpPr>
        <p:spPr>
          <a:xfrm>
            <a:off x="154113" y="6004467"/>
            <a:ext cx="256854" cy="288327"/>
          </a:xfrm>
          <a:prstGeom prst="roundRect">
            <a:avLst/>
          </a:prstGeom>
          <a:solidFill>
            <a:srgbClr val="B2050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latin typeface="Arial" panose="020B0604020202020204" pitchFamily="34" charset="0"/>
                <a:cs typeface="Arial" panose="020B0604020202020204" pitchFamily="34" charset="0"/>
              </a:rPr>
              <a:t>3</a:t>
            </a:r>
          </a:p>
        </p:txBody>
      </p:sp>
    </p:spTree>
    <p:custDataLst>
      <p:custData r:id="rId1"/>
    </p:custDataLst>
    <p:extLst>
      <p:ext uri="{BB962C8B-B14F-4D97-AF65-F5344CB8AC3E}">
        <p14:creationId xmlns:p14="http://schemas.microsoft.com/office/powerpoint/2010/main" val="620076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686094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pPr lvl="0"/>
            <a:r>
              <a:rPr lang="en-US" sz="2400" b="0" dirty="0">
                <a:latin typeface="Georgia" panose="02040502050405020303" pitchFamily="18" charset="0"/>
              </a:rPr>
              <a:t>Legal and Regulatory Framework</a:t>
            </a:r>
          </a:p>
        </p:txBody>
      </p:sp>
      <p:grpSp>
        <p:nvGrpSpPr>
          <p:cNvPr id="113" name="Group 112">
            <a:extLst>
              <a:ext uri="{FF2B5EF4-FFF2-40B4-BE49-F238E27FC236}">
                <a16:creationId xmlns:a16="http://schemas.microsoft.com/office/drawing/2014/main" id="{41A27B56-67D8-4DCE-85AB-FFA3F04EFE35}"/>
              </a:ext>
            </a:extLst>
          </p:cNvPr>
          <p:cNvGrpSpPr/>
          <p:nvPr/>
        </p:nvGrpSpPr>
        <p:grpSpPr>
          <a:xfrm>
            <a:off x="71952" y="1489515"/>
            <a:ext cx="6386344" cy="4808691"/>
            <a:chOff x="71952" y="1489515"/>
            <a:chExt cx="6386344" cy="4808691"/>
          </a:xfrm>
        </p:grpSpPr>
        <p:sp>
          <p:nvSpPr>
            <p:cNvPr id="27" name="Line 20">
              <a:extLst>
                <a:ext uri="{FF2B5EF4-FFF2-40B4-BE49-F238E27FC236}">
                  <a16:creationId xmlns:a16="http://schemas.microsoft.com/office/drawing/2014/main" id="{59A9567D-C08B-47E3-B85B-A06BB6CAC782}"/>
                </a:ext>
              </a:extLst>
            </p:cNvPr>
            <p:cNvSpPr>
              <a:spLocks noChangeShapeType="1"/>
            </p:cNvSpPr>
            <p:nvPr/>
          </p:nvSpPr>
          <p:spPr bwMode="auto">
            <a:xfrm flipH="1">
              <a:off x="920805" y="1654394"/>
              <a:ext cx="0" cy="4484464"/>
            </a:xfrm>
            <a:prstGeom prst="line">
              <a:avLst/>
            </a:prstGeom>
            <a:noFill/>
            <a:ln w="12700">
              <a:solidFill>
                <a:schemeClr val="tx2"/>
              </a:solidFill>
              <a:round/>
              <a:headEnd/>
              <a:tailEnd/>
            </a:ln>
            <a:effectLst/>
          </p:spPr>
          <p:txBody>
            <a:bodyPr wrap="square" lIns="46176" tIns="46176" rIns="46176" bIns="46176">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endParaRPr lang="en-GB">
                <a:latin typeface="Arial" panose="020B0604020202020204" pitchFamily="34" charset="0"/>
                <a:cs typeface="Arial" panose="020B0604020202020204" pitchFamily="34" charset="0"/>
              </a:endParaRPr>
            </a:p>
          </p:txBody>
        </p:sp>
        <p:sp>
          <p:nvSpPr>
            <p:cNvPr id="39" name="Line 23">
              <a:extLst>
                <a:ext uri="{FF2B5EF4-FFF2-40B4-BE49-F238E27FC236}">
                  <a16:creationId xmlns:a16="http://schemas.microsoft.com/office/drawing/2014/main" id="{13855BB2-731D-456C-9E20-7F77432E4A01}"/>
                </a:ext>
              </a:extLst>
            </p:cNvPr>
            <p:cNvSpPr>
              <a:spLocks noChangeShapeType="1"/>
            </p:cNvSpPr>
            <p:nvPr/>
          </p:nvSpPr>
          <p:spPr bwMode="auto">
            <a:xfrm rot="5400000">
              <a:off x="4059113" y="1174235"/>
              <a:ext cx="16381" cy="3803962"/>
            </a:xfrm>
            <a:prstGeom prst="line">
              <a:avLst/>
            </a:prstGeom>
            <a:noFill/>
            <a:ln w="12700">
              <a:solidFill>
                <a:schemeClr val="tx2"/>
              </a:solidFill>
              <a:round/>
              <a:headEnd/>
              <a:tailEnd/>
            </a:ln>
            <a:effectLst/>
          </p:spPr>
          <p:txBody>
            <a:bodyPr wrap="square" lIns="46176" tIns="46176" rIns="46176" bIns="46176">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endParaRPr lang="en-GB">
                <a:latin typeface="Arial" panose="020B0604020202020204" pitchFamily="34" charset="0"/>
                <a:cs typeface="Arial" panose="020B0604020202020204" pitchFamily="34" charset="0"/>
              </a:endParaRPr>
            </a:p>
          </p:txBody>
        </p:sp>
        <p:sp>
          <p:nvSpPr>
            <p:cNvPr id="40" name="Line 24">
              <a:extLst>
                <a:ext uri="{FF2B5EF4-FFF2-40B4-BE49-F238E27FC236}">
                  <a16:creationId xmlns:a16="http://schemas.microsoft.com/office/drawing/2014/main" id="{07E3E464-F556-40F4-8F5D-15A25F3663FF}"/>
                </a:ext>
              </a:extLst>
            </p:cNvPr>
            <p:cNvSpPr>
              <a:spLocks noChangeShapeType="1"/>
            </p:cNvSpPr>
            <p:nvPr/>
          </p:nvSpPr>
          <p:spPr bwMode="auto">
            <a:xfrm rot="5400000">
              <a:off x="3705017" y="2408926"/>
              <a:ext cx="0" cy="4681011"/>
            </a:xfrm>
            <a:prstGeom prst="line">
              <a:avLst/>
            </a:prstGeom>
            <a:noFill/>
            <a:ln w="12700">
              <a:solidFill>
                <a:schemeClr val="tx2"/>
              </a:solidFill>
              <a:round/>
              <a:headEnd/>
              <a:tailEnd/>
            </a:ln>
            <a:effectLst/>
          </p:spPr>
          <p:txBody>
            <a:bodyPr wrap="square" lIns="46176" tIns="46176" rIns="46176" bIns="46176">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endParaRPr lang="en-GB">
                <a:latin typeface="Arial" panose="020B0604020202020204" pitchFamily="34" charset="0"/>
                <a:cs typeface="Arial" panose="020B0604020202020204" pitchFamily="34" charset="0"/>
              </a:endParaRPr>
            </a:p>
          </p:txBody>
        </p:sp>
        <p:sp>
          <p:nvSpPr>
            <p:cNvPr id="29" name="Freeform 35">
              <a:extLst>
                <a:ext uri="{FF2B5EF4-FFF2-40B4-BE49-F238E27FC236}">
                  <a16:creationId xmlns:a16="http://schemas.microsoft.com/office/drawing/2014/main" id="{0AD970BA-AEAC-454C-AF71-5E41AC7D91E3}"/>
                </a:ext>
              </a:extLst>
            </p:cNvPr>
            <p:cNvSpPr>
              <a:spLocks noChangeAspect="1"/>
            </p:cNvSpPr>
            <p:nvPr/>
          </p:nvSpPr>
          <p:spPr bwMode="auto">
            <a:xfrm>
              <a:off x="920805" y="3052652"/>
              <a:ext cx="1446800" cy="1687950"/>
            </a:xfrm>
            <a:custGeom>
              <a:avLst/>
              <a:gdLst/>
              <a:ahLst/>
              <a:cxnLst>
                <a:cxn ang="0">
                  <a:pos x="150" y="173"/>
                </a:cxn>
                <a:cxn ang="0">
                  <a:pos x="174" y="87"/>
                </a:cxn>
                <a:cxn ang="0">
                  <a:pos x="150" y="0"/>
                </a:cxn>
                <a:cxn ang="0">
                  <a:pos x="0" y="87"/>
                </a:cxn>
                <a:cxn ang="0">
                  <a:pos x="150" y="173"/>
                </a:cxn>
              </a:cxnLst>
              <a:rect l="0" t="0" r="r" b="b"/>
              <a:pathLst>
                <a:path w="174" h="173">
                  <a:moveTo>
                    <a:pt x="150" y="173"/>
                  </a:moveTo>
                  <a:cubicBezTo>
                    <a:pt x="165" y="147"/>
                    <a:pt x="174" y="117"/>
                    <a:pt x="174" y="87"/>
                  </a:cubicBezTo>
                  <a:cubicBezTo>
                    <a:pt x="174" y="56"/>
                    <a:pt x="165" y="26"/>
                    <a:pt x="150" y="0"/>
                  </a:cubicBezTo>
                  <a:lnTo>
                    <a:pt x="0" y="87"/>
                  </a:lnTo>
                  <a:lnTo>
                    <a:pt x="150" y="173"/>
                  </a:lnTo>
                  <a:close/>
                </a:path>
              </a:pathLst>
            </a:custGeom>
            <a:solidFill>
              <a:schemeClr val="accent1"/>
            </a:solidFill>
            <a:ln w="12700" cmpd="sng">
              <a:solidFill>
                <a:schemeClr val="bg1"/>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endParaRPr lang="en-GB">
                <a:latin typeface="Arial" panose="020B0604020202020204" pitchFamily="34" charset="0"/>
                <a:cs typeface="Arial" panose="020B0604020202020204" pitchFamily="34" charset="0"/>
              </a:endParaRPr>
            </a:p>
          </p:txBody>
        </p:sp>
        <p:sp>
          <p:nvSpPr>
            <p:cNvPr id="30" name="Freeform 36">
              <a:extLst>
                <a:ext uri="{FF2B5EF4-FFF2-40B4-BE49-F238E27FC236}">
                  <a16:creationId xmlns:a16="http://schemas.microsoft.com/office/drawing/2014/main" id="{B2B45A32-0331-456A-9A42-926B57EAC365}"/>
                </a:ext>
              </a:extLst>
            </p:cNvPr>
            <p:cNvSpPr>
              <a:spLocks noChangeAspect="1"/>
            </p:cNvSpPr>
            <p:nvPr/>
          </p:nvSpPr>
          <p:spPr bwMode="auto">
            <a:xfrm>
              <a:off x="920805" y="2205146"/>
              <a:ext cx="1247396" cy="1696779"/>
            </a:xfrm>
            <a:custGeom>
              <a:avLst/>
              <a:gdLst/>
              <a:ahLst/>
              <a:cxnLst>
                <a:cxn ang="0">
                  <a:pos x="150" y="87"/>
                </a:cxn>
                <a:cxn ang="0">
                  <a:pos x="0" y="0"/>
                </a:cxn>
                <a:cxn ang="0">
                  <a:pos x="0" y="174"/>
                </a:cxn>
                <a:cxn ang="0">
                  <a:pos x="150" y="87"/>
                </a:cxn>
              </a:cxnLst>
              <a:rect l="0" t="0" r="r" b="b"/>
              <a:pathLst>
                <a:path w="150" h="174">
                  <a:moveTo>
                    <a:pt x="150" y="87"/>
                  </a:moveTo>
                  <a:cubicBezTo>
                    <a:pt x="119" y="33"/>
                    <a:pt x="62" y="0"/>
                    <a:pt x="0" y="0"/>
                  </a:cubicBezTo>
                  <a:lnTo>
                    <a:pt x="0" y="174"/>
                  </a:lnTo>
                  <a:lnTo>
                    <a:pt x="150" y="87"/>
                  </a:lnTo>
                  <a:close/>
                </a:path>
              </a:pathLst>
            </a:custGeom>
            <a:solidFill>
              <a:schemeClr val="accent4"/>
            </a:solidFill>
            <a:ln w="12700" cmpd="sng">
              <a:solidFill>
                <a:schemeClr val="bg1"/>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endParaRPr lang="en-GB">
                <a:latin typeface="Arial" panose="020B0604020202020204" pitchFamily="34" charset="0"/>
                <a:cs typeface="Arial" panose="020B0604020202020204" pitchFamily="34" charset="0"/>
              </a:endParaRPr>
            </a:p>
          </p:txBody>
        </p:sp>
        <p:sp>
          <p:nvSpPr>
            <p:cNvPr id="31" name="Freeform 37">
              <a:extLst>
                <a:ext uri="{FF2B5EF4-FFF2-40B4-BE49-F238E27FC236}">
                  <a16:creationId xmlns:a16="http://schemas.microsoft.com/office/drawing/2014/main" id="{2C95681C-CDEA-4BE0-83B7-9D3F660BA2AA}"/>
                </a:ext>
              </a:extLst>
            </p:cNvPr>
            <p:cNvSpPr>
              <a:spLocks noChangeAspect="1"/>
            </p:cNvSpPr>
            <p:nvPr/>
          </p:nvSpPr>
          <p:spPr bwMode="auto">
            <a:xfrm>
              <a:off x="920805" y="3901925"/>
              <a:ext cx="1247396" cy="1686185"/>
            </a:xfrm>
            <a:custGeom>
              <a:avLst/>
              <a:gdLst/>
              <a:ahLst/>
              <a:cxnLst>
                <a:cxn ang="0">
                  <a:pos x="0" y="173"/>
                </a:cxn>
                <a:cxn ang="0">
                  <a:pos x="150" y="86"/>
                </a:cxn>
                <a:cxn ang="0">
                  <a:pos x="0" y="0"/>
                </a:cxn>
                <a:cxn ang="0">
                  <a:pos x="0" y="173"/>
                </a:cxn>
              </a:cxnLst>
              <a:rect l="0" t="0" r="r" b="b"/>
              <a:pathLst>
                <a:path w="150" h="173">
                  <a:moveTo>
                    <a:pt x="0" y="173"/>
                  </a:moveTo>
                  <a:cubicBezTo>
                    <a:pt x="62" y="173"/>
                    <a:pt x="119" y="140"/>
                    <a:pt x="150" y="86"/>
                  </a:cubicBezTo>
                  <a:lnTo>
                    <a:pt x="0" y="0"/>
                  </a:lnTo>
                  <a:lnTo>
                    <a:pt x="0" y="173"/>
                  </a:lnTo>
                  <a:close/>
                </a:path>
              </a:pathLst>
            </a:custGeom>
            <a:solidFill>
              <a:schemeClr val="accent5"/>
            </a:solidFill>
            <a:ln w="12700" cmpd="sng">
              <a:solidFill>
                <a:schemeClr val="bg1"/>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endParaRPr lang="en-GB">
                <a:latin typeface="Arial" panose="020B0604020202020204" pitchFamily="34" charset="0"/>
                <a:cs typeface="Arial" panose="020B0604020202020204" pitchFamily="34" charset="0"/>
              </a:endParaRPr>
            </a:p>
          </p:txBody>
        </p:sp>
        <p:sp>
          <p:nvSpPr>
            <p:cNvPr id="32" name="Oval 31">
              <a:extLst>
                <a:ext uri="{FF2B5EF4-FFF2-40B4-BE49-F238E27FC236}">
                  <a16:creationId xmlns:a16="http://schemas.microsoft.com/office/drawing/2014/main" id="{93008857-2934-4582-9D0D-CF5A06D71820}"/>
                </a:ext>
              </a:extLst>
            </p:cNvPr>
            <p:cNvSpPr>
              <a:spLocks noChangeAspect="1" noChangeArrowheads="1"/>
            </p:cNvSpPr>
            <p:nvPr/>
          </p:nvSpPr>
          <p:spPr bwMode="auto">
            <a:xfrm>
              <a:off x="71952" y="3202730"/>
              <a:ext cx="1181429" cy="1387793"/>
            </a:xfrm>
            <a:prstGeom prst="ellipse">
              <a:avLst/>
            </a:prstGeom>
            <a:solidFill>
              <a:schemeClr val="bg1"/>
            </a:solidFill>
            <a:ln w="12700" algn="ctr">
              <a:solidFill>
                <a:schemeClr val="bg1"/>
              </a:solidFill>
              <a:round/>
              <a:headEnd/>
              <a:tailEnd/>
            </a:ln>
            <a:effectLst/>
          </p:spPr>
          <p:txBody>
            <a:bodyPr wrap="none" lIns="0" tIns="0" rIns="0" bIns="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algn="ctr">
                <a:buSzPct val="90000"/>
              </a:pPr>
              <a:r>
                <a:rPr lang="en-GB" sz="1100" b="1">
                  <a:solidFill>
                    <a:schemeClr val="tx2"/>
                  </a:solidFill>
                  <a:latin typeface="Arial" panose="020B0604020202020204" pitchFamily="34" charset="0"/>
                  <a:cs typeface="Arial" panose="020B0604020202020204" pitchFamily="34" charset="0"/>
                </a:rPr>
                <a:t>Intergovernmental </a:t>
              </a:r>
            </a:p>
            <a:p>
              <a:pPr algn="ctr">
                <a:buSzPct val="90000"/>
              </a:pPr>
              <a:r>
                <a:rPr lang="en-GB" sz="1100" b="1">
                  <a:solidFill>
                    <a:schemeClr val="tx2"/>
                  </a:solidFill>
                  <a:latin typeface="Arial" panose="020B0604020202020204" pitchFamily="34" charset="0"/>
                  <a:cs typeface="Arial" panose="020B0604020202020204" pitchFamily="34" charset="0"/>
                </a:rPr>
                <a:t>Agreement</a:t>
              </a:r>
            </a:p>
          </p:txBody>
        </p:sp>
        <p:sp>
          <p:nvSpPr>
            <p:cNvPr id="33" name="Rectangle 32">
              <a:extLst>
                <a:ext uri="{FF2B5EF4-FFF2-40B4-BE49-F238E27FC236}">
                  <a16:creationId xmlns:a16="http://schemas.microsoft.com/office/drawing/2014/main" id="{1F3F5903-5005-4809-8816-58D18A6BA686}"/>
                </a:ext>
              </a:extLst>
            </p:cNvPr>
            <p:cNvSpPr>
              <a:spLocks noChangeAspect="1" noChangeArrowheads="1"/>
            </p:cNvSpPr>
            <p:nvPr/>
          </p:nvSpPr>
          <p:spPr bwMode="auto">
            <a:xfrm>
              <a:off x="860834" y="2794522"/>
              <a:ext cx="1181429" cy="153224"/>
            </a:xfrm>
            <a:prstGeom prst="rect">
              <a:avLst/>
            </a:prstGeom>
            <a:noFill/>
            <a:ln w="12700" algn="ctr">
              <a:noFill/>
              <a:miter lim="800000"/>
              <a:headEnd/>
              <a:tailEnd/>
            </a:ln>
            <a:effectLst/>
          </p:spPr>
          <p:txBody>
            <a:bodyPr wrap="square"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algn="ctr">
                <a:buSzPct val="90000"/>
              </a:pPr>
              <a:endParaRPr lang="en-GB" b="1">
                <a:solidFill>
                  <a:schemeClr val="bg1"/>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3CEC910-C538-4B0A-BE0E-9B61A651C036}"/>
                </a:ext>
              </a:extLst>
            </p:cNvPr>
            <p:cNvSpPr>
              <a:spLocks noChangeAspect="1" noChangeArrowheads="1"/>
            </p:cNvSpPr>
            <p:nvPr/>
          </p:nvSpPr>
          <p:spPr bwMode="auto">
            <a:xfrm>
              <a:off x="1518232" y="3672087"/>
              <a:ext cx="808417" cy="459672"/>
            </a:xfrm>
            <a:prstGeom prst="rect">
              <a:avLst/>
            </a:prstGeom>
            <a:noFill/>
            <a:ln w="12700" algn="ctr">
              <a:noFill/>
              <a:miter lim="800000"/>
              <a:headEnd/>
              <a:tailEnd/>
            </a:ln>
            <a:effectLst/>
          </p:spPr>
          <p:txBody>
            <a:bodyPr wrap="square"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algn="ctr">
                <a:buSzPct val="90000"/>
              </a:pPr>
              <a:r>
                <a:rPr lang="en-GB" b="1">
                  <a:solidFill>
                    <a:schemeClr val="bg1"/>
                  </a:solidFill>
                  <a:latin typeface="Arial" panose="020B0604020202020204" pitchFamily="34" charset="0"/>
                  <a:cs typeface="Arial" panose="020B0604020202020204" pitchFamily="34" charset="0"/>
                </a:rPr>
                <a:t>Incentives to attract investors</a:t>
              </a:r>
            </a:p>
          </p:txBody>
        </p:sp>
        <p:sp>
          <p:nvSpPr>
            <p:cNvPr id="35" name="Rectangle 34">
              <a:extLst>
                <a:ext uri="{FF2B5EF4-FFF2-40B4-BE49-F238E27FC236}">
                  <a16:creationId xmlns:a16="http://schemas.microsoft.com/office/drawing/2014/main" id="{F3814071-FFE8-4304-AF04-9018CBA7061B}"/>
                </a:ext>
              </a:extLst>
            </p:cNvPr>
            <p:cNvSpPr>
              <a:spLocks noChangeAspect="1" noChangeArrowheads="1"/>
            </p:cNvSpPr>
            <p:nvPr/>
          </p:nvSpPr>
          <p:spPr bwMode="auto">
            <a:xfrm>
              <a:off x="1062865" y="4644071"/>
              <a:ext cx="808418" cy="459672"/>
            </a:xfrm>
            <a:prstGeom prst="rect">
              <a:avLst/>
            </a:prstGeom>
            <a:noFill/>
            <a:ln w="12700" algn="ctr">
              <a:noFill/>
              <a:miter lim="800000"/>
              <a:headEnd/>
              <a:tailEnd/>
            </a:ln>
            <a:effectLst/>
          </p:spPr>
          <p:txBody>
            <a:bodyPr wrap="square"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algn="ctr">
                <a:buSzPct val="90000"/>
              </a:pPr>
              <a:r>
                <a:rPr lang="en-GB" b="1">
                  <a:solidFill>
                    <a:schemeClr val="bg1"/>
                  </a:solidFill>
                  <a:latin typeface="Arial" panose="020B0604020202020204" pitchFamily="34" charset="0"/>
                  <a:cs typeface="Arial" panose="020B0604020202020204" pitchFamily="34" charset="0"/>
                </a:rPr>
                <a:t>Hiring of Foreign Labour</a:t>
              </a:r>
            </a:p>
          </p:txBody>
        </p:sp>
        <p:sp>
          <p:nvSpPr>
            <p:cNvPr id="36" name="Rectangle 35">
              <a:extLst>
                <a:ext uri="{FF2B5EF4-FFF2-40B4-BE49-F238E27FC236}">
                  <a16:creationId xmlns:a16="http://schemas.microsoft.com/office/drawing/2014/main" id="{DC4C7976-F8D7-41DA-9A89-2B7620CF73BC}"/>
                </a:ext>
              </a:extLst>
            </p:cNvPr>
            <p:cNvSpPr>
              <a:spLocks noChangeArrowheads="1"/>
            </p:cNvSpPr>
            <p:nvPr/>
          </p:nvSpPr>
          <p:spPr bwMode="auto">
            <a:xfrm>
              <a:off x="2432926" y="1489515"/>
              <a:ext cx="4025370" cy="1323838"/>
            </a:xfrm>
            <a:prstGeom prst="rect">
              <a:avLst/>
            </a:prstGeom>
            <a:noFill/>
            <a:ln w="9525">
              <a:noFill/>
              <a:miter lim="800000"/>
              <a:headEnd/>
              <a:tailEnd/>
            </a:ln>
            <a:effectLst/>
          </p:spPr>
          <p:txBody>
            <a:bodyPr lIns="0" tIns="0" rIns="0" bIns="0" anchor="t"/>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a:spcBef>
                  <a:spcPts val="0"/>
                </a:spcBef>
                <a:spcAft>
                  <a:spcPts val="600"/>
                </a:spcAft>
              </a:pPr>
              <a:r>
                <a:rPr lang="en-US" b="1">
                  <a:solidFill>
                    <a:schemeClr val="accent4"/>
                  </a:solidFill>
                  <a:latin typeface="Arial" panose="020B0604020202020204" pitchFamily="34" charset="0"/>
                  <a:cs typeface="Arial" panose="020B0604020202020204" pitchFamily="34" charset="0"/>
                </a:rPr>
                <a:t>Treatment of Machinery</a:t>
              </a:r>
            </a:p>
            <a:p>
              <a:pPr marL="154738" lvl="1" indent="-154738" defTabSz="851060" eaLnBrk="0" hangingPunct="0">
                <a:spcBef>
                  <a:spcPts val="0"/>
                </a:spcBef>
                <a:spcAft>
                  <a:spcPts val="600"/>
                </a:spcAft>
                <a:buSzPct val="100000"/>
                <a:buFont typeface="Arial" pitchFamily="34" charset="0"/>
                <a:buChar char="•"/>
                <a:defRPr/>
              </a:pPr>
              <a:r>
                <a:rPr lang="en-US" kern="0">
                  <a:solidFill>
                    <a:srgbClr val="000000"/>
                  </a:solidFill>
                  <a:latin typeface="Arial" panose="020B0604020202020204" pitchFamily="34" charset="0"/>
                  <a:cs typeface="Arial" panose="020B0604020202020204" pitchFamily="34" charset="0"/>
                </a:rPr>
                <a:t>Specify terms on treatment of machinery imported from outside custom territory of ICIC</a:t>
              </a:r>
            </a:p>
            <a:p>
              <a:pPr marL="154738" lvl="1" indent="-154738" defTabSz="851060" eaLnBrk="0" hangingPunct="0">
                <a:spcBef>
                  <a:spcPts val="0"/>
                </a:spcBef>
                <a:spcAft>
                  <a:spcPts val="342"/>
                </a:spcAft>
                <a:buSzPct val="100000"/>
                <a:buFont typeface="Arial" pitchFamily="34" charset="0"/>
                <a:buChar char="•"/>
                <a:defRPr/>
              </a:pPr>
              <a:r>
                <a:rPr lang="en-US" kern="0">
                  <a:solidFill>
                    <a:srgbClr val="000000"/>
                  </a:solidFill>
                  <a:latin typeface="Arial" panose="020B0604020202020204" pitchFamily="34" charset="0"/>
                  <a:cs typeface="Arial" panose="020B0604020202020204" pitchFamily="34" charset="0"/>
                </a:rPr>
                <a:t>Treatment of second- hand machinery bought from outside of ICIC from either Kazakhstan and Uzbekistan</a:t>
              </a:r>
            </a:p>
            <a:p>
              <a:pPr marL="154738" lvl="1" indent="-154738" defTabSz="851060" eaLnBrk="0" hangingPunct="0">
                <a:spcBef>
                  <a:spcPts val="0"/>
                </a:spcBef>
                <a:spcAft>
                  <a:spcPts val="342"/>
                </a:spcAft>
                <a:buSzPct val="100000"/>
                <a:buFont typeface="Arial" pitchFamily="34" charset="0"/>
                <a:buChar char="•"/>
                <a:defRPr/>
              </a:pPr>
              <a:r>
                <a:rPr lang="en-US" kern="0">
                  <a:solidFill>
                    <a:srgbClr val="000000"/>
                  </a:solidFill>
                  <a:latin typeface="Arial" panose="020B0604020202020204" pitchFamily="34" charset="0"/>
                  <a:cs typeface="Arial" panose="020B0604020202020204" pitchFamily="34" charset="0"/>
                </a:rPr>
                <a:t>Import duties subject to above two points</a:t>
              </a:r>
              <a:endParaRPr lang="en-GB" kern="0">
                <a:solidFill>
                  <a:srgbClr val="000000"/>
                </a:solidFill>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A8A06F4-EDC1-4CC3-9433-DDBAAC98CF3B}"/>
                </a:ext>
              </a:extLst>
            </p:cNvPr>
            <p:cNvSpPr>
              <a:spLocks noChangeArrowheads="1"/>
            </p:cNvSpPr>
            <p:nvPr/>
          </p:nvSpPr>
          <p:spPr bwMode="auto">
            <a:xfrm>
              <a:off x="2432926" y="3111675"/>
              <a:ext cx="4025370" cy="1513690"/>
            </a:xfrm>
            <a:prstGeom prst="rect">
              <a:avLst/>
            </a:prstGeom>
            <a:noFill/>
            <a:ln w="9525">
              <a:noFill/>
              <a:miter lim="800000"/>
              <a:headEnd/>
              <a:tailEnd/>
            </a:ln>
            <a:effectLst/>
          </p:spPr>
          <p:txBody>
            <a:bodyPr lIns="0" tIns="0" rIns="0" bIns="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a:spcBef>
                  <a:spcPts val="0"/>
                </a:spcBef>
                <a:spcAft>
                  <a:spcPts val="600"/>
                </a:spcAft>
              </a:pPr>
              <a:r>
                <a:rPr lang="en-GB" b="1" dirty="0">
                  <a:solidFill>
                    <a:schemeClr val="accent1"/>
                  </a:solidFill>
                  <a:latin typeface="Arial" panose="020B0604020202020204" pitchFamily="34" charset="0"/>
                  <a:cs typeface="Arial" panose="020B0604020202020204" pitchFamily="34" charset="0"/>
                </a:rPr>
                <a:t>Incentives to Attract Foreign Investors</a:t>
              </a:r>
              <a:endParaRPr lang="en-US" b="1" kern="0" dirty="0">
                <a:solidFill>
                  <a:schemeClr val="accent1"/>
                </a:solidFill>
                <a:latin typeface="Arial" panose="020B0604020202020204" pitchFamily="34" charset="0"/>
                <a:cs typeface="Arial" panose="020B0604020202020204" pitchFamily="34" charset="0"/>
              </a:endParaRPr>
            </a:p>
            <a:p>
              <a:pPr marL="154738" lvl="1" indent="-154738" defTabSz="851060" eaLnBrk="0" hangingPunct="0">
                <a:spcBef>
                  <a:spcPts val="0"/>
                </a:spcBef>
                <a:spcAft>
                  <a:spcPts val="400"/>
                </a:spcAft>
                <a:buSzPct val="100000"/>
                <a:buFont typeface="Arial" pitchFamily="34" charset="0"/>
                <a:buChar char="•"/>
                <a:defRPr/>
              </a:pPr>
              <a:r>
                <a:rPr lang="en-US" kern="0" dirty="0">
                  <a:solidFill>
                    <a:srgbClr val="000000"/>
                  </a:solidFill>
                  <a:latin typeface="Arial" panose="020B0604020202020204" pitchFamily="34" charset="0"/>
                  <a:cs typeface="Arial" panose="020B0604020202020204" pitchFamily="34" charset="0"/>
                </a:rPr>
                <a:t>Create incentive structure to attract foreign investment and encourage participation in manufacturing within ICIC in the respective side of ICIC</a:t>
              </a:r>
            </a:p>
            <a:p>
              <a:pPr marL="154738" lvl="1" indent="-154738" defTabSz="851060" eaLnBrk="0" hangingPunct="0">
                <a:spcBef>
                  <a:spcPts val="0"/>
                </a:spcBef>
                <a:spcAft>
                  <a:spcPts val="400"/>
                </a:spcAft>
                <a:buSzPct val="100000"/>
                <a:buFont typeface="Arial" pitchFamily="34" charset="0"/>
                <a:buChar char="•"/>
                <a:defRPr/>
              </a:pPr>
              <a:r>
                <a:rPr lang="en-US" kern="0" dirty="0">
                  <a:solidFill>
                    <a:srgbClr val="000000"/>
                  </a:solidFill>
                  <a:latin typeface="Arial" panose="020B0604020202020204" pitchFamily="34" charset="0"/>
                  <a:cs typeface="Arial" panose="020B0604020202020204" pitchFamily="34" charset="0"/>
                </a:rPr>
                <a:t>Formulate sector-wise fiscal incentives and adopt ease of doing business (EoDB) measures </a:t>
              </a:r>
              <a:endParaRPr lang="en-GB" kern="0" dirty="0">
                <a:solidFill>
                  <a:srgbClr val="000000"/>
                </a:solidFill>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3187CCD1-2F31-4ADE-8446-1C1073D7AC36}"/>
                </a:ext>
              </a:extLst>
            </p:cNvPr>
            <p:cNvSpPr>
              <a:spLocks noChangeArrowheads="1"/>
            </p:cNvSpPr>
            <p:nvPr/>
          </p:nvSpPr>
          <p:spPr bwMode="auto">
            <a:xfrm>
              <a:off x="2429236" y="4974368"/>
              <a:ext cx="3952811" cy="1323838"/>
            </a:xfrm>
            <a:prstGeom prst="rect">
              <a:avLst/>
            </a:prstGeom>
            <a:noFill/>
            <a:ln w="9525">
              <a:noFill/>
              <a:miter lim="800000"/>
              <a:headEnd/>
              <a:tailEnd/>
            </a:ln>
            <a:effectLst/>
          </p:spPr>
          <p:txBody>
            <a:bodyPr lIns="0" tIns="0" rIns="0" bIns="0" anchor="t"/>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a:spcBef>
                  <a:spcPts val="0"/>
                </a:spcBef>
                <a:spcAft>
                  <a:spcPts val="600"/>
                </a:spcAft>
              </a:pPr>
              <a:r>
                <a:rPr lang="en-US" b="1">
                  <a:solidFill>
                    <a:schemeClr val="accent5"/>
                  </a:solidFill>
                  <a:latin typeface="Arial" panose="020B0604020202020204" pitchFamily="34" charset="0"/>
                  <a:cs typeface="Arial" panose="020B0604020202020204" pitchFamily="34" charset="0"/>
                </a:rPr>
                <a:t>Hiring of Foreign </a:t>
              </a:r>
              <a:r>
                <a:rPr lang="en-US" b="1" err="1">
                  <a:solidFill>
                    <a:schemeClr val="accent5"/>
                  </a:solidFill>
                  <a:latin typeface="Arial" panose="020B0604020202020204" pitchFamily="34" charset="0"/>
                  <a:cs typeface="Arial" panose="020B0604020202020204" pitchFamily="34" charset="0"/>
                </a:rPr>
                <a:t>Labour</a:t>
              </a:r>
              <a:endParaRPr lang="en-US" b="1">
                <a:solidFill>
                  <a:schemeClr val="accent5"/>
                </a:solidFill>
                <a:latin typeface="Arial" panose="020B0604020202020204" pitchFamily="34" charset="0"/>
                <a:cs typeface="Arial" panose="020B0604020202020204" pitchFamily="34" charset="0"/>
              </a:endParaRPr>
            </a:p>
            <a:p>
              <a:pPr marL="154738" lvl="1" indent="-154738" defTabSz="851060" eaLnBrk="0" hangingPunct="0">
                <a:spcBef>
                  <a:spcPts val="0"/>
                </a:spcBef>
                <a:spcAft>
                  <a:spcPts val="600"/>
                </a:spcAft>
                <a:buSzPct val="100000"/>
                <a:buFont typeface="Arial" pitchFamily="34" charset="0"/>
                <a:buChar char="•"/>
                <a:defRPr/>
              </a:pPr>
              <a:r>
                <a:rPr lang="en-GB" kern="0">
                  <a:solidFill>
                    <a:srgbClr val="000000"/>
                  </a:solidFill>
                  <a:latin typeface="Arial" panose="020B0604020202020204" pitchFamily="34" charset="0"/>
                  <a:cs typeface="Arial" panose="020B0604020202020204" pitchFamily="34" charset="0"/>
                </a:rPr>
                <a:t>Provisions to legalize </a:t>
              </a:r>
              <a:r>
                <a:rPr lang="en-US" kern="0">
                  <a:solidFill>
                    <a:srgbClr val="000000"/>
                  </a:solidFill>
                  <a:latin typeface="Arial" panose="020B0604020202020204" pitchFamily="34" charset="0"/>
                  <a:cs typeface="Arial" panose="020B0604020202020204" pitchFamily="34" charset="0"/>
                </a:rPr>
                <a:t>the hiring of foreign labor in ICIC, including allowing swapping the labor from Kazak to Uzbek side and vice-versa</a:t>
              </a:r>
            </a:p>
          </p:txBody>
        </p:sp>
        <p:sp>
          <p:nvSpPr>
            <p:cNvPr id="41" name="Rectangle 40">
              <a:extLst>
                <a:ext uri="{FF2B5EF4-FFF2-40B4-BE49-F238E27FC236}">
                  <a16:creationId xmlns:a16="http://schemas.microsoft.com/office/drawing/2014/main" id="{96793942-6F31-45D0-9E3D-B808257A2D4F}"/>
                </a:ext>
              </a:extLst>
            </p:cNvPr>
            <p:cNvSpPr>
              <a:spLocks noChangeAspect="1" noChangeArrowheads="1"/>
            </p:cNvSpPr>
            <p:nvPr/>
          </p:nvSpPr>
          <p:spPr bwMode="auto">
            <a:xfrm>
              <a:off x="991066" y="2702323"/>
              <a:ext cx="808417" cy="306448"/>
            </a:xfrm>
            <a:prstGeom prst="rect">
              <a:avLst/>
            </a:prstGeom>
            <a:noFill/>
            <a:ln w="12700" algn="ctr">
              <a:noFill/>
              <a:miter lim="800000"/>
              <a:headEnd/>
              <a:tailEnd/>
            </a:ln>
            <a:effectLst/>
          </p:spPr>
          <p:txBody>
            <a:bodyPr wrap="square"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algn="ctr">
                <a:buSzPct val="90000"/>
              </a:pPr>
              <a:r>
                <a:rPr lang="en-GB" b="1">
                  <a:solidFill>
                    <a:schemeClr val="bg1"/>
                  </a:solidFill>
                  <a:latin typeface="Arial" panose="020B0604020202020204" pitchFamily="34" charset="0"/>
                  <a:cs typeface="Arial" panose="020B0604020202020204" pitchFamily="34" charset="0"/>
                </a:rPr>
                <a:t>Treatment of Machinery</a:t>
              </a:r>
            </a:p>
          </p:txBody>
        </p:sp>
      </p:grpSp>
      <p:sp>
        <p:nvSpPr>
          <p:cNvPr id="79" name="Rectangle 78">
            <a:extLst>
              <a:ext uri="{FF2B5EF4-FFF2-40B4-BE49-F238E27FC236}">
                <a16:creationId xmlns:a16="http://schemas.microsoft.com/office/drawing/2014/main" id="{1AB6B992-7EFE-47E7-B708-6DFE940955CF}"/>
              </a:ext>
            </a:extLst>
          </p:cNvPr>
          <p:cNvSpPr/>
          <p:nvPr/>
        </p:nvSpPr>
        <p:spPr>
          <a:xfrm>
            <a:off x="6523617" y="1239006"/>
            <a:ext cx="5419584" cy="5355626"/>
          </a:xfrm>
          <a:prstGeom prst="rect">
            <a:avLst/>
          </a:prstGeom>
          <a:solidFill>
            <a:schemeClr val="bg1">
              <a:lumMod val="95000"/>
            </a:schemeClr>
          </a:solidFill>
          <a:ln>
            <a:noFill/>
          </a:ln>
          <a:effectLst/>
        </p:spPr>
        <p:txBody>
          <a:bodyPr rtlCol="0" anchor="t" anchorCtr="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400" b="1" kern="0" dirty="0">
                <a:latin typeface="Arial"/>
                <a:sym typeface="Arial"/>
              </a:rPr>
              <a:t>Other Soft Interventions</a:t>
            </a:r>
            <a:endParaRPr kumimoji="0" lang="en-US" sz="1400" b="1" i="0" u="none" strike="noStrike" kern="0" cap="none" spc="0" normalizeH="0" baseline="0" noProof="0" dirty="0">
              <a:ln>
                <a:noFill/>
              </a:ln>
              <a:effectLst/>
              <a:uLnTx/>
              <a:uFillTx/>
              <a:latin typeface="Arial"/>
              <a:ea typeface="+mn-ea"/>
              <a:cs typeface="+mn-cs"/>
              <a:sym typeface="Arial"/>
            </a:endParaRPr>
          </a:p>
        </p:txBody>
      </p:sp>
      <p:sp>
        <p:nvSpPr>
          <p:cNvPr id="103" name="Rectangle 102">
            <a:extLst>
              <a:ext uri="{FF2B5EF4-FFF2-40B4-BE49-F238E27FC236}">
                <a16:creationId xmlns:a16="http://schemas.microsoft.com/office/drawing/2014/main" id="{E8B3C92C-7785-4671-8E85-7D09DB153B7F}"/>
              </a:ext>
            </a:extLst>
          </p:cNvPr>
          <p:cNvSpPr/>
          <p:nvPr/>
        </p:nvSpPr>
        <p:spPr>
          <a:xfrm>
            <a:off x="6703218" y="1818771"/>
            <a:ext cx="273532" cy="199936"/>
          </a:xfrm>
          <a:prstGeom prst="rect">
            <a:avLst/>
          </a:prstGeom>
          <a:solidFill>
            <a:srgbClr val="E0301E"/>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1" name="Rectangle 100">
            <a:extLst>
              <a:ext uri="{FF2B5EF4-FFF2-40B4-BE49-F238E27FC236}">
                <a16:creationId xmlns:a16="http://schemas.microsoft.com/office/drawing/2014/main" id="{C74B2DD0-9B67-4BA7-9A02-D58D52FB0CE0}"/>
              </a:ext>
            </a:extLst>
          </p:cNvPr>
          <p:cNvSpPr/>
          <p:nvPr/>
        </p:nvSpPr>
        <p:spPr>
          <a:xfrm>
            <a:off x="6690595" y="3323961"/>
            <a:ext cx="273532" cy="199936"/>
          </a:xfrm>
          <a:prstGeom prst="rect">
            <a:avLst/>
          </a:prstGeom>
          <a:solidFill>
            <a:srgbClr val="E0301E"/>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9" name="Rectangle 98">
            <a:extLst>
              <a:ext uri="{FF2B5EF4-FFF2-40B4-BE49-F238E27FC236}">
                <a16:creationId xmlns:a16="http://schemas.microsoft.com/office/drawing/2014/main" id="{BB4FE80F-7A53-4B48-98D2-BC341C0FDDC1}"/>
              </a:ext>
            </a:extLst>
          </p:cNvPr>
          <p:cNvSpPr/>
          <p:nvPr/>
        </p:nvSpPr>
        <p:spPr>
          <a:xfrm>
            <a:off x="6703214" y="5008265"/>
            <a:ext cx="273532" cy="199936"/>
          </a:xfrm>
          <a:prstGeom prst="rect">
            <a:avLst/>
          </a:prstGeom>
          <a:solidFill>
            <a:srgbClr val="E0301E"/>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78" name="Straight Connector 77">
            <a:extLst>
              <a:ext uri="{FF2B5EF4-FFF2-40B4-BE49-F238E27FC236}">
                <a16:creationId xmlns:a16="http://schemas.microsoft.com/office/drawing/2014/main" id="{8940CD23-3909-4329-A337-14D34C1142EF}"/>
              </a:ext>
            </a:extLst>
          </p:cNvPr>
          <p:cNvCxnSpPr>
            <a:cxnSpLocks/>
          </p:cNvCxnSpPr>
          <p:nvPr/>
        </p:nvCxnSpPr>
        <p:spPr>
          <a:xfrm>
            <a:off x="6839980" y="2018707"/>
            <a:ext cx="0" cy="3189494"/>
          </a:xfrm>
          <a:prstGeom prst="line">
            <a:avLst/>
          </a:prstGeom>
          <a:noFill/>
          <a:ln w="12700" cap="sq" cmpd="sng" algn="ctr">
            <a:solidFill>
              <a:srgbClr val="D04A02">
                <a:shade val="95000"/>
                <a:satMod val="105000"/>
              </a:srgbClr>
            </a:solidFill>
            <a:prstDash val="solid"/>
          </a:ln>
          <a:effectLst/>
        </p:spPr>
      </p:cxnSp>
      <p:grpSp>
        <p:nvGrpSpPr>
          <p:cNvPr id="3" name="Group 2">
            <a:extLst>
              <a:ext uri="{FF2B5EF4-FFF2-40B4-BE49-F238E27FC236}">
                <a16:creationId xmlns:a16="http://schemas.microsoft.com/office/drawing/2014/main" id="{26EE82EC-6F1F-4240-BFEF-0ACCF209AE5F}"/>
              </a:ext>
            </a:extLst>
          </p:cNvPr>
          <p:cNvGrpSpPr/>
          <p:nvPr/>
        </p:nvGrpSpPr>
        <p:grpSpPr>
          <a:xfrm>
            <a:off x="7091740" y="1827763"/>
            <a:ext cx="4657348" cy="1320252"/>
            <a:chOff x="7286374" y="1827763"/>
            <a:chExt cx="4462714" cy="1320252"/>
          </a:xfrm>
        </p:grpSpPr>
        <p:sp>
          <p:nvSpPr>
            <p:cNvPr id="104" name="Rectangle 103">
              <a:extLst>
                <a:ext uri="{FF2B5EF4-FFF2-40B4-BE49-F238E27FC236}">
                  <a16:creationId xmlns:a16="http://schemas.microsoft.com/office/drawing/2014/main" id="{8FFFF3EC-3024-4556-AFD2-B893441DFBBF}"/>
                </a:ext>
              </a:extLst>
            </p:cNvPr>
            <p:cNvSpPr/>
            <p:nvPr/>
          </p:nvSpPr>
          <p:spPr>
            <a:xfrm>
              <a:off x="7298997" y="1827763"/>
              <a:ext cx="2540941" cy="180088"/>
            </a:xfrm>
            <a:prstGeom prst="rect">
              <a:avLst/>
            </a:prstGeom>
            <a:noFill/>
            <a:ln>
              <a:noFill/>
            </a:ln>
            <a:effectLst/>
          </p:spPr>
          <p:txBody>
            <a:bodyPr wrap="square" lIns="0" tIns="0" rIns="0" bIns="0" rtlCol="0" anchor="t" anchorCtr="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200" b="1" kern="0" dirty="0">
                  <a:latin typeface="Arial"/>
                  <a:sym typeface="Arial"/>
                </a:rPr>
                <a:t>Development of Logistics Services</a:t>
              </a:r>
              <a:endParaRPr kumimoji="0" lang="en-US" sz="1200" b="1" i="0" u="none" strike="noStrike" kern="0" cap="none" spc="0" normalizeH="0" baseline="0" noProof="0" dirty="0">
                <a:ln>
                  <a:noFill/>
                </a:ln>
                <a:effectLst/>
                <a:uLnTx/>
                <a:uFillTx/>
                <a:latin typeface="Arial"/>
                <a:ea typeface="+mn-ea"/>
                <a:cs typeface="+mn-cs"/>
                <a:sym typeface="Arial"/>
              </a:endParaRPr>
            </a:p>
          </p:txBody>
        </p:sp>
        <p:sp>
          <p:nvSpPr>
            <p:cNvPr id="109" name="Rectangle 108">
              <a:extLst>
                <a:ext uri="{FF2B5EF4-FFF2-40B4-BE49-F238E27FC236}">
                  <a16:creationId xmlns:a16="http://schemas.microsoft.com/office/drawing/2014/main" id="{D68E1E9F-DC4D-4B0D-B358-1A81319DF5EC}"/>
                </a:ext>
              </a:extLst>
            </p:cNvPr>
            <p:cNvSpPr/>
            <p:nvPr/>
          </p:nvSpPr>
          <p:spPr>
            <a:xfrm>
              <a:off x="7286374" y="2157573"/>
              <a:ext cx="4462714" cy="99044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gn="just">
                <a:buFont typeface="Arial" panose="020B0604020202020204" pitchFamily="34" charset="0"/>
                <a:buChar char="•"/>
              </a:pPr>
              <a:r>
                <a:rPr lang="en-US" sz="1200" dirty="0">
                  <a:solidFill>
                    <a:schemeClr val="tx1"/>
                  </a:solidFill>
                  <a:latin typeface="Arial" panose="020B0604020202020204" pitchFamily="34" charset="0"/>
                  <a:ea typeface="SimSun" panose="02010600030101010101" pitchFamily="2" charset="-122"/>
                </a:rPr>
                <a:t>Logistics services need improvement to meet the growing demand in both countries with investment in “Grade A</a:t>
              </a:r>
              <a:r>
                <a:rPr lang="en-US" sz="1200">
                  <a:solidFill>
                    <a:schemeClr val="tx1"/>
                  </a:solidFill>
                  <a:latin typeface="Arial" panose="020B0604020202020204" pitchFamily="34" charset="0"/>
                  <a:ea typeface="SimSun" panose="02010600030101010101" pitchFamily="2" charset="-122"/>
                </a:rPr>
                <a:t>” warehouses</a:t>
              </a:r>
              <a:endParaRPr lang="en-US" sz="1200" dirty="0">
                <a:solidFill>
                  <a:schemeClr val="tx1"/>
                </a:solidFill>
                <a:latin typeface="Arial" panose="020B0604020202020204" pitchFamily="34" charset="0"/>
                <a:ea typeface="SimSun" panose="02010600030101010101" pitchFamily="2" charset="-122"/>
              </a:endParaRPr>
            </a:p>
          </p:txBody>
        </p:sp>
      </p:grpSp>
      <p:grpSp>
        <p:nvGrpSpPr>
          <p:cNvPr id="4" name="Group 3">
            <a:extLst>
              <a:ext uri="{FF2B5EF4-FFF2-40B4-BE49-F238E27FC236}">
                <a16:creationId xmlns:a16="http://schemas.microsoft.com/office/drawing/2014/main" id="{F45A482E-5325-4CEC-A938-1C87B6E264B3}"/>
              </a:ext>
            </a:extLst>
          </p:cNvPr>
          <p:cNvGrpSpPr/>
          <p:nvPr/>
        </p:nvGrpSpPr>
        <p:grpSpPr>
          <a:xfrm>
            <a:off x="7091740" y="3379243"/>
            <a:ext cx="4657348" cy="1321185"/>
            <a:chOff x="7286374" y="3379243"/>
            <a:chExt cx="4462714" cy="1321185"/>
          </a:xfrm>
        </p:grpSpPr>
        <p:sp>
          <p:nvSpPr>
            <p:cNvPr id="102" name="Rectangle 101">
              <a:extLst>
                <a:ext uri="{FF2B5EF4-FFF2-40B4-BE49-F238E27FC236}">
                  <a16:creationId xmlns:a16="http://schemas.microsoft.com/office/drawing/2014/main" id="{EF4C357A-B4D8-47D0-A983-0CB72DC650C5}"/>
                </a:ext>
              </a:extLst>
            </p:cNvPr>
            <p:cNvSpPr/>
            <p:nvPr/>
          </p:nvSpPr>
          <p:spPr>
            <a:xfrm>
              <a:off x="7286374" y="3379243"/>
              <a:ext cx="4022286" cy="258862"/>
            </a:xfrm>
            <a:prstGeom prst="rect">
              <a:avLst/>
            </a:prstGeom>
            <a:noFill/>
            <a:ln>
              <a:noFill/>
            </a:ln>
            <a:effectLst/>
          </p:spPr>
          <p:txBody>
            <a:bodyPr wrap="square" lIns="0" tIns="0" rIns="0" bIns="0" rtlCol="0" anchor="t" anchorCtr="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effectLst/>
                  <a:uLnTx/>
                  <a:uFillTx/>
                  <a:latin typeface="Arial"/>
                  <a:ea typeface="+mn-ea"/>
                  <a:cs typeface="+mn-cs"/>
                  <a:sym typeface="Arial"/>
                </a:rPr>
                <a:t>Coordinated </a:t>
              </a:r>
              <a:r>
                <a:rPr lang="en-US" sz="1200" b="1" kern="0" dirty="0">
                  <a:latin typeface="Arial"/>
                  <a:sym typeface="Arial"/>
                </a:rPr>
                <a:t>M</a:t>
              </a:r>
              <a:r>
                <a:rPr kumimoji="0" lang="en-US" sz="1200" b="1" i="0" u="none" strike="noStrike" kern="0" cap="none" spc="0" normalizeH="0" baseline="0" noProof="0" dirty="0" err="1">
                  <a:ln>
                    <a:noFill/>
                  </a:ln>
                  <a:effectLst/>
                  <a:uLnTx/>
                  <a:uFillTx/>
                  <a:latin typeface="Arial"/>
                  <a:ea typeface="+mn-ea"/>
                  <a:cs typeface="+mn-cs"/>
                  <a:sym typeface="Arial"/>
                </a:rPr>
                <a:t>ovement</a:t>
              </a:r>
              <a:r>
                <a:rPr kumimoji="0" lang="en-US" sz="1200" b="1" i="0" u="none" strike="noStrike" kern="0" cap="none" spc="0" normalizeH="0" baseline="0" noProof="0" dirty="0">
                  <a:ln>
                    <a:noFill/>
                  </a:ln>
                  <a:effectLst/>
                  <a:uLnTx/>
                  <a:uFillTx/>
                  <a:latin typeface="Arial"/>
                  <a:ea typeface="+mn-ea"/>
                  <a:cs typeface="+mn-cs"/>
                  <a:sym typeface="Arial"/>
                </a:rPr>
                <a:t> between Inter SEZ</a:t>
              </a:r>
            </a:p>
          </p:txBody>
        </p:sp>
        <p:sp>
          <p:nvSpPr>
            <p:cNvPr id="110" name="Rectangle 109">
              <a:extLst>
                <a:ext uri="{FF2B5EF4-FFF2-40B4-BE49-F238E27FC236}">
                  <a16:creationId xmlns:a16="http://schemas.microsoft.com/office/drawing/2014/main" id="{5347C8FC-EB00-49E1-A890-83939A9B89E6}"/>
                </a:ext>
              </a:extLst>
            </p:cNvPr>
            <p:cNvSpPr/>
            <p:nvPr/>
          </p:nvSpPr>
          <p:spPr>
            <a:xfrm>
              <a:off x="7286374" y="3709986"/>
              <a:ext cx="4462714" cy="99044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gn="just">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rPr>
                <a:t>Bonded status for such inter-center movements improve the attraction of the ICIC</a:t>
              </a:r>
            </a:p>
            <a:p>
              <a:pPr marL="171450" indent="-171450" algn="just">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rPr>
                <a:t>ICIC can act as a conduit to value-add on raw or semi-finished goods from other SEZs, in terms of sorting, grading, packing, as well as consolidation and deconsolidation</a:t>
              </a:r>
            </a:p>
          </p:txBody>
        </p:sp>
      </p:grpSp>
      <p:grpSp>
        <p:nvGrpSpPr>
          <p:cNvPr id="5" name="Group 4">
            <a:extLst>
              <a:ext uri="{FF2B5EF4-FFF2-40B4-BE49-F238E27FC236}">
                <a16:creationId xmlns:a16="http://schemas.microsoft.com/office/drawing/2014/main" id="{89F35C6F-B3A0-405E-85BC-3F90DFFF864B}"/>
              </a:ext>
            </a:extLst>
          </p:cNvPr>
          <p:cNvGrpSpPr/>
          <p:nvPr/>
        </p:nvGrpSpPr>
        <p:grpSpPr>
          <a:xfrm>
            <a:off x="7091740" y="5017257"/>
            <a:ext cx="4657348" cy="1280949"/>
            <a:chOff x="7286374" y="5017257"/>
            <a:chExt cx="4462714" cy="1280949"/>
          </a:xfrm>
        </p:grpSpPr>
        <p:sp>
          <p:nvSpPr>
            <p:cNvPr id="100" name="Rectangle 99">
              <a:extLst>
                <a:ext uri="{FF2B5EF4-FFF2-40B4-BE49-F238E27FC236}">
                  <a16:creationId xmlns:a16="http://schemas.microsoft.com/office/drawing/2014/main" id="{37B63C20-6969-448D-9C56-A4109E859D14}"/>
                </a:ext>
              </a:extLst>
            </p:cNvPr>
            <p:cNvSpPr/>
            <p:nvPr/>
          </p:nvSpPr>
          <p:spPr>
            <a:xfrm>
              <a:off x="7298993" y="5017257"/>
              <a:ext cx="2756026" cy="180088"/>
            </a:xfrm>
            <a:prstGeom prst="rect">
              <a:avLst/>
            </a:prstGeom>
            <a:noFill/>
            <a:ln>
              <a:noFill/>
            </a:ln>
            <a:effectLst/>
          </p:spPr>
          <p:txBody>
            <a:bodyPr wrap="square" lIns="0" tIns="0" rIns="0" bIns="0" rtlCol="0" anchor="t" anchorCtr="0"/>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lang="en-US" sz="1200" b="1" kern="0">
                  <a:latin typeface="Arial"/>
                  <a:sym typeface="Arial"/>
                </a:rPr>
                <a:t>Country of Origin Rules </a:t>
              </a:r>
              <a:endParaRPr kumimoji="0" lang="en-US" sz="1200" b="1" i="0" u="none" strike="noStrike" kern="0" cap="none" spc="0" normalizeH="0" baseline="0" noProof="0">
                <a:ln>
                  <a:noFill/>
                </a:ln>
                <a:effectLst/>
                <a:uLnTx/>
                <a:uFillTx/>
                <a:latin typeface="Arial"/>
                <a:ea typeface="+mn-ea"/>
                <a:cs typeface="+mn-cs"/>
                <a:sym typeface="Arial"/>
              </a:endParaRPr>
            </a:p>
          </p:txBody>
        </p:sp>
        <p:sp>
          <p:nvSpPr>
            <p:cNvPr id="111" name="Rectangle 110">
              <a:extLst>
                <a:ext uri="{FF2B5EF4-FFF2-40B4-BE49-F238E27FC236}">
                  <a16:creationId xmlns:a16="http://schemas.microsoft.com/office/drawing/2014/main" id="{ABDF542D-9139-467C-9CCF-B822F22857E1}"/>
                </a:ext>
              </a:extLst>
            </p:cNvPr>
            <p:cNvSpPr/>
            <p:nvPr/>
          </p:nvSpPr>
          <p:spPr>
            <a:xfrm>
              <a:off x="7286374" y="5307764"/>
              <a:ext cx="4462714" cy="99044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gn="just">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rPr>
                <a:t>As ICIC is of transboundary nature, therefore it is proposed to have harmonization of laws  imperative for smoother functioning</a:t>
              </a:r>
            </a:p>
            <a:p>
              <a:pPr marL="171450" indent="-171450" algn="just">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rPr>
                <a:t>Since Kazakhstan and Uzbekistan have different laws on the rules on country or origins, it is challenging to harmonize them</a:t>
              </a:r>
            </a:p>
          </p:txBody>
        </p:sp>
      </p:grpSp>
      <p:sp>
        <p:nvSpPr>
          <p:cNvPr id="6" name="Date Placeholder 5">
            <a:extLst>
              <a:ext uri="{FF2B5EF4-FFF2-40B4-BE49-F238E27FC236}">
                <a16:creationId xmlns:a16="http://schemas.microsoft.com/office/drawing/2014/main" id="{23DF2BB1-E150-4017-B6C9-ED9490F1E97E}"/>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7" name="Slide Number Placeholder 6">
            <a:extLst>
              <a:ext uri="{FF2B5EF4-FFF2-40B4-BE49-F238E27FC236}">
                <a16:creationId xmlns:a16="http://schemas.microsoft.com/office/drawing/2014/main" id="{37A3BEDE-764C-43F7-BF80-D8F9D794C96B}"/>
              </a:ext>
            </a:extLst>
          </p:cNvPr>
          <p:cNvSpPr>
            <a:spLocks noGrp="1"/>
          </p:cNvSpPr>
          <p:nvPr>
            <p:ph type="sldNum" idx="12"/>
          </p:nvPr>
        </p:nvSpPr>
        <p:spPr/>
        <p:txBody>
          <a:bodyPr/>
          <a:lstStyle/>
          <a:p>
            <a:pPr lvl="0"/>
            <a:fld id="{00000000-1234-1234-1234-123412341234}" type="slidenum">
              <a:rPr lang="en-US" smtClean="0"/>
              <a:pPr lvl="0"/>
              <a:t>23</a:t>
            </a:fld>
            <a:endParaRPr lang="en-US"/>
          </a:p>
        </p:txBody>
      </p:sp>
    </p:spTree>
    <p:custDataLst>
      <p:custData r:id="rId1"/>
    </p:custDataLst>
    <p:extLst>
      <p:ext uri="{BB962C8B-B14F-4D97-AF65-F5344CB8AC3E}">
        <p14:creationId xmlns:p14="http://schemas.microsoft.com/office/powerpoint/2010/main" val="14082244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6000"/>
            <a:lum/>
            <a:extLst>
              <a:ext uri="{837473B0-CC2E-450A-ABE3-18F120FF3D39}">
                <a1611:picAttrSrcUrl xmlns:a1611="http://schemas.microsoft.com/office/drawing/2016/11/main" r:id="rId4"/>
              </a:ext>
            </a:extLst>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379AA2-ED46-4BD9-A397-5BBD93295767}"/>
              </a:ext>
            </a:extLst>
          </p:cNvPr>
          <p:cNvSpPr/>
          <p:nvPr/>
        </p:nvSpPr>
        <p:spPr>
          <a:xfrm>
            <a:off x="0" y="2150807"/>
            <a:ext cx="7895073" cy="2556387"/>
          </a:xfrm>
          <a:prstGeom prst="rect">
            <a:avLst/>
          </a:prstGeom>
          <a:solidFill>
            <a:schemeClr val="accent1">
              <a:lumMod val="7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Georgia"/>
                <a:ea typeface="+mn-ea"/>
                <a:cs typeface="+mn-cs"/>
              </a:rPr>
              <a:t>Way Forward and Questions</a:t>
            </a:r>
          </a:p>
        </p:txBody>
      </p:sp>
    </p:spTree>
    <p:custDataLst>
      <p:custData r:id="rId1"/>
    </p:custDataLst>
    <p:extLst>
      <p:ext uri="{BB962C8B-B14F-4D97-AF65-F5344CB8AC3E}">
        <p14:creationId xmlns:p14="http://schemas.microsoft.com/office/powerpoint/2010/main" val="12361006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Thank You</a:t>
            </a:r>
            <a:endParaRPr lang="en-US" dirty="0"/>
          </a:p>
        </p:txBody>
      </p:sp>
      <p:sp>
        <p:nvSpPr>
          <p:cNvPr id="12" name="Text Placeholder 3"/>
          <p:cNvSpPr>
            <a:spLocks noGrp="1"/>
          </p:cNvSpPr>
          <p:nvPr>
            <p:ph type="body" sz="quarter" idx="10"/>
          </p:nvPr>
        </p:nvSpPr>
        <p:spPr/>
        <p:txBody>
          <a:bodyPr/>
          <a:lstStyle/>
          <a:p>
            <a:r>
              <a:rPr lang="en-US" dirty="0"/>
              <a:t>© 2023 PwC. All rights reserved. Not for further distribution without the permission of PwC. “PwC” refers to the network of member firms of PricewaterhouseCoopers International Limited (</a:t>
            </a:r>
            <a:r>
              <a:rPr lang="en-US" dirty="0" err="1"/>
              <a:t>PwCIL</a:t>
            </a:r>
            <a:r>
              <a:rPr lang="en-US" dirty="0"/>
              <a:t>), or, as the context requires, individual member firms of the PwC network. Each member firm is a separate legal entity and does not act as agent of </a:t>
            </a:r>
            <a:r>
              <a:rPr lang="en-US" dirty="0" err="1"/>
              <a:t>PwCIL</a:t>
            </a:r>
            <a:r>
              <a:rPr lang="en-US" dirty="0"/>
              <a:t> or any other member firm. </a:t>
            </a:r>
            <a:r>
              <a:rPr lang="en-US" dirty="0" err="1"/>
              <a:t>PwCIL</a:t>
            </a:r>
            <a:r>
              <a:rPr lang="en-US" dirty="0"/>
              <a:t> does not provide any services to clients. </a:t>
            </a:r>
            <a:r>
              <a:rPr lang="en-US" dirty="0" err="1"/>
              <a:t>PwCIL</a:t>
            </a:r>
            <a:r>
              <a:rPr lang="en-US" dirty="0"/>
              <a:t> is not responsible or liable for the acts or omissions of any of its member firms nor can it control the exercise of their professional judgment or bind them in any way. No member firm is responsible or liable for the acts or omissions of any other member firm nor can it control the exercise of another member firm’s professional judgment or bind another member firm or </a:t>
            </a:r>
            <a:r>
              <a:rPr lang="en-US" dirty="0" err="1"/>
              <a:t>PwCIL</a:t>
            </a:r>
            <a:r>
              <a:rPr lang="en-US" dirty="0"/>
              <a:t> in any way.</a:t>
            </a:r>
          </a:p>
        </p:txBody>
      </p:sp>
    </p:spTree>
    <p:custDataLst>
      <p:custData r:id="rId1"/>
    </p:custDataLst>
    <p:extLst>
      <p:ext uri="{BB962C8B-B14F-4D97-AF65-F5344CB8AC3E}">
        <p14:creationId xmlns:p14="http://schemas.microsoft.com/office/powerpoint/2010/main" val="29526797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82"/>
        <p:cNvGrpSpPr/>
        <p:nvPr/>
      </p:nvGrpSpPr>
      <p:grpSpPr>
        <a:xfrm>
          <a:off x="0" y="0"/>
          <a:ext cx="0" cy="0"/>
          <a:chOff x="0" y="0"/>
          <a:chExt cx="0" cy="0"/>
        </a:xfrm>
      </p:grpSpPr>
      <p:sp>
        <p:nvSpPr>
          <p:cNvPr id="1999" name="Google Shape;1999;p2"/>
          <p:cNvSpPr txBox="1">
            <a:spLocks noGrp="1"/>
          </p:cNvSpPr>
          <p:nvPr>
            <p:ph type="title"/>
          </p:nvPr>
        </p:nvSpPr>
        <p:spPr>
          <a:xfrm>
            <a:off x="442912" y="288810"/>
            <a:ext cx="11306175" cy="725091"/>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dk1"/>
              </a:buClr>
              <a:buSzPts val="2000"/>
              <a:buFont typeface="Arial"/>
              <a:buNone/>
            </a:pPr>
            <a:r>
              <a:rPr lang="en-GB" sz="2400">
                <a:latin typeface="Georgia" panose="02040502050405020303" pitchFamily="18" charset="0"/>
                <a:ea typeface="Arial"/>
                <a:cs typeface="Arial"/>
                <a:sym typeface="Arial"/>
              </a:rPr>
              <a:t>Contents</a:t>
            </a:r>
            <a:endParaRPr sz="2400">
              <a:latin typeface="Georgia" panose="02040502050405020303" pitchFamily="18" charset="0"/>
              <a:ea typeface="Arial"/>
              <a:cs typeface="Arial"/>
              <a:sym typeface="Arial"/>
            </a:endParaRPr>
          </a:p>
        </p:txBody>
      </p:sp>
      <p:cxnSp>
        <p:nvCxnSpPr>
          <p:cNvPr id="2000" name="Google Shape;2000;p2"/>
          <p:cNvCxnSpPr/>
          <p:nvPr/>
        </p:nvCxnSpPr>
        <p:spPr>
          <a:xfrm>
            <a:off x="442912" y="910809"/>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4" name="Slide Number Placeholder 3">
            <a:extLst>
              <a:ext uri="{FF2B5EF4-FFF2-40B4-BE49-F238E27FC236}">
                <a16:creationId xmlns:a16="http://schemas.microsoft.com/office/drawing/2014/main" id="{18554DFF-5EB1-4E1A-B2D1-9EE26BB210C2}"/>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prstClr val="black"/>
              </a:buClr>
              <a:buSzPts val="750"/>
              <a:buFont typeface="Arial"/>
              <a:buNone/>
              <a:tabLst/>
              <a:defRPr/>
            </a:pPr>
            <a:fld id="{00000000-1234-1234-1234-123412341234}" type="slidenum">
              <a:rPr kumimoji="0" lang="en-GB" sz="750" b="0" i="0" u="none" strike="noStrike" kern="1200" cap="none" spc="0" normalizeH="0" baseline="0" noProof="0" smtClean="0">
                <a:ln>
                  <a:noFill/>
                </a:ln>
                <a:solidFill>
                  <a:prstClr val="black"/>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prstClr val="black"/>
                </a:buClr>
                <a:buSzPts val="750"/>
                <a:buFont typeface="Arial"/>
                <a:buNone/>
                <a:tabLst/>
                <a:defRPr/>
              </a:pPr>
              <a:t>3</a:t>
            </a:fld>
            <a:endParaRPr kumimoji="0" lang="en-GB" sz="750" b="0" i="0" u="none" strike="noStrike" kern="1200" cap="none" spc="0" normalizeH="0" baseline="0" noProof="0">
              <a:ln>
                <a:noFill/>
              </a:ln>
              <a:solidFill>
                <a:prstClr val="black"/>
              </a:solidFill>
              <a:effectLst/>
              <a:uLnTx/>
              <a:uFillTx/>
              <a:latin typeface="Arial"/>
              <a:cs typeface="Arial"/>
              <a:sym typeface="Arial"/>
            </a:endParaRPr>
          </a:p>
        </p:txBody>
      </p:sp>
      <p:pic>
        <p:nvPicPr>
          <p:cNvPr id="34" name="Picture 33" descr="An aerial view of a city&#10;&#10;Description automatically generated">
            <a:extLst>
              <a:ext uri="{FF2B5EF4-FFF2-40B4-BE49-F238E27FC236}">
                <a16:creationId xmlns:a16="http://schemas.microsoft.com/office/drawing/2014/main" id="{A3E3963D-E4AD-4506-A974-E82074D6780C}"/>
              </a:ext>
            </a:extLst>
          </p:cNvPr>
          <p:cNvPicPr>
            <a:picLocks noChangeAspect="1"/>
          </p:cNvPicPr>
          <p:nvPr/>
        </p:nvPicPr>
        <p:blipFill>
          <a:blip r:embed="rId4">
            <a:alphaModFix amt="80000"/>
          </a:blip>
          <a:stretch>
            <a:fillRect/>
          </a:stretch>
        </p:blipFill>
        <p:spPr>
          <a:xfrm>
            <a:off x="3530787" y="-10200"/>
            <a:ext cx="8661214" cy="6868200"/>
          </a:xfrm>
          <a:prstGeom prst="rect">
            <a:avLst/>
          </a:prstGeom>
        </p:spPr>
      </p:pic>
      <p:grpSp>
        <p:nvGrpSpPr>
          <p:cNvPr id="3" name="Group 2">
            <a:extLst>
              <a:ext uri="{FF2B5EF4-FFF2-40B4-BE49-F238E27FC236}">
                <a16:creationId xmlns:a16="http://schemas.microsoft.com/office/drawing/2014/main" id="{F6C036BB-D880-4198-8BAA-0EB7358938F2}"/>
              </a:ext>
            </a:extLst>
          </p:cNvPr>
          <p:cNvGrpSpPr/>
          <p:nvPr/>
        </p:nvGrpSpPr>
        <p:grpSpPr>
          <a:xfrm>
            <a:off x="133108" y="1097880"/>
            <a:ext cx="3397679" cy="5154107"/>
            <a:chOff x="133108" y="1097880"/>
            <a:chExt cx="3397679" cy="4396673"/>
          </a:xfrm>
        </p:grpSpPr>
        <p:grpSp>
          <p:nvGrpSpPr>
            <p:cNvPr id="2" name="Group 1">
              <a:extLst>
                <a:ext uri="{FF2B5EF4-FFF2-40B4-BE49-F238E27FC236}">
                  <a16:creationId xmlns:a16="http://schemas.microsoft.com/office/drawing/2014/main" id="{7007F0CB-36C2-4D38-B5B9-5ABEF3330792}"/>
                </a:ext>
              </a:extLst>
            </p:cNvPr>
            <p:cNvGrpSpPr/>
            <p:nvPr/>
          </p:nvGrpSpPr>
          <p:grpSpPr>
            <a:xfrm>
              <a:off x="133108" y="1097880"/>
              <a:ext cx="3397679" cy="577042"/>
              <a:chOff x="133108" y="1111285"/>
              <a:chExt cx="3397679" cy="805216"/>
            </a:xfrm>
          </p:grpSpPr>
          <p:sp>
            <p:nvSpPr>
              <p:cNvPr id="59" name="Google Shape;1983;p2">
                <a:extLst>
                  <a:ext uri="{FF2B5EF4-FFF2-40B4-BE49-F238E27FC236}">
                    <a16:creationId xmlns:a16="http://schemas.microsoft.com/office/drawing/2014/main" id="{59DF665A-7AE5-488F-A416-CE401B4BB886}"/>
                  </a:ext>
                </a:extLst>
              </p:cNvPr>
              <p:cNvSpPr txBox="1"/>
              <p:nvPr/>
            </p:nvSpPr>
            <p:spPr>
              <a:xfrm>
                <a:off x="133108" y="1111285"/>
                <a:ext cx="627241" cy="548100"/>
              </a:xfrm>
              <a:prstGeom prst="rect">
                <a:avLst/>
              </a:prstGeom>
              <a:noFill/>
              <a:ln>
                <a:noFill/>
              </a:ln>
            </p:spPr>
            <p:txBody>
              <a:bodyPr spcFirstLastPara="1" wrap="square" lIns="0" tIns="0" rIns="0" bIns="0" anchor="ctr" anchorCtr="0">
                <a:noAutofit/>
              </a:bodyPr>
              <a:lstStyle/>
              <a:p>
                <a:pPr>
                  <a:lnSpc>
                    <a:spcPct val="115000"/>
                  </a:lnSpc>
                  <a:spcAft>
                    <a:spcPts val="700"/>
                  </a:spcAft>
                  <a:buClr>
                    <a:srgbClr val="000000"/>
                  </a:buClr>
                  <a:buSzPts val="3600"/>
                  <a:buFont typeface="Arial"/>
                  <a:buNone/>
                  <a:defRPr/>
                </a:pPr>
                <a:r>
                  <a:rPr lang="en-GB" sz="2800" b="1">
                    <a:solidFill>
                      <a:srgbClr val="C00000"/>
                    </a:solidFill>
                    <a:latin typeface="Arial"/>
                    <a:ea typeface="Arial"/>
                    <a:cs typeface="Arial"/>
                    <a:sym typeface="Arial"/>
                  </a:rPr>
                  <a:t>01</a:t>
                </a:r>
                <a:endParaRPr lang="en-GB" sz="1400">
                  <a:solidFill>
                    <a:srgbClr val="C00000"/>
                  </a:solidFill>
                  <a:latin typeface="Arial"/>
                </a:endParaRPr>
              </a:p>
            </p:txBody>
          </p:sp>
          <p:cxnSp>
            <p:nvCxnSpPr>
              <p:cNvPr id="60" name="Google Shape;1992;p2">
                <a:extLst>
                  <a:ext uri="{FF2B5EF4-FFF2-40B4-BE49-F238E27FC236}">
                    <a16:creationId xmlns:a16="http://schemas.microsoft.com/office/drawing/2014/main" id="{235B3620-9222-4887-B39B-2A4A1DCEC8F0}"/>
                  </a:ext>
                </a:extLst>
              </p:cNvPr>
              <p:cNvCxnSpPr/>
              <p:nvPr/>
            </p:nvCxnSpPr>
            <p:spPr>
              <a:xfrm>
                <a:off x="681859" y="1187860"/>
                <a:ext cx="1479000" cy="0"/>
              </a:xfrm>
              <a:prstGeom prst="straightConnector1">
                <a:avLst/>
              </a:prstGeom>
              <a:noFill/>
              <a:ln w="38100" cap="flat" cmpd="sng">
                <a:solidFill>
                  <a:srgbClr val="E0301E"/>
                </a:solidFill>
                <a:prstDash val="solid"/>
                <a:round/>
                <a:headEnd type="none" w="sm" len="sm"/>
                <a:tailEnd type="none" w="sm" len="sm"/>
              </a:ln>
            </p:spPr>
          </p:cxnSp>
          <p:sp>
            <p:nvSpPr>
              <p:cNvPr id="71" name="Google Shape;1990;p2">
                <a:extLst>
                  <a:ext uri="{FF2B5EF4-FFF2-40B4-BE49-F238E27FC236}">
                    <a16:creationId xmlns:a16="http://schemas.microsoft.com/office/drawing/2014/main" id="{5E08A3F0-2CD2-4E62-9783-0F492F274868}"/>
                  </a:ext>
                </a:extLst>
              </p:cNvPr>
              <p:cNvSpPr txBox="1"/>
              <p:nvPr/>
            </p:nvSpPr>
            <p:spPr>
              <a:xfrm>
                <a:off x="681859" y="1215955"/>
                <a:ext cx="2848928" cy="700546"/>
              </a:xfrm>
              <a:prstGeom prst="rect">
                <a:avLst/>
              </a:prstGeom>
              <a:solidFill>
                <a:srgbClr val="F3F3F3"/>
              </a:solidFill>
              <a:ln>
                <a:noFill/>
              </a:ln>
            </p:spPr>
            <p:txBody>
              <a:bodyPr spcFirstLastPara="1" wrap="square" lIns="64000" tIns="64000" rIns="64000" bIns="27425" anchor="ctr" anchorCtr="0">
                <a:noAutofit/>
              </a:bodyPr>
              <a:lstStyle/>
              <a:p>
                <a:pPr>
                  <a:lnSpc>
                    <a:spcPct val="115000"/>
                  </a:lnSpc>
                  <a:buClr>
                    <a:srgbClr val="000000"/>
                  </a:buClr>
                  <a:buSzPts val="1300"/>
                  <a:defRPr/>
                </a:pPr>
                <a:r>
                  <a:rPr kumimoji="0" lang="en-US" sz="1400" b="0" i="0" u="none" strike="noStrike" kern="1200" cap="none" spc="0" normalizeH="0" baseline="0" noProof="0" dirty="0">
                    <a:ln>
                      <a:noFill/>
                    </a:ln>
                    <a:effectLst/>
                    <a:uLnTx/>
                    <a:uFillTx/>
                    <a:latin typeface="Arial"/>
                    <a:cs typeface="Arial"/>
                  </a:rPr>
                  <a:t>Project Background</a:t>
                </a:r>
              </a:p>
            </p:txBody>
          </p:sp>
        </p:grpSp>
        <p:grpSp>
          <p:nvGrpSpPr>
            <p:cNvPr id="5" name="Group 4">
              <a:extLst>
                <a:ext uri="{FF2B5EF4-FFF2-40B4-BE49-F238E27FC236}">
                  <a16:creationId xmlns:a16="http://schemas.microsoft.com/office/drawing/2014/main" id="{7BDE04A2-9037-421C-81C0-3D645838F629}"/>
                </a:ext>
              </a:extLst>
            </p:cNvPr>
            <p:cNvGrpSpPr/>
            <p:nvPr/>
          </p:nvGrpSpPr>
          <p:grpSpPr>
            <a:xfrm>
              <a:off x="133108" y="4053515"/>
              <a:ext cx="3397679" cy="655936"/>
              <a:chOff x="133108" y="2866331"/>
              <a:chExt cx="3397679" cy="661326"/>
            </a:xfrm>
          </p:grpSpPr>
          <p:sp>
            <p:nvSpPr>
              <p:cNvPr id="63" name="Google Shape;1983;p2">
                <a:extLst>
                  <a:ext uri="{FF2B5EF4-FFF2-40B4-BE49-F238E27FC236}">
                    <a16:creationId xmlns:a16="http://schemas.microsoft.com/office/drawing/2014/main" id="{1BC2F12E-9D35-417C-ACE9-A3E2AA4C4702}"/>
                  </a:ext>
                </a:extLst>
              </p:cNvPr>
              <p:cNvSpPr txBox="1"/>
              <p:nvPr/>
            </p:nvSpPr>
            <p:spPr>
              <a:xfrm>
                <a:off x="133108" y="2866331"/>
                <a:ext cx="627241" cy="548100"/>
              </a:xfrm>
              <a:prstGeom prst="rect">
                <a:avLst/>
              </a:prstGeom>
              <a:noFill/>
              <a:ln>
                <a:noFill/>
              </a:ln>
            </p:spPr>
            <p:txBody>
              <a:bodyPr spcFirstLastPara="1" wrap="square" lIns="0" tIns="0" rIns="0" bIns="0" anchor="ctr" anchorCtr="0">
                <a:noAutofit/>
              </a:bodyPr>
              <a:lstStyle/>
              <a:p>
                <a:pPr>
                  <a:lnSpc>
                    <a:spcPct val="115000"/>
                  </a:lnSpc>
                  <a:spcAft>
                    <a:spcPts val="700"/>
                  </a:spcAft>
                  <a:buClr>
                    <a:srgbClr val="000000"/>
                  </a:buClr>
                  <a:buSzPts val="3600"/>
                  <a:buFont typeface="Arial"/>
                  <a:buNone/>
                  <a:defRPr/>
                </a:pPr>
                <a:r>
                  <a:rPr lang="en-GB" sz="2800" b="1">
                    <a:solidFill>
                      <a:srgbClr val="C00000"/>
                    </a:solidFill>
                    <a:latin typeface="Arial"/>
                    <a:ea typeface="Arial"/>
                    <a:cs typeface="Arial"/>
                    <a:sym typeface="Arial"/>
                  </a:rPr>
                  <a:t>05</a:t>
                </a:r>
                <a:endParaRPr lang="en-GB" sz="1400">
                  <a:solidFill>
                    <a:srgbClr val="C00000"/>
                  </a:solidFill>
                  <a:latin typeface="Arial"/>
                </a:endParaRPr>
              </a:p>
            </p:txBody>
          </p:sp>
          <p:cxnSp>
            <p:nvCxnSpPr>
              <p:cNvPr id="64" name="Google Shape;1992;p2">
                <a:extLst>
                  <a:ext uri="{FF2B5EF4-FFF2-40B4-BE49-F238E27FC236}">
                    <a16:creationId xmlns:a16="http://schemas.microsoft.com/office/drawing/2014/main" id="{2CE02D53-C271-493F-ABAB-298BCA4AD295}"/>
                  </a:ext>
                </a:extLst>
              </p:cNvPr>
              <p:cNvCxnSpPr/>
              <p:nvPr/>
            </p:nvCxnSpPr>
            <p:spPr>
              <a:xfrm>
                <a:off x="681859" y="2950213"/>
                <a:ext cx="1479000" cy="0"/>
              </a:xfrm>
              <a:prstGeom prst="straightConnector1">
                <a:avLst/>
              </a:prstGeom>
              <a:noFill/>
              <a:ln w="38100" cap="flat" cmpd="sng">
                <a:solidFill>
                  <a:srgbClr val="D04A02"/>
                </a:solidFill>
                <a:prstDash val="solid"/>
                <a:round/>
                <a:headEnd type="none" w="sm" len="sm"/>
                <a:tailEnd type="none" w="sm" len="sm"/>
              </a:ln>
            </p:spPr>
          </p:cxnSp>
          <p:sp>
            <p:nvSpPr>
              <p:cNvPr id="73" name="Google Shape;1990;p2">
                <a:extLst>
                  <a:ext uri="{FF2B5EF4-FFF2-40B4-BE49-F238E27FC236}">
                    <a16:creationId xmlns:a16="http://schemas.microsoft.com/office/drawing/2014/main" id="{387A40F4-096E-4D27-AB75-BEC21287E1FC}"/>
                  </a:ext>
                </a:extLst>
              </p:cNvPr>
              <p:cNvSpPr txBox="1"/>
              <p:nvPr/>
            </p:nvSpPr>
            <p:spPr>
              <a:xfrm>
                <a:off x="681859" y="2979558"/>
                <a:ext cx="2848928" cy="548099"/>
              </a:xfrm>
              <a:prstGeom prst="rect">
                <a:avLst/>
              </a:prstGeom>
              <a:solidFill>
                <a:srgbClr val="F3F3F3"/>
              </a:solidFill>
              <a:ln>
                <a:noFill/>
              </a:ln>
            </p:spPr>
            <p:txBody>
              <a:bodyPr spcFirstLastPara="1" wrap="square" lIns="64000" tIns="64000" rIns="64000" bIns="27425" anchor="ctr"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300"/>
                  <a:buFont typeface="Arial"/>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xternal Enablers</a:t>
                </a:r>
              </a:p>
            </p:txBody>
          </p:sp>
        </p:grpSp>
        <p:grpSp>
          <p:nvGrpSpPr>
            <p:cNvPr id="35" name="Group 34">
              <a:extLst>
                <a:ext uri="{FF2B5EF4-FFF2-40B4-BE49-F238E27FC236}">
                  <a16:creationId xmlns:a16="http://schemas.microsoft.com/office/drawing/2014/main" id="{896DF198-875A-496F-8353-8617FD1BB1CB}"/>
                </a:ext>
              </a:extLst>
            </p:cNvPr>
            <p:cNvGrpSpPr/>
            <p:nvPr/>
          </p:nvGrpSpPr>
          <p:grpSpPr>
            <a:xfrm>
              <a:off x="133108" y="4829622"/>
              <a:ext cx="3397679" cy="664931"/>
              <a:chOff x="133108" y="5969620"/>
              <a:chExt cx="3397679" cy="670395"/>
            </a:xfrm>
          </p:grpSpPr>
          <p:sp>
            <p:nvSpPr>
              <p:cNvPr id="36" name="Google Shape;1983;p2">
                <a:extLst>
                  <a:ext uri="{FF2B5EF4-FFF2-40B4-BE49-F238E27FC236}">
                    <a16:creationId xmlns:a16="http://schemas.microsoft.com/office/drawing/2014/main" id="{C8448E31-E8C0-47F4-A8DB-88452CF6645E}"/>
                  </a:ext>
                </a:extLst>
              </p:cNvPr>
              <p:cNvSpPr txBox="1"/>
              <p:nvPr/>
            </p:nvSpPr>
            <p:spPr>
              <a:xfrm>
                <a:off x="133108" y="5969620"/>
                <a:ext cx="627241" cy="548100"/>
              </a:xfrm>
              <a:prstGeom prst="rect">
                <a:avLst/>
              </a:prstGeom>
              <a:noFill/>
              <a:ln>
                <a:noFill/>
              </a:ln>
            </p:spPr>
            <p:txBody>
              <a:bodyPr spcFirstLastPara="1" wrap="square" lIns="0" tIns="0" rIns="0" bIns="0" anchor="ctr" anchorCtr="0">
                <a:noAutofit/>
              </a:bodyPr>
              <a:lstStyle/>
              <a:p>
                <a:pPr>
                  <a:lnSpc>
                    <a:spcPct val="115000"/>
                  </a:lnSpc>
                  <a:spcAft>
                    <a:spcPts val="700"/>
                  </a:spcAft>
                  <a:buClr>
                    <a:srgbClr val="000000"/>
                  </a:buClr>
                  <a:buSzPts val="3600"/>
                  <a:buFont typeface="Arial"/>
                  <a:buNone/>
                  <a:defRPr/>
                </a:pPr>
                <a:r>
                  <a:rPr lang="en-GB" sz="2800" b="1">
                    <a:solidFill>
                      <a:srgbClr val="C00000"/>
                    </a:solidFill>
                    <a:latin typeface="Arial"/>
                    <a:ea typeface="Arial"/>
                    <a:cs typeface="Arial"/>
                    <a:sym typeface="Arial"/>
                  </a:rPr>
                  <a:t>06</a:t>
                </a:r>
                <a:endParaRPr lang="en-GB" sz="1400">
                  <a:solidFill>
                    <a:srgbClr val="C00000"/>
                  </a:solidFill>
                  <a:latin typeface="Arial"/>
                </a:endParaRPr>
              </a:p>
            </p:txBody>
          </p:sp>
          <p:cxnSp>
            <p:nvCxnSpPr>
              <p:cNvPr id="37" name="Google Shape;1992;p2">
                <a:extLst>
                  <a:ext uri="{FF2B5EF4-FFF2-40B4-BE49-F238E27FC236}">
                    <a16:creationId xmlns:a16="http://schemas.microsoft.com/office/drawing/2014/main" id="{9DE99DDF-5B63-4B1E-B0E1-A4AC78DF0A0B}"/>
                  </a:ext>
                </a:extLst>
              </p:cNvPr>
              <p:cNvCxnSpPr/>
              <p:nvPr/>
            </p:nvCxnSpPr>
            <p:spPr>
              <a:xfrm>
                <a:off x="681859" y="6091915"/>
                <a:ext cx="1479000" cy="0"/>
              </a:xfrm>
              <a:prstGeom prst="straightConnector1">
                <a:avLst/>
              </a:prstGeom>
              <a:noFill/>
              <a:ln w="38100" cap="flat" cmpd="sng">
                <a:solidFill>
                  <a:srgbClr val="D04A02"/>
                </a:solidFill>
                <a:prstDash val="solid"/>
                <a:round/>
                <a:headEnd type="none" w="sm" len="sm"/>
                <a:tailEnd type="none" w="sm" len="sm"/>
              </a:ln>
            </p:spPr>
          </p:cxnSp>
          <p:sp>
            <p:nvSpPr>
              <p:cNvPr id="38" name="Google Shape;1990;p2">
                <a:extLst>
                  <a:ext uri="{FF2B5EF4-FFF2-40B4-BE49-F238E27FC236}">
                    <a16:creationId xmlns:a16="http://schemas.microsoft.com/office/drawing/2014/main" id="{EC0C8A2B-23B8-411E-9435-6C49090456EE}"/>
                  </a:ext>
                </a:extLst>
              </p:cNvPr>
              <p:cNvSpPr txBox="1"/>
              <p:nvPr/>
            </p:nvSpPr>
            <p:spPr>
              <a:xfrm>
                <a:off x="681859" y="6114987"/>
                <a:ext cx="2848928" cy="525028"/>
              </a:xfrm>
              <a:prstGeom prst="rect">
                <a:avLst/>
              </a:prstGeom>
              <a:solidFill>
                <a:srgbClr val="F3F3F3"/>
              </a:solidFill>
              <a:ln>
                <a:noFill/>
              </a:ln>
            </p:spPr>
            <p:txBody>
              <a:bodyPr spcFirstLastPara="1" wrap="square" lIns="64000" tIns="64000" rIns="64000" bIns="27425" anchor="ctr"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300"/>
                  <a:buFont typeface="Arial"/>
                  <a:buNone/>
                  <a:tabLst/>
                  <a:defRPr/>
                </a:pPr>
                <a:r>
                  <a:rPr lang="en-US" sz="1400" dirty="0">
                    <a:solidFill>
                      <a:prstClr val="black"/>
                    </a:solidFill>
                    <a:latin typeface="Arial" panose="020B0604020202020204" pitchFamily="34" charset="0"/>
                    <a:cs typeface="Arial" panose="020B0604020202020204" pitchFamily="34" charset="0"/>
                  </a:rPr>
                  <a:t>Way Forward</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14E044DF-E899-4D81-8502-559B68CC3233}"/>
                </a:ext>
              </a:extLst>
            </p:cNvPr>
            <p:cNvGrpSpPr/>
            <p:nvPr/>
          </p:nvGrpSpPr>
          <p:grpSpPr>
            <a:xfrm>
              <a:off x="133108" y="1795093"/>
              <a:ext cx="3397679" cy="577042"/>
              <a:chOff x="133108" y="1111285"/>
              <a:chExt cx="3397679" cy="805216"/>
            </a:xfrm>
          </p:grpSpPr>
          <p:sp>
            <p:nvSpPr>
              <p:cNvPr id="24" name="Google Shape;1983;p2">
                <a:extLst>
                  <a:ext uri="{FF2B5EF4-FFF2-40B4-BE49-F238E27FC236}">
                    <a16:creationId xmlns:a16="http://schemas.microsoft.com/office/drawing/2014/main" id="{AD9E6F64-DBBB-4814-B34F-B6F173E9ED67}"/>
                  </a:ext>
                </a:extLst>
              </p:cNvPr>
              <p:cNvSpPr txBox="1"/>
              <p:nvPr/>
            </p:nvSpPr>
            <p:spPr>
              <a:xfrm>
                <a:off x="133108" y="1111285"/>
                <a:ext cx="627241" cy="548100"/>
              </a:xfrm>
              <a:prstGeom prst="rect">
                <a:avLst/>
              </a:prstGeom>
              <a:noFill/>
              <a:ln>
                <a:noFill/>
              </a:ln>
            </p:spPr>
            <p:txBody>
              <a:bodyPr spcFirstLastPara="1" wrap="square" lIns="0" tIns="0" rIns="0" bIns="0" anchor="ctr" anchorCtr="0">
                <a:noAutofit/>
              </a:bodyPr>
              <a:lstStyle/>
              <a:p>
                <a:pPr>
                  <a:lnSpc>
                    <a:spcPct val="115000"/>
                  </a:lnSpc>
                  <a:spcAft>
                    <a:spcPts val="700"/>
                  </a:spcAft>
                  <a:buClr>
                    <a:srgbClr val="000000"/>
                  </a:buClr>
                  <a:buSzPts val="3600"/>
                  <a:buFont typeface="Arial"/>
                  <a:buNone/>
                  <a:defRPr/>
                </a:pPr>
                <a:r>
                  <a:rPr lang="en-GB" sz="2800" b="1">
                    <a:solidFill>
                      <a:srgbClr val="C00000"/>
                    </a:solidFill>
                    <a:latin typeface="Arial"/>
                    <a:ea typeface="Arial"/>
                    <a:cs typeface="Arial"/>
                    <a:sym typeface="Arial"/>
                  </a:rPr>
                  <a:t>02</a:t>
                </a:r>
                <a:endParaRPr lang="en-GB" sz="1400">
                  <a:solidFill>
                    <a:srgbClr val="C00000"/>
                  </a:solidFill>
                  <a:latin typeface="Arial"/>
                </a:endParaRPr>
              </a:p>
            </p:txBody>
          </p:sp>
          <p:cxnSp>
            <p:nvCxnSpPr>
              <p:cNvPr id="25" name="Google Shape;1992;p2">
                <a:extLst>
                  <a:ext uri="{FF2B5EF4-FFF2-40B4-BE49-F238E27FC236}">
                    <a16:creationId xmlns:a16="http://schemas.microsoft.com/office/drawing/2014/main" id="{59679C57-ABDC-4A95-B823-71D00FE72C30}"/>
                  </a:ext>
                </a:extLst>
              </p:cNvPr>
              <p:cNvCxnSpPr/>
              <p:nvPr/>
            </p:nvCxnSpPr>
            <p:spPr>
              <a:xfrm>
                <a:off x="681859" y="1187860"/>
                <a:ext cx="1479000" cy="0"/>
              </a:xfrm>
              <a:prstGeom prst="straightConnector1">
                <a:avLst/>
              </a:prstGeom>
              <a:noFill/>
              <a:ln w="38100" cap="flat" cmpd="sng">
                <a:solidFill>
                  <a:srgbClr val="E0301E"/>
                </a:solidFill>
                <a:prstDash val="solid"/>
                <a:round/>
                <a:headEnd type="none" w="sm" len="sm"/>
                <a:tailEnd type="none" w="sm" len="sm"/>
              </a:ln>
            </p:spPr>
          </p:cxnSp>
          <p:sp>
            <p:nvSpPr>
              <p:cNvPr id="26" name="Google Shape;1990;p2">
                <a:extLst>
                  <a:ext uri="{FF2B5EF4-FFF2-40B4-BE49-F238E27FC236}">
                    <a16:creationId xmlns:a16="http://schemas.microsoft.com/office/drawing/2014/main" id="{E90608CF-2B67-4E7F-9B70-F539F438F144}"/>
                  </a:ext>
                </a:extLst>
              </p:cNvPr>
              <p:cNvSpPr txBox="1"/>
              <p:nvPr/>
            </p:nvSpPr>
            <p:spPr>
              <a:xfrm>
                <a:off x="681859" y="1215955"/>
                <a:ext cx="2848928" cy="700546"/>
              </a:xfrm>
              <a:prstGeom prst="rect">
                <a:avLst/>
              </a:prstGeom>
              <a:solidFill>
                <a:srgbClr val="F3F3F3"/>
              </a:solidFill>
              <a:ln>
                <a:noFill/>
              </a:ln>
            </p:spPr>
            <p:txBody>
              <a:bodyPr spcFirstLastPara="1" wrap="square" lIns="64000" tIns="64000" rIns="64000" bIns="27425" anchor="ctr" anchorCtr="0">
                <a:noAutofit/>
              </a:bodyPr>
              <a:lstStyle/>
              <a:p>
                <a:pPr>
                  <a:lnSpc>
                    <a:spcPct val="115000"/>
                  </a:lnSpc>
                  <a:buClr>
                    <a:srgbClr val="000000"/>
                  </a:buClr>
                  <a:buSzPts val="1300"/>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ationale and Context</a:t>
                </a:r>
              </a:p>
            </p:txBody>
          </p:sp>
        </p:grpSp>
        <p:grpSp>
          <p:nvGrpSpPr>
            <p:cNvPr id="27" name="Group 26">
              <a:extLst>
                <a:ext uri="{FF2B5EF4-FFF2-40B4-BE49-F238E27FC236}">
                  <a16:creationId xmlns:a16="http://schemas.microsoft.com/office/drawing/2014/main" id="{89A92F29-5B62-4A79-8202-F6026EA59114}"/>
                </a:ext>
              </a:extLst>
            </p:cNvPr>
            <p:cNvGrpSpPr/>
            <p:nvPr/>
          </p:nvGrpSpPr>
          <p:grpSpPr>
            <a:xfrm>
              <a:off x="133108" y="3277408"/>
              <a:ext cx="3397679" cy="655936"/>
              <a:chOff x="133108" y="2866331"/>
              <a:chExt cx="3397679" cy="661326"/>
            </a:xfrm>
          </p:grpSpPr>
          <p:sp>
            <p:nvSpPr>
              <p:cNvPr id="28" name="Google Shape;1983;p2">
                <a:extLst>
                  <a:ext uri="{FF2B5EF4-FFF2-40B4-BE49-F238E27FC236}">
                    <a16:creationId xmlns:a16="http://schemas.microsoft.com/office/drawing/2014/main" id="{1D831428-A5A2-4868-AD6C-8EDC3DB9ABBA}"/>
                  </a:ext>
                </a:extLst>
              </p:cNvPr>
              <p:cNvSpPr txBox="1"/>
              <p:nvPr/>
            </p:nvSpPr>
            <p:spPr>
              <a:xfrm>
                <a:off x="133108" y="2866331"/>
                <a:ext cx="627241" cy="548100"/>
              </a:xfrm>
              <a:prstGeom prst="rect">
                <a:avLst/>
              </a:prstGeom>
              <a:noFill/>
              <a:ln>
                <a:noFill/>
              </a:ln>
            </p:spPr>
            <p:txBody>
              <a:bodyPr spcFirstLastPara="1" wrap="square" lIns="0" tIns="0" rIns="0" bIns="0" anchor="ctr" anchorCtr="0">
                <a:noAutofit/>
              </a:bodyPr>
              <a:lstStyle/>
              <a:p>
                <a:pPr>
                  <a:lnSpc>
                    <a:spcPct val="115000"/>
                  </a:lnSpc>
                  <a:spcAft>
                    <a:spcPts val="700"/>
                  </a:spcAft>
                  <a:buClr>
                    <a:srgbClr val="000000"/>
                  </a:buClr>
                  <a:buSzPts val="3600"/>
                  <a:buFont typeface="Arial"/>
                  <a:buNone/>
                  <a:defRPr/>
                </a:pPr>
                <a:r>
                  <a:rPr lang="en-GB" sz="2800" b="1">
                    <a:solidFill>
                      <a:srgbClr val="C00000"/>
                    </a:solidFill>
                    <a:latin typeface="Arial"/>
                    <a:ea typeface="Arial"/>
                    <a:cs typeface="Arial"/>
                    <a:sym typeface="Arial"/>
                  </a:rPr>
                  <a:t>04</a:t>
                </a:r>
                <a:endParaRPr lang="en-GB" sz="1400">
                  <a:solidFill>
                    <a:srgbClr val="C00000"/>
                  </a:solidFill>
                  <a:latin typeface="Arial"/>
                </a:endParaRPr>
              </a:p>
            </p:txBody>
          </p:sp>
          <p:cxnSp>
            <p:nvCxnSpPr>
              <p:cNvPr id="29" name="Google Shape;1992;p2">
                <a:extLst>
                  <a:ext uri="{FF2B5EF4-FFF2-40B4-BE49-F238E27FC236}">
                    <a16:creationId xmlns:a16="http://schemas.microsoft.com/office/drawing/2014/main" id="{023D92AE-43AB-46E9-94F6-DE4575D31069}"/>
                  </a:ext>
                </a:extLst>
              </p:cNvPr>
              <p:cNvCxnSpPr/>
              <p:nvPr/>
            </p:nvCxnSpPr>
            <p:spPr>
              <a:xfrm>
                <a:off x="681859" y="2950213"/>
                <a:ext cx="1479000" cy="0"/>
              </a:xfrm>
              <a:prstGeom prst="straightConnector1">
                <a:avLst/>
              </a:prstGeom>
              <a:noFill/>
              <a:ln w="38100" cap="flat" cmpd="sng">
                <a:solidFill>
                  <a:srgbClr val="D04A02"/>
                </a:solidFill>
                <a:prstDash val="solid"/>
                <a:round/>
                <a:headEnd type="none" w="sm" len="sm"/>
                <a:tailEnd type="none" w="sm" len="sm"/>
              </a:ln>
            </p:spPr>
          </p:cxnSp>
          <p:sp>
            <p:nvSpPr>
              <p:cNvPr id="30" name="Google Shape;1990;p2">
                <a:extLst>
                  <a:ext uri="{FF2B5EF4-FFF2-40B4-BE49-F238E27FC236}">
                    <a16:creationId xmlns:a16="http://schemas.microsoft.com/office/drawing/2014/main" id="{C9AB18D2-031E-4451-8CDB-5C35ABCCBF57}"/>
                  </a:ext>
                </a:extLst>
              </p:cNvPr>
              <p:cNvSpPr txBox="1"/>
              <p:nvPr/>
            </p:nvSpPr>
            <p:spPr>
              <a:xfrm>
                <a:off x="681859" y="2979558"/>
                <a:ext cx="2848928" cy="548099"/>
              </a:xfrm>
              <a:prstGeom prst="rect">
                <a:avLst/>
              </a:prstGeom>
              <a:solidFill>
                <a:srgbClr val="F3F3F3"/>
              </a:solidFill>
              <a:ln>
                <a:noFill/>
              </a:ln>
            </p:spPr>
            <p:txBody>
              <a:bodyPr spcFirstLastPara="1" wrap="square" lIns="64000" tIns="64000" rIns="64000" bIns="27425" anchor="ctr"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300"/>
                  <a:buFont typeface="Arial"/>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inancial Analysis</a:t>
                </a:r>
              </a:p>
            </p:txBody>
          </p:sp>
        </p:grpSp>
        <p:grpSp>
          <p:nvGrpSpPr>
            <p:cNvPr id="31" name="Group 30">
              <a:extLst>
                <a:ext uri="{FF2B5EF4-FFF2-40B4-BE49-F238E27FC236}">
                  <a16:creationId xmlns:a16="http://schemas.microsoft.com/office/drawing/2014/main" id="{8FBF1041-8EC3-41F0-A410-4CC2A2953C26}"/>
                </a:ext>
              </a:extLst>
            </p:cNvPr>
            <p:cNvGrpSpPr/>
            <p:nvPr/>
          </p:nvGrpSpPr>
          <p:grpSpPr>
            <a:xfrm>
              <a:off x="133108" y="2492306"/>
              <a:ext cx="3397679" cy="664931"/>
              <a:chOff x="133108" y="5969620"/>
              <a:chExt cx="3397679" cy="670395"/>
            </a:xfrm>
          </p:grpSpPr>
          <p:sp>
            <p:nvSpPr>
              <p:cNvPr id="32" name="Google Shape;1983;p2">
                <a:extLst>
                  <a:ext uri="{FF2B5EF4-FFF2-40B4-BE49-F238E27FC236}">
                    <a16:creationId xmlns:a16="http://schemas.microsoft.com/office/drawing/2014/main" id="{1493F8F7-C6C2-4BE2-9F62-1369087FCC70}"/>
                  </a:ext>
                </a:extLst>
              </p:cNvPr>
              <p:cNvSpPr txBox="1"/>
              <p:nvPr/>
            </p:nvSpPr>
            <p:spPr>
              <a:xfrm>
                <a:off x="133108" y="5969620"/>
                <a:ext cx="627241" cy="548100"/>
              </a:xfrm>
              <a:prstGeom prst="rect">
                <a:avLst/>
              </a:prstGeom>
              <a:noFill/>
              <a:ln>
                <a:noFill/>
              </a:ln>
            </p:spPr>
            <p:txBody>
              <a:bodyPr spcFirstLastPara="1" wrap="square" lIns="0" tIns="0" rIns="0" bIns="0" anchor="ctr" anchorCtr="0">
                <a:noAutofit/>
              </a:bodyPr>
              <a:lstStyle/>
              <a:p>
                <a:pPr>
                  <a:lnSpc>
                    <a:spcPct val="115000"/>
                  </a:lnSpc>
                  <a:spcAft>
                    <a:spcPts val="700"/>
                  </a:spcAft>
                  <a:buClr>
                    <a:srgbClr val="000000"/>
                  </a:buClr>
                  <a:buSzPts val="3600"/>
                  <a:buFont typeface="Arial"/>
                  <a:buNone/>
                  <a:defRPr/>
                </a:pPr>
                <a:r>
                  <a:rPr lang="en-GB" sz="2800" b="1">
                    <a:solidFill>
                      <a:srgbClr val="C00000"/>
                    </a:solidFill>
                    <a:latin typeface="Arial"/>
                    <a:cs typeface="Arial"/>
                    <a:sym typeface="Arial"/>
                  </a:rPr>
                  <a:t>03</a:t>
                </a:r>
                <a:endParaRPr lang="en-GB" sz="1400">
                  <a:solidFill>
                    <a:srgbClr val="C00000"/>
                  </a:solidFill>
                  <a:latin typeface="Arial"/>
                </a:endParaRPr>
              </a:p>
            </p:txBody>
          </p:sp>
          <p:cxnSp>
            <p:nvCxnSpPr>
              <p:cNvPr id="33" name="Google Shape;1992;p2">
                <a:extLst>
                  <a:ext uri="{FF2B5EF4-FFF2-40B4-BE49-F238E27FC236}">
                    <a16:creationId xmlns:a16="http://schemas.microsoft.com/office/drawing/2014/main" id="{B4AD3FF5-40A4-4D12-B3D6-0328D70B404D}"/>
                  </a:ext>
                </a:extLst>
              </p:cNvPr>
              <p:cNvCxnSpPr/>
              <p:nvPr/>
            </p:nvCxnSpPr>
            <p:spPr>
              <a:xfrm>
                <a:off x="681859" y="6091915"/>
                <a:ext cx="1479000" cy="0"/>
              </a:xfrm>
              <a:prstGeom prst="straightConnector1">
                <a:avLst/>
              </a:prstGeom>
              <a:noFill/>
              <a:ln w="38100" cap="flat" cmpd="sng">
                <a:solidFill>
                  <a:srgbClr val="D04A02"/>
                </a:solidFill>
                <a:prstDash val="solid"/>
                <a:round/>
                <a:headEnd type="none" w="sm" len="sm"/>
                <a:tailEnd type="none" w="sm" len="sm"/>
              </a:ln>
            </p:spPr>
          </p:cxnSp>
          <p:sp>
            <p:nvSpPr>
              <p:cNvPr id="39" name="Google Shape;1990;p2">
                <a:extLst>
                  <a:ext uri="{FF2B5EF4-FFF2-40B4-BE49-F238E27FC236}">
                    <a16:creationId xmlns:a16="http://schemas.microsoft.com/office/drawing/2014/main" id="{C191A723-D20E-431A-B531-EA05667C76ED}"/>
                  </a:ext>
                </a:extLst>
              </p:cNvPr>
              <p:cNvSpPr txBox="1"/>
              <p:nvPr/>
            </p:nvSpPr>
            <p:spPr>
              <a:xfrm>
                <a:off x="681859" y="6114987"/>
                <a:ext cx="2848928" cy="525028"/>
              </a:xfrm>
              <a:prstGeom prst="rect">
                <a:avLst/>
              </a:prstGeom>
              <a:solidFill>
                <a:srgbClr val="F3F3F3"/>
              </a:solidFill>
              <a:ln>
                <a:noFill/>
              </a:ln>
            </p:spPr>
            <p:txBody>
              <a:bodyPr spcFirstLastPara="1" wrap="square" lIns="64000" tIns="64000" rIns="64000" bIns="27425" anchor="ctr" anchorCtr="0">
                <a:noAutofit/>
              </a:bodyPr>
              <a:lstStyle/>
              <a:p>
                <a:pPr>
                  <a:lnSpc>
                    <a:spcPct val="115000"/>
                  </a:lnSpc>
                  <a:buClr>
                    <a:srgbClr val="000000"/>
                  </a:buClr>
                  <a:buSzPts val="1300"/>
                  <a:defRPr/>
                </a:pPr>
                <a:r>
                  <a:rPr kumimoji="0" lang="en-US" sz="1400" b="0" i="0" u="none" strike="noStrike" kern="1200" cap="none" spc="0" normalizeH="0" baseline="0" noProof="0" dirty="0">
                    <a:ln>
                      <a:noFill/>
                    </a:ln>
                    <a:effectLst/>
                    <a:uLnTx/>
                    <a:uFillTx/>
                    <a:latin typeface="Arial"/>
                    <a:cs typeface="Arial"/>
                  </a:rPr>
                  <a:t>Concept Plan for ICIC</a:t>
                </a:r>
              </a:p>
            </p:txBody>
          </p:sp>
        </p:grpSp>
      </p:grpSp>
      <p:sp>
        <p:nvSpPr>
          <p:cNvPr id="45" name="Footer Placeholder 11">
            <a:extLst>
              <a:ext uri="{FF2B5EF4-FFF2-40B4-BE49-F238E27FC236}">
                <a16:creationId xmlns:a16="http://schemas.microsoft.com/office/drawing/2014/main" id="{D5E925AA-BA22-4D3A-9849-916700403446}"/>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000000"/>
                </a:solidFill>
                <a:latin typeface="Arial"/>
              </a:rPr>
              <a:t>Prefeasibility study for establishment of ICIC under STKEC</a:t>
            </a:r>
          </a:p>
        </p:txBody>
      </p:sp>
    </p:spTree>
    <p:custDataLst>
      <p:custData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6000"/>
            <a:lum/>
            <a:extLst>
              <a:ext uri="{837473B0-CC2E-450A-ABE3-18F120FF3D39}">
                <a1611:picAttrSrcUrl xmlns:a1611="http://schemas.microsoft.com/office/drawing/2016/11/main" r:id="rId4"/>
              </a:ext>
            </a:extLst>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379AA2-ED46-4BD9-A397-5BBD93295767}"/>
              </a:ext>
            </a:extLst>
          </p:cNvPr>
          <p:cNvSpPr/>
          <p:nvPr/>
        </p:nvSpPr>
        <p:spPr>
          <a:xfrm>
            <a:off x="0" y="2150807"/>
            <a:ext cx="7895073" cy="2556387"/>
          </a:xfrm>
          <a:prstGeom prst="rect">
            <a:avLst/>
          </a:prstGeom>
          <a:solidFill>
            <a:schemeClr val="accent1">
              <a:lumMod val="7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3200" dirty="0">
                <a:latin typeface="Georgia"/>
              </a:rPr>
              <a:t>Project Background </a:t>
            </a:r>
            <a:endParaRPr kumimoji="0" lang="en-US" sz="3200" b="0" i="0" u="none" strike="noStrike" kern="1200" cap="none" spc="0" normalizeH="0" baseline="0" noProof="0" dirty="0">
              <a:ln>
                <a:noFill/>
              </a:ln>
              <a:effectLst/>
              <a:uLnTx/>
              <a:uFillTx/>
              <a:latin typeface="Georgia"/>
              <a:ea typeface="+mn-ea"/>
              <a:cs typeface="+mn-cs"/>
            </a:endParaRPr>
          </a:p>
        </p:txBody>
      </p:sp>
    </p:spTree>
    <p:custDataLst>
      <p:custData r:id="rId1"/>
    </p:custDataLst>
    <p:extLst>
      <p:ext uri="{BB962C8B-B14F-4D97-AF65-F5344CB8AC3E}">
        <p14:creationId xmlns:p14="http://schemas.microsoft.com/office/powerpoint/2010/main" val="323040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1026742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r>
              <a:rPr lang="en-US" sz="2400" b="0" dirty="0">
                <a:latin typeface="Georgia" panose="02040502050405020303" pitchFamily="18" charset="0"/>
              </a:rPr>
              <a:t>Project Background and Progress Update</a:t>
            </a:r>
          </a:p>
        </p:txBody>
      </p:sp>
      <p:grpSp>
        <p:nvGrpSpPr>
          <p:cNvPr id="169" name="Group 168">
            <a:extLst>
              <a:ext uri="{FF2B5EF4-FFF2-40B4-BE49-F238E27FC236}">
                <a16:creationId xmlns:a16="http://schemas.microsoft.com/office/drawing/2014/main" id="{3CA9C314-840F-4E89-A0C2-A667B2E3CA04}"/>
              </a:ext>
            </a:extLst>
          </p:cNvPr>
          <p:cNvGrpSpPr/>
          <p:nvPr/>
        </p:nvGrpSpPr>
        <p:grpSpPr>
          <a:xfrm>
            <a:off x="303657" y="1179010"/>
            <a:ext cx="11861452" cy="5066340"/>
            <a:chOff x="303657" y="1129850"/>
            <a:chExt cx="11861452" cy="5066340"/>
          </a:xfrm>
        </p:grpSpPr>
        <p:sp>
          <p:nvSpPr>
            <p:cNvPr id="207" name="Google Shape;2022;g1389d6804d3_10_0">
              <a:extLst>
                <a:ext uri="{FF2B5EF4-FFF2-40B4-BE49-F238E27FC236}">
                  <a16:creationId xmlns:a16="http://schemas.microsoft.com/office/drawing/2014/main" id="{589A1D22-6746-4A41-BB35-E2F31661D4FB}"/>
                </a:ext>
              </a:extLst>
            </p:cNvPr>
            <p:cNvSpPr/>
            <p:nvPr/>
          </p:nvSpPr>
          <p:spPr>
            <a:xfrm>
              <a:off x="384887" y="2711878"/>
              <a:ext cx="2204700" cy="424200"/>
            </a:xfrm>
            <a:prstGeom prst="roundRect">
              <a:avLst>
                <a:gd name="adj" fmla="val 50000"/>
              </a:avLst>
            </a:prstGeom>
            <a:solidFill>
              <a:schemeClr val="accent4">
                <a:lumMod val="75000"/>
              </a:schemeClr>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Aug 2020</a:t>
              </a:r>
              <a:endParaRPr kumimoji="0" lang="en-GB"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08" name="Google Shape;2023;g1389d6804d3_10_0">
              <a:extLst>
                <a:ext uri="{FF2B5EF4-FFF2-40B4-BE49-F238E27FC236}">
                  <a16:creationId xmlns:a16="http://schemas.microsoft.com/office/drawing/2014/main" id="{EAB2EF71-B9D1-42CD-8F29-8636AF16E0AD}"/>
                </a:ext>
              </a:extLst>
            </p:cNvPr>
            <p:cNvSpPr/>
            <p:nvPr/>
          </p:nvSpPr>
          <p:spPr>
            <a:xfrm>
              <a:off x="432547" y="2766443"/>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09" name="Google Shape;2024;g1389d6804d3_10_0">
              <a:extLst>
                <a:ext uri="{FF2B5EF4-FFF2-40B4-BE49-F238E27FC236}">
                  <a16:creationId xmlns:a16="http://schemas.microsoft.com/office/drawing/2014/main" id="{D005010C-DFAE-4E95-B45D-06F570C5885A}"/>
                </a:ext>
              </a:extLst>
            </p:cNvPr>
            <p:cNvSpPr/>
            <p:nvPr/>
          </p:nvSpPr>
          <p:spPr>
            <a:xfrm>
              <a:off x="1617636" y="4619338"/>
              <a:ext cx="2204700" cy="424200"/>
            </a:xfrm>
            <a:prstGeom prst="roundRect">
              <a:avLst>
                <a:gd name="adj" fmla="val 50000"/>
              </a:avLst>
            </a:prstGeom>
            <a:solidFill>
              <a:schemeClr val="accent4"/>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Nov 2021</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10" name="Google Shape;2025;g1389d6804d3_10_0">
              <a:extLst>
                <a:ext uri="{FF2B5EF4-FFF2-40B4-BE49-F238E27FC236}">
                  <a16:creationId xmlns:a16="http://schemas.microsoft.com/office/drawing/2014/main" id="{FBF17E72-169B-48F2-9392-AF740B2C60AD}"/>
                </a:ext>
              </a:extLst>
            </p:cNvPr>
            <p:cNvSpPr/>
            <p:nvPr/>
          </p:nvSpPr>
          <p:spPr>
            <a:xfrm>
              <a:off x="1653276" y="4674207"/>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11" name="Google Shape;2026;g1389d6804d3_10_0">
              <a:extLst>
                <a:ext uri="{FF2B5EF4-FFF2-40B4-BE49-F238E27FC236}">
                  <a16:creationId xmlns:a16="http://schemas.microsoft.com/office/drawing/2014/main" id="{6D084E62-C19D-4C04-A9FD-9D224F92D21E}"/>
                </a:ext>
              </a:extLst>
            </p:cNvPr>
            <p:cNvSpPr/>
            <p:nvPr/>
          </p:nvSpPr>
          <p:spPr>
            <a:xfrm>
              <a:off x="2585838" y="1780061"/>
              <a:ext cx="2204700" cy="424200"/>
            </a:xfrm>
            <a:prstGeom prst="roundRect">
              <a:avLst>
                <a:gd name="adj" fmla="val 50000"/>
              </a:avLst>
            </a:prstGeom>
            <a:solidFill>
              <a:srgbClr val="FFB600"/>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Dec 2021</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12" name="Google Shape;2027;g1389d6804d3_10_0">
              <a:extLst>
                <a:ext uri="{FF2B5EF4-FFF2-40B4-BE49-F238E27FC236}">
                  <a16:creationId xmlns:a16="http://schemas.microsoft.com/office/drawing/2014/main" id="{4E2E8253-8544-4417-B85B-73491559BA1B}"/>
                </a:ext>
              </a:extLst>
            </p:cNvPr>
            <p:cNvSpPr/>
            <p:nvPr/>
          </p:nvSpPr>
          <p:spPr>
            <a:xfrm>
              <a:off x="2633781" y="1831586"/>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13" name="Google Shape;2028;g1389d6804d3_10_0">
              <a:extLst>
                <a:ext uri="{FF2B5EF4-FFF2-40B4-BE49-F238E27FC236}">
                  <a16:creationId xmlns:a16="http://schemas.microsoft.com/office/drawing/2014/main" id="{0FACC683-534C-4A8F-8F61-8D8DB6E27AED}"/>
                </a:ext>
              </a:extLst>
            </p:cNvPr>
            <p:cNvSpPr/>
            <p:nvPr/>
          </p:nvSpPr>
          <p:spPr>
            <a:xfrm>
              <a:off x="3869191" y="5771990"/>
              <a:ext cx="2204700" cy="424200"/>
            </a:xfrm>
            <a:prstGeom prst="roundRect">
              <a:avLst>
                <a:gd name="adj" fmla="val 50000"/>
              </a:avLst>
            </a:prstGeom>
            <a:solidFill>
              <a:schemeClr val="accent4">
                <a:lumMod val="75000"/>
              </a:schemeClr>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Feb 2022</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14" name="Google Shape;2029;g1389d6804d3_10_0">
              <a:extLst>
                <a:ext uri="{FF2B5EF4-FFF2-40B4-BE49-F238E27FC236}">
                  <a16:creationId xmlns:a16="http://schemas.microsoft.com/office/drawing/2014/main" id="{61654DDE-D45D-4879-B45C-CEA417F2D69A}"/>
                </a:ext>
              </a:extLst>
            </p:cNvPr>
            <p:cNvSpPr/>
            <p:nvPr/>
          </p:nvSpPr>
          <p:spPr>
            <a:xfrm>
              <a:off x="3921660" y="5820829"/>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15" name="Google Shape;2030;g1389d6804d3_10_0">
              <a:extLst>
                <a:ext uri="{FF2B5EF4-FFF2-40B4-BE49-F238E27FC236}">
                  <a16:creationId xmlns:a16="http://schemas.microsoft.com/office/drawing/2014/main" id="{282C5709-A4A1-4583-8C84-7CB0DDE91DC7}"/>
                </a:ext>
              </a:extLst>
            </p:cNvPr>
            <p:cNvSpPr/>
            <p:nvPr/>
          </p:nvSpPr>
          <p:spPr>
            <a:xfrm>
              <a:off x="5074168" y="2546415"/>
              <a:ext cx="2204700" cy="424200"/>
            </a:xfrm>
            <a:prstGeom prst="roundRect">
              <a:avLst>
                <a:gd name="adj" fmla="val 50000"/>
              </a:avLst>
            </a:prstGeom>
            <a:solidFill>
              <a:schemeClr val="accent4"/>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May 2022</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216" name="Google Shape;2032;g1389d6804d3_10_0">
              <a:extLst>
                <a:ext uri="{FF2B5EF4-FFF2-40B4-BE49-F238E27FC236}">
                  <a16:creationId xmlns:a16="http://schemas.microsoft.com/office/drawing/2014/main" id="{08F3AE16-9C5E-4411-A4D3-838185BEDE26}"/>
                </a:ext>
              </a:extLst>
            </p:cNvPr>
            <p:cNvCxnSpPr>
              <a:cxnSpLocks/>
            </p:cNvCxnSpPr>
            <p:nvPr/>
          </p:nvCxnSpPr>
          <p:spPr>
            <a:xfrm flipV="1">
              <a:off x="556852" y="3112179"/>
              <a:ext cx="0" cy="752802"/>
            </a:xfrm>
            <a:prstGeom prst="straightConnector1">
              <a:avLst/>
            </a:prstGeom>
            <a:noFill/>
            <a:ln w="9525" cap="flat" cmpd="sng">
              <a:solidFill>
                <a:srgbClr val="BDBBB9"/>
              </a:solidFill>
              <a:prstDash val="lgDash"/>
              <a:round/>
              <a:headEnd type="none" w="sm" len="sm"/>
              <a:tailEnd type="none" w="sm" len="sm"/>
            </a:ln>
          </p:spPr>
        </p:cxnSp>
        <p:cxnSp>
          <p:nvCxnSpPr>
            <p:cNvPr id="217" name="Google Shape;2033;g1389d6804d3_10_0">
              <a:extLst>
                <a:ext uri="{FF2B5EF4-FFF2-40B4-BE49-F238E27FC236}">
                  <a16:creationId xmlns:a16="http://schemas.microsoft.com/office/drawing/2014/main" id="{324EA0A3-575F-4F52-9E7E-EEEAC32AB9BE}"/>
                </a:ext>
              </a:extLst>
            </p:cNvPr>
            <p:cNvCxnSpPr/>
            <p:nvPr/>
          </p:nvCxnSpPr>
          <p:spPr>
            <a:xfrm rot="10800000">
              <a:off x="2772848" y="2206004"/>
              <a:ext cx="0" cy="1635174"/>
            </a:xfrm>
            <a:prstGeom prst="straightConnector1">
              <a:avLst/>
            </a:prstGeom>
            <a:noFill/>
            <a:ln w="9525" cap="flat" cmpd="sng">
              <a:solidFill>
                <a:srgbClr val="BDBBB9"/>
              </a:solidFill>
              <a:prstDash val="lgDash"/>
              <a:round/>
              <a:headEnd type="none" w="sm" len="sm"/>
              <a:tailEnd type="none" w="sm" len="sm"/>
            </a:ln>
          </p:spPr>
        </p:cxnSp>
        <p:cxnSp>
          <p:nvCxnSpPr>
            <p:cNvPr id="218" name="Google Shape;2034;g1389d6804d3_10_0">
              <a:extLst>
                <a:ext uri="{FF2B5EF4-FFF2-40B4-BE49-F238E27FC236}">
                  <a16:creationId xmlns:a16="http://schemas.microsoft.com/office/drawing/2014/main" id="{C90F23A6-3691-412E-8CE4-8463E7599D1C}"/>
                </a:ext>
              </a:extLst>
            </p:cNvPr>
            <p:cNvCxnSpPr>
              <a:cxnSpLocks/>
            </p:cNvCxnSpPr>
            <p:nvPr/>
          </p:nvCxnSpPr>
          <p:spPr>
            <a:xfrm flipH="1" flipV="1">
              <a:off x="5284637" y="2909165"/>
              <a:ext cx="1" cy="939039"/>
            </a:xfrm>
            <a:prstGeom prst="straightConnector1">
              <a:avLst/>
            </a:prstGeom>
            <a:noFill/>
            <a:ln w="9525" cap="flat" cmpd="sng">
              <a:solidFill>
                <a:srgbClr val="BDBBB9"/>
              </a:solidFill>
              <a:prstDash val="lgDash"/>
              <a:round/>
              <a:headEnd type="none" w="sm" len="sm"/>
              <a:tailEnd type="none" w="sm" len="sm"/>
            </a:ln>
          </p:spPr>
        </p:cxnSp>
        <p:sp>
          <p:nvSpPr>
            <p:cNvPr id="219" name="Google Shape;2035;g1389d6804d3_10_0">
              <a:extLst>
                <a:ext uri="{FF2B5EF4-FFF2-40B4-BE49-F238E27FC236}">
                  <a16:creationId xmlns:a16="http://schemas.microsoft.com/office/drawing/2014/main" id="{0543271A-4F9E-4547-ABBB-09F612A92FCE}"/>
                </a:ext>
              </a:extLst>
            </p:cNvPr>
            <p:cNvSpPr/>
            <p:nvPr/>
          </p:nvSpPr>
          <p:spPr>
            <a:xfrm>
              <a:off x="5131537" y="2598365"/>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cxnSp>
          <p:nvCxnSpPr>
            <p:cNvPr id="220" name="Google Shape;2036;g1389d6804d3_10_0">
              <a:extLst>
                <a:ext uri="{FF2B5EF4-FFF2-40B4-BE49-F238E27FC236}">
                  <a16:creationId xmlns:a16="http://schemas.microsoft.com/office/drawing/2014/main" id="{641DC331-3098-473A-A655-BBD7B3486D5B}"/>
                </a:ext>
              </a:extLst>
            </p:cNvPr>
            <p:cNvCxnSpPr>
              <a:cxnSpLocks/>
            </p:cNvCxnSpPr>
            <p:nvPr/>
          </p:nvCxnSpPr>
          <p:spPr>
            <a:xfrm flipV="1">
              <a:off x="1752566" y="4133283"/>
              <a:ext cx="0" cy="540924"/>
            </a:xfrm>
            <a:prstGeom prst="straightConnector1">
              <a:avLst/>
            </a:prstGeom>
            <a:noFill/>
            <a:ln w="9525" cap="flat" cmpd="sng">
              <a:solidFill>
                <a:srgbClr val="BDBBB9"/>
              </a:solidFill>
              <a:prstDash val="lgDash"/>
              <a:round/>
              <a:headEnd type="none" w="sm" len="sm"/>
              <a:tailEnd type="none" w="sm" len="sm"/>
            </a:ln>
          </p:spPr>
        </p:cxnSp>
        <p:cxnSp>
          <p:nvCxnSpPr>
            <p:cNvPr id="221" name="Google Shape;2037;g1389d6804d3_10_0">
              <a:extLst>
                <a:ext uri="{FF2B5EF4-FFF2-40B4-BE49-F238E27FC236}">
                  <a16:creationId xmlns:a16="http://schemas.microsoft.com/office/drawing/2014/main" id="{3C3156FE-B2FB-495E-AE2B-24D9F5D26FF4}"/>
                </a:ext>
              </a:extLst>
            </p:cNvPr>
            <p:cNvCxnSpPr/>
            <p:nvPr/>
          </p:nvCxnSpPr>
          <p:spPr>
            <a:xfrm rot="10800000">
              <a:off x="4074846" y="4133283"/>
              <a:ext cx="0" cy="1635000"/>
            </a:xfrm>
            <a:prstGeom prst="straightConnector1">
              <a:avLst/>
            </a:prstGeom>
            <a:noFill/>
            <a:ln w="9525" cap="flat" cmpd="sng">
              <a:solidFill>
                <a:srgbClr val="BDBBB9"/>
              </a:solidFill>
              <a:prstDash val="lgDash"/>
              <a:round/>
              <a:headEnd type="none" w="sm" len="sm"/>
              <a:tailEnd type="none" w="sm" len="sm"/>
            </a:ln>
          </p:spPr>
        </p:cxnSp>
        <p:cxnSp>
          <p:nvCxnSpPr>
            <p:cNvPr id="222" name="Google Shape;2038;g1389d6804d3_10_0">
              <a:extLst>
                <a:ext uri="{FF2B5EF4-FFF2-40B4-BE49-F238E27FC236}">
                  <a16:creationId xmlns:a16="http://schemas.microsoft.com/office/drawing/2014/main" id="{F3756BEA-732E-4543-8AE5-02868C840BF7}"/>
                </a:ext>
              </a:extLst>
            </p:cNvPr>
            <p:cNvCxnSpPr/>
            <p:nvPr/>
          </p:nvCxnSpPr>
          <p:spPr>
            <a:xfrm rot="10800000">
              <a:off x="9740505" y="4133283"/>
              <a:ext cx="0" cy="1635000"/>
            </a:xfrm>
            <a:prstGeom prst="straightConnector1">
              <a:avLst/>
            </a:prstGeom>
            <a:noFill/>
            <a:ln w="9525" cap="flat" cmpd="sng">
              <a:solidFill>
                <a:srgbClr val="BDBBB9"/>
              </a:solidFill>
              <a:prstDash val="lgDash"/>
              <a:round/>
              <a:headEnd type="none" w="sm" len="sm"/>
              <a:tailEnd type="none" w="sm" len="sm"/>
            </a:ln>
          </p:spPr>
        </p:cxnSp>
        <p:sp>
          <p:nvSpPr>
            <p:cNvPr id="223" name="Google Shape;2039;g1389d6804d3_10_0">
              <a:extLst>
                <a:ext uri="{FF2B5EF4-FFF2-40B4-BE49-F238E27FC236}">
                  <a16:creationId xmlns:a16="http://schemas.microsoft.com/office/drawing/2014/main" id="{896FA54A-2302-4841-8ED5-EA8F635D181A}"/>
                </a:ext>
              </a:extLst>
            </p:cNvPr>
            <p:cNvSpPr/>
            <p:nvPr/>
          </p:nvSpPr>
          <p:spPr>
            <a:xfrm>
              <a:off x="9536166" y="5771990"/>
              <a:ext cx="2394569" cy="424200"/>
            </a:xfrm>
            <a:prstGeom prst="roundRect">
              <a:avLst>
                <a:gd name="adj" fmla="val 50000"/>
              </a:avLst>
            </a:prstGeom>
            <a:solidFill>
              <a:srgbClr val="FFB600"/>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2023 and onwards</a:t>
              </a:r>
            </a:p>
          </p:txBody>
        </p:sp>
        <p:sp>
          <p:nvSpPr>
            <p:cNvPr id="224" name="Google Shape;2040;g1389d6804d3_10_0">
              <a:extLst>
                <a:ext uri="{FF2B5EF4-FFF2-40B4-BE49-F238E27FC236}">
                  <a16:creationId xmlns:a16="http://schemas.microsoft.com/office/drawing/2014/main" id="{DB748D8A-2AFB-4335-AD91-5C15944B3CCC}"/>
                </a:ext>
              </a:extLst>
            </p:cNvPr>
            <p:cNvSpPr/>
            <p:nvPr/>
          </p:nvSpPr>
          <p:spPr>
            <a:xfrm>
              <a:off x="9587320" y="5830209"/>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25" name="Google Shape;2041;g1389d6804d3_10_0">
              <a:extLst>
                <a:ext uri="{FF2B5EF4-FFF2-40B4-BE49-F238E27FC236}">
                  <a16:creationId xmlns:a16="http://schemas.microsoft.com/office/drawing/2014/main" id="{2F10252C-F8FA-49EC-B88B-B57769912AF8}"/>
                </a:ext>
              </a:extLst>
            </p:cNvPr>
            <p:cNvSpPr/>
            <p:nvPr/>
          </p:nvSpPr>
          <p:spPr>
            <a:xfrm>
              <a:off x="9770541" y="4157748"/>
              <a:ext cx="2394568" cy="1554900"/>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1" i="0" u="none" strike="noStrike" kern="1200" cap="none" spc="0" normalizeH="0" baseline="0" noProof="0" dirty="0">
                  <a:ln>
                    <a:noFill/>
                  </a:ln>
                  <a:solidFill>
                    <a:srgbClr val="000000"/>
                  </a:solidFill>
                  <a:effectLst/>
                  <a:uLnTx/>
                  <a:uFillTx/>
                  <a:latin typeface="Arial"/>
                  <a:ea typeface="Arial"/>
                  <a:cs typeface="Arial"/>
                  <a:sym typeface="Arial"/>
                </a:rPr>
                <a:t>Concept Plan and Draft pre-feasibility report </a:t>
              </a: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finalized by the study team</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lang="en-US" sz="110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1" i="0" u="none" strike="noStrike" kern="1200" cap="none" spc="0" normalizeH="0" baseline="0" noProof="0" dirty="0">
                  <a:ln>
                    <a:noFill/>
                  </a:ln>
                  <a:solidFill>
                    <a:srgbClr val="000000"/>
                  </a:solidFill>
                  <a:effectLst/>
                  <a:uLnTx/>
                  <a:uFillTx/>
                  <a:latin typeface="Arial"/>
                  <a:ea typeface="Arial"/>
                  <a:cs typeface="Arial"/>
                  <a:sym typeface="Arial"/>
                </a:rPr>
                <a:t>Regional workshops </a:t>
              </a: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for gathering inputs from the respective state authorities </a:t>
              </a:r>
              <a:endParaRPr kumimoji="0" sz="1100"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226" name="Google Shape;2042;g1389d6804d3_10_0">
              <a:extLst>
                <a:ext uri="{FF2B5EF4-FFF2-40B4-BE49-F238E27FC236}">
                  <a16:creationId xmlns:a16="http://schemas.microsoft.com/office/drawing/2014/main" id="{4F6C755B-EEBD-4179-A218-876ED807D987}"/>
                </a:ext>
              </a:extLst>
            </p:cNvPr>
            <p:cNvCxnSpPr>
              <a:cxnSpLocks/>
            </p:cNvCxnSpPr>
            <p:nvPr/>
          </p:nvCxnSpPr>
          <p:spPr>
            <a:xfrm>
              <a:off x="367469" y="4010192"/>
              <a:ext cx="11580190" cy="0"/>
            </a:xfrm>
            <a:prstGeom prst="straightConnector1">
              <a:avLst/>
            </a:prstGeom>
            <a:noFill/>
            <a:ln w="9525" cap="flat" cmpd="sng">
              <a:solidFill>
                <a:srgbClr val="C00000"/>
              </a:solidFill>
              <a:prstDash val="solid"/>
              <a:round/>
              <a:headEnd type="oval" w="med" len="med"/>
              <a:tailEnd type="oval" w="med" len="med"/>
            </a:ln>
          </p:spPr>
        </p:cxnSp>
        <p:sp>
          <p:nvSpPr>
            <p:cNvPr id="227" name="Google Shape;2043;g1389d6804d3_10_0">
              <a:extLst>
                <a:ext uri="{FF2B5EF4-FFF2-40B4-BE49-F238E27FC236}">
                  <a16:creationId xmlns:a16="http://schemas.microsoft.com/office/drawing/2014/main" id="{CB0EE340-98FF-4EED-A6A6-A6F97485FC67}"/>
                </a:ext>
              </a:extLst>
            </p:cNvPr>
            <p:cNvSpPr/>
            <p:nvPr/>
          </p:nvSpPr>
          <p:spPr>
            <a:xfrm>
              <a:off x="1601050" y="3864981"/>
              <a:ext cx="253200" cy="255900"/>
            </a:xfrm>
            <a:prstGeom prst="ellipse">
              <a:avLst/>
            </a:prstGeom>
            <a:solidFill>
              <a:srgbClr val="FFFFFF"/>
            </a:solidFill>
            <a:ln w="25400" cap="flat" cmpd="sng">
              <a:solidFill>
                <a:srgbClr val="EB8C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28" name="Google Shape;2044;g1389d6804d3_10_0">
              <a:extLst>
                <a:ext uri="{FF2B5EF4-FFF2-40B4-BE49-F238E27FC236}">
                  <a16:creationId xmlns:a16="http://schemas.microsoft.com/office/drawing/2014/main" id="{CF5EBBB9-7104-4042-9BF1-690B4D4C1982}"/>
                </a:ext>
              </a:extLst>
            </p:cNvPr>
            <p:cNvSpPr/>
            <p:nvPr/>
          </p:nvSpPr>
          <p:spPr>
            <a:xfrm>
              <a:off x="441631" y="3864981"/>
              <a:ext cx="253200" cy="255900"/>
            </a:xfrm>
            <a:prstGeom prst="ellipse">
              <a:avLst/>
            </a:prstGeom>
            <a:solidFill>
              <a:srgbClr val="FFFFFF"/>
            </a:solidFill>
            <a:ln w="25400" cap="flat" cmpd="sng">
              <a:solidFill>
                <a:srgbClr val="B069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29" name="Google Shape;2045;g1389d6804d3_10_0">
              <a:extLst>
                <a:ext uri="{FF2B5EF4-FFF2-40B4-BE49-F238E27FC236}">
                  <a16:creationId xmlns:a16="http://schemas.microsoft.com/office/drawing/2014/main" id="{E37E571E-A754-4166-8ACB-D302C0A59DEB}"/>
                </a:ext>
              </a:extLst>
            </p:cNvPr>
            <p:cNvSpPr/>
            <p:nvPr/>
          </p:nvSpPr>
          <p:spPr>
            <a:xfrm>
              <a:off x="2642866" y="3864981"/>
              <a:ext cx="253200" cy="255900"/>
            </a:xfrm>
            <a:prstGeom prst="ellipse">
              <a:avLst/>
            </a:prstGeom>
            <a:solidFill>
              <a:srgbClr val="FFFFFF"/>
            </a:solidFill>
            <a:ln w="25400" cap="flat" cmpd="sng">
              <a:solidFill>
                <a:srgbClr val="FFB6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0" name="Google Shape;2046;g1389d6804d3_10_0">
              <a:extLst>
                <a:ext uri="{FF2B5EF4-FFF2-40B4-BE49-F238E27FC236}">
                  <a16:creationId xmlns:a16="http://schemas.microsoft.com/office/drawing/2014/main" id="{E2B4F597-0C5A-4EE8-B932-028823456CEF}"/>
                </a:ext>
              </a:extLst>
            </p:cNvPr>
            <p:cNvSpPr/>
            <p:nvPr/>
          </p:nvSpPr>
          <p:spPr>
            <a:xfrm>
              <a:off x="3930745" y="3864981"/>
              <a:ext cx="253200" cy="255900"/>
            </a:xfrm>
            <a:prstGeom prst="ellipse">
              <a:avLst/>
            </a:prstGeom>
            <a:solidFill>
              <a:srgbClr val="FFFFFF"/>
            </a:solidFill>
            <a:ln w="25400" cap="flat" cmpd="sng">
              <a:solidFill>
                <a:srgbClr val="B069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1" name="Google Shape;2047;g1389d6804d3_10_0">
              <a:extLst>
                <a:ext uri="{FF2B5EF4-FFF2-40B4-BE49-F238E27FC236}">
                  <a16:creationId xmlns:a16="http://schemas.microsoft.com/office/drawing/2014/main" id="{34731579-652B-407F-AE5B-C011CF2EEA6E}"/>
                </a:ext>
              </a:extLst>
            </p:cNvPr>
            <p:cNvSpPr/>
            <p:nvPr/>
          </p:nvSpPr>
          <p:spPr>
            <a:xfrm>
              <a:off x="5140620" y="3864981"/>
              <a:ext cx="253200" cy="255900"/>
            </a:xfrm>
            <a:prstGeom prst="ellipse">
              <a:avLst/>
            </a:prstGeom>
            <a:solidFill>
              <a:srgbClr val="FFFFFF"/>
            </a:solidFill>
            <a:ln w="25400" cap="flat" cmpd="sng">
              <a:solidFill>
                <a:srgbClr val="EB8C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2" name="Google Shape;2048;g1389d6804d3_10_0">
              <a:extLst>
                <a:ext uri="{FF2B5EF4-FFF2-40B4-BE49-F238E27FC236}">
                  <a16:creationId xmlns:a16="http://schemas.microsoft.com/office/drawing/2014/main" id="{231E24EB-6D03-4123-91C6-96F41E923FDC}"/>
                </a:ext>
              </a:extLst>
            </p:cNvPr>
            <p:cNvSpPr/>
            <p:nvPr/>
          </p:nvSpPr>
          <p:spPr>
            <a:xfrm>
              <a:off x="9596404" y="3864981"/>
              <a:ext cx="253200" cy="255900"/>
            </a:xfrm>
            <a:prstGeom prst="ellipse">
              <a:avLst/>
            </a:prstGeom>
            <a:solidFill>
              <a:srgbClr val="FFFFFF"/>
            </a:solidFill>
            <a:ln w="25400" cap="flat" cmpd="sng">
              <a:solidFill>
                <a:srgbClr val="FFB6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3" name="Google Shape;2049;g1389d6804d3_10_0">
              <a:extLst>
                <a:ext uri="{FF2B5EF4-FFF2-40B4-BE49-F238E27FC236}">
                  <a16:creationId xmlns:a16="http://schemas.microsoft.com/office/drawing/2014/main" id="{428D81D1-3B7D-4196-B469-94020465BE01}"/>
                </a:ext>
              </a:extLst>
            </p:cNvPr>
            <p:cNvSpPr/>
            <p:nvPr/>
          </p:nvSpPr>
          <p:spPr>
            <a:xfrm>
              <a:off x="1653098"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4" name="Google Shape;2050;g1389d6804d3_10_0">
              <a:extLst>
                <a:ext uri="{FF2B5EF4-FFF2-40B4-BE49-F238E27FC236}">
                  <a16:creationId xmlns:a16="http://schemas.microsoft.com/office/drawing/2014/main" id="{A6CB1D2E-065C-4E23-B87C-8D7E723F4444}"/>
                </a:ext>
              </a:extLst>
            </p:cNvPr>
            <p:cNvSpPr/>
            <p:nvPr/>
          </p:nvSpPr>
          <p:spPr>
            <a:xfrm>
              <a:off x="493679"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5" name="Google Shape;2051;g1389d6804d3_10_0">
              <a:extLst>
                <a:ext uri="{FF2B5EF4-FFF2-40B4-BE49-F238E27FC236}">
                  <a16:creationId xmlns:a16="http://schemas.microsoft.com/office/drawing/2014/main" id="{E1B9E7D5-4394-4D90-9BC7-FFCA9EE6E9C2}"/>
                </a:ext>
              </a:extLst>
            </p:cNvPr>
            <p:cNvSpPr/>
            <p:nvPr/>
          </p:nvSpPr>
          <p:spPr>
            <a:xfrm>
              <a:off x="2694914"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6" name="Google Shape;2052;g1389d6804d3_10_0">
              <a:extLst>
                <a:ext uri="{FF2B5EF4-FFF2-40B4-BE49-F238E27FC236}">
                  <a16:creationId xmlns:a16="http://schemas.microsoft.com/office/drawing/2014/main" id="{E176D761-D53C-42FE-B658-31ECADC87BC7}"/>
                </a:ext>
              </a:extLst>
            </p:cNvPr>
            <p:cNvSpPr/>
            <p:nvPr/>
          </p:nvSpPr>
          <p:spPr>
            <a:xfrm>
              <a:off x="3982793"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7" name="Google Shape;2053;g1389d6804d3_10_0">
              <a:extLst>
                <a:ext uri="{FF2B5EF4-FFF2-40B4-BE49-F238E27FC236}">
                  <a16:creationId xmlns:a16="http://schemas.microsoft.com/office/drawing/2014/main" id="{4D695882-7144-42B4-924D-D0517C0BCE5F}"/>
                </a:ext>
              </a:extLst>
            </p:cNvPr>
            <p:cNvSpPr/>
            <p:nvPr/>
          </p:nvSpPr>
          <p:spPr>
            <a:xfrm>
              <a:off x="5192669"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8" name="Google Shape;2054;g1389d6804d3_10_0">
              <a:extLst>
                <a:ext uri="{FF2B5EF4-FFF2-40B4-BE49-F238E27FC236}">
                  <a16:creationId xmlns:a16="http://schemas.microsoft.com/office/drawing/2014/main" id="{3B9B1411-CE6F-4116-A573-7F728097F1DE}"/>
                </a:ext>
              </a:extLst>
            </p:cNvPr>
            <p:cNvSpPr/>
            <p:nvPr/>
          </p:nvSpPr>
          <p:spPr>
            <a:xfrm>
              <a:off x="9648452"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39" name="Google Shape;2058;g1389d6804d3_10_0">
              <a:extLst>
                <a:ext uri="{FF2B5EF4-FFF2-40B4-BE49-F238E27FC236}">
                  <a16:creationId xmlns:a16="http://schemas.microsoft.com/office/drawing/2014/main" id="{2DC06D69-CD3F-4B37-9F3C-38F0584F1BBD}"/>
                </a:ext>
              </a:extLst>
            </p:cNvPr>
            <p:cNvSpPr/>
            <p:nvPr/>
          </p:nvSpPr>
          <p:spPr>
            <a:xfrm>
              <a:off x="5368563" y="2993019"/>
              <a:ext cx="2299561" cy="765654"/>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lang="en-GB" sz="1100" dirty="0">
                  <a:solidFill>
                    <a:srgbClr val="000000"/>
                  </a:solidFill>
                  <a:latin typeface="Arial"/>
                  <a:ea typeface="Arial"/>
                  <a:cs typeface="Arial"/>
                  <a:sym typeface="Arial"/>
                </a:rPr>
                <a:t>Background report preparation, as-is assessment on various development components of ICIC</a:t>
              </a:r>
              <a:endParaRPr kumimoji="0" lang="en-GB" sz="1100"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lang="en-GB" sz="11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40" name="Google Shape;2060;g1389d6804d3_10_0">
              <a:extLst>
                <a:ext uri="{FF2B5EF4-FFF2-40B4-BE49-F238E27FC236}">
                  <a16:creationId xmlns:a16="http://schemas.microsoft.com/office/drawing/2014/main" id="{165BF9FD-8465-483F-A90C-7074B8721562}"/>
                </a:ext>
              </a:extLst>
            </p:cNvPr>
            <p:cNvSpPr/>
            <p:nvPr/>
          </p:nvSpPr>
          <p:spPr>
            <a:xfrm>
              <a:off x="1819781" y="4143847"/>
              <a:ext cx="1984145" cy="631674"/>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Empanelment of consultants for concept plan for ICTEC</a:t>
              </a:r>
            </a:p>
          </p:txBody>
        </p:sp>
        <p:sp>
          <p:nvSpPr>
            <p:cNvPr id="241" name="Google Shape;2061;g1389d6804d3_10_0">
              <a:extLst>
                <a:ext uri="{FF2B5EF4-FFF2-40B4-BE49-F238E27FC236}">
                  <a16:creationId xmlns:a16="http://schemas.microsoft.com/office/drawing/2014/main" id="{AA6F4458-F2BC-477F-A2C0-D0DD8271538A}"/>
                </a:ext>
              </a:extLst>
            </p:cNvPr>
            <p:cNvSpPr/>
            <p:nvPr/>
          </p:nvSpPr>
          <p:spPr>
            <a:xfrm>
              <a:off x="2901144" y="2365101"/>
              <a:ext cx="2536691" cy="1518953"/>
            </a:xfrm>
            <a:prstGeom prst="rect">
              <a:avLst/>
            </a:prstGeom>
            <a:noFill/>
            <a:ln>
              <a:noFill/>
            </a:ln>
          </p:spPr>
          <p:txBody>
            <a:bodyPr spcFirstLastPara="1" wrap="square" lIns="91425" tIns="0" rIns="91425" bIns="0"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Pts val="1200"/>
                <a:buFont typeface="Wingdings" panose="05000000000000000000" pitchFamily="2" charset="2"/>
                <a:buChar char="Ø"/>
                <a:tabLst/>
                <a:defRPr/>
              </a:pPr>
              <a:r>
                <a:rPr kumimoji="0" lang="en-US" sz="1100" b="0" i="0" strike="noStrike" kern="1200" cap="none" spc="0" normalizeH="0" baseline="0" noProof="0" dirty="0">
                  <a:ln>
                    <a:noFill/>
                  </a:ln>
                  <a:solidFill>
                    <a:srgbClr val="000000"/>
                  </a:solidFill>
                  <a:effectLst/>
                  <a:uLnTx/>
                  <a:uFillTx/>
                  <a:latin typeface="Arial"/>
                  <a:ea typeface="Arial"/>
                  <a:cs typeface="Arial"/>
                  <a:sym typeface="Arial"/>
                </a:rPr>
                <a:t>Virtual Inception workshop in Kazakhstan and Uzbekistan (ICTEC)</a:t>
              </a:r>
            </a:p>
            <a:p>
              <a:pPr marL="171450" marR="0" lvl="0" indent="-171450" algn="l" defTabSz="914400" rtl="0" eaLnBrk="1" fontAlgn="auto" latinLnBrk="0" hangingPunct="1">
                <a:lnSpc>
                  <a:spcPct val="100000"/>
                </a:lnSpc>
                <a:spcBef>
                  <a:spcPts val="0"/>
                </a:spcBef>
                <a:spcAft>
                  <a:spcPts val="0"/>
                </a:spcAft>
                <a:buClr>
                  <a:srgbClr val="000000"/>
                </a:buClr>
                <a:buSzPts val="1200"/>
                <a:buFont typeface="Wingdings" panose="05000000000000000000" pitchFamily="2" charset="2"/>
                <a:buChar char="Ø"/>
                <a:tabLst/>
                <a:defRPr/>
              </a:pPr>
              <a:endParaRPr kumimoji="0" lang="en-US" sz="1100" b="0" i="0" strike="noStrike" kern="1200" cap="none" spc="0" normalizeH="0" baseline="0" noProof="0" dirty="0">
                <a:ln>
                  <a:noFill/>
                </a:ln>
                <a:solidFill>
                  <a:srgbClr val="000000"/>
                </a:solidFill>
                <a:effectLst/>
                <a:uLnTx/>
                <a:uFillTx/>
                <a:latin typeface="Arial"/>
                <a:ea typeface="Arial"/>
                <a:cs typeface="Arial"/>
                <a:sym typeface="Arial"/>
              </a:endParaRPr>
            </a:p>
            <a:p>
              <a:pPr marL="171450" indent="-171450">
                <a:buClr>
                  <a:srgbClr val="000000"/>
                </a:buClr>
                <a:buSzPts val="1200"/>
                <a:buFont typeface="Wingdings" panose="05000000000000000000" pitchFamily="2" charset="2"/>
                <a:buChar char="Ø"/>
                <a:defRPr/>
              </a:pPr>
              <a:r>
                <a:rPr lang="en-US" sz="1100" b="1" i="1" dirty="0">
                  <a:solidFill>
                    <a:prstClr val="black"/>
                  </a:solidFill>
                  <a:latin typeface="Arial" panose="020B0604020202020204" pitchFamily="34" charset="0"/>
                  <a:cs typeface="Arial" panose="020B0604020202020204" pitchFamily="34" charset="0"/>
                </a:rPr>
                <a:t>Change of ICTEC to ICIC</a:t>
              </a:r>
              <a:r>
                <a:rPr lang="en-US" sz="1100" b="1" i="1" baseline="30000" dirty="0">
                  <a:solidFill>
                    <a:prstClr val="black"/>
                  </a:solidFill>
                  <a:latin typeface="Arial" panose="020B0604020202020204" pitchFamily="34" charset="0"/>
                  <a:cs typeface="Arial" panose="020B0604020202020204" pitchFamily="34" charset="0"/>
                </a:rPr>
                <a:t>#</a:t>
              </a:r>
              <a:r>
                <a:rPr lang="en-US" sz="1100" b="1" i="1" dirty="0">
                  <a:solidFill>
                    <a:prstClr val="black"/>
                  </a:solidFill>
                  <a:latin typeface="Arial" panose="020B0604020202020204" pitchFamily="34" charset="0"/>
                  <a:cs typeface="Arial" panose="020B0604020202020204" pitchFamily="34" charset="0"/>
                </a:rPr>
                <a:t> to enhance the focus on industrial cooperation between the countries</a:t>
              </a:r>
            </a:p>
            <a:p>
              <a:pPr marL="171450" marR="0" lvl="0" indent="-171450" algn="l" defTabSz="914400" rtl="0" eaLnBrk="1" fontAlgn="auto" latinLnBrk="0" hangingPunct="1">
                <a:lnSpc>
                  <a:spcPct val="100000"/>
                </a:lnSpc>
                <a:spcBef>
                  <a:spcPts val="0"/>
                </a:spcBef>
                <a:spcAft>
                  <a:spcPts val="0"/>
                </a:spcAft>
                <a:buClr>
                  <a:srgbClr val="000000"/>
                </a:buClr>
                <a:buSzPts val="1200"/>
                <a:buFont typeface="Wingdings" panose="05000000000000000000" pitchFamily="2" charset="2"/>
                <a:buChar char="Ø"/>
                <a:tabLst/>
                <a:defRPr/>
              </a:pPr>
              <a:endParaRPr kumimoji="0" lang="en-US" sz="1100" b="0" i="0"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1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42" name="Google Shape;2064;g1389d6804d3_10_0">
              <a:extLst>
                <a:ext uri="{FF2B5EF4-FFF2-40B4-BE49-F238E27FC236}">
                  <a16:creationId xmlns:a16="http://schemas.microsoft.com/office/drawing/2014/main" id="{EF656436-70DE-43D0-9ED6-97D5FFCD0C3F}"/>
                </a:ext>
              </a:extLst>
            </p:cNvPr>
            <p:cNvSpPr/>
            <p:nvPr/>
          </p:nvSpPr>
          <p:spPr>
            <a:xfrm>
              <a:off x="4104882" y="4197304"/>
              <a:ext cx="2585541" cy="1406262"/>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GB" sz="1100" b="0" i="0" u="sng" strike="noStrike" kern="1200" cap="none" spc="0" normalizeH="0" baseline="0" noProof="0">
                  <a:ln>
                    <a:noFill/>
                  </a:ln>
                  <a:solidFill>
                    <a:srgbClr val="000000"/>
                  </a:solidFill>
                  <a:effectLst/>
                  <a:uLnTx/>
                  <a:uFillTx/>
                  <a:latin typeface="Arial"/>
                  <a:ea typeface="Arial"/>
                  <a:cs typeface="Arial"/>
                  <a:sym typeface="Arial"/>
                </a:rPr>
                <a:t>Feb – Apr’22</a:t>
              </a:r>
              <a:r>
                <a:rPr kumimoji="0" lang="en-GB" sz="1100" b="0" i="0" u="none" strike="noStrike" kern="1200" cap="none" spc="0" normalizeH="0" baseline="0" noProof="0">
                  <a:ln>
                    <a:noFill/>
                  </a:ln>
                  <a:solidFill>
                    <a:srgbClr val="000000"/>
                  </a:solidFill>
                  <a:effectLst/>
                  <a:uLnTx/>
                  <a:uFillTx/>
                  <a:latin typeface="Arial"/>
                  <a:ea typeface="Arial"/>
                  <a:cs typeface="Arial"/>
                  <a:sym typeface="Arial"/>
                </a:rPr>
                <a:t>:</a:t>
              </a:r>
              <a:r>
                <a:rPr kumimoji="0" lang="en-GB" sz="1100" b="1" i="0" u="none" strike="noStrike" kern="1200" cap="none" spc="0" normalizeH="0" baseline="0" noProof="0">
                  <a:ln>
                    <a:noFill/>
                  </a:ln>
                  <a:solidFill>
                    <a:srgbClr val="000000"/>
                  </a:solidFill>
                  <a:effectLst/>
                  <a:uLnTx/>
                  <a:uFillTx/>
                  <a:latin typeface="Arial"/>
                  <a:ea typeface="Arial"/>
                  <a:cs typeface="Arial"/>
                  <a:sym typeface="Arial"/>
                </a:rPr>
                <a:t> Bilateral consultations </a:t>
              </a:r>
              <a:r>
                <a:rPr kumimoji="0" lang="en-GB" sz="1100" b="0" i="0" u="none" strike="noStrike" kern="1200" cap="none" spc="0" normalizeH="0" baseline="0" noProof="0">
                  <a:ln>
                    <a:noFill/>
                  </a:ln>
                  <a:solidFill>
                    <a:srgbClr val="000000"/>
                  </a:solidFill>
                  <a:effectLst/>
                  <a:uLnTx/>
                  <a:uFillTx/>
                  <a:latin typeface="Arial"/>
                  <a:ea typeface="Arial"/>
                  <a:cs typeface="Arial"/>
                  <a:sym typeface="Arial"/>
                </a:rPr>
                <a:t>undertaken with government </a:t>
              </a:r>
              <a:r>
                <a:rPr kumimoji="0" lang="en-GB" sz="1100" i="0" u="none" strike="noStrike" kern="1200" cap="none" spc="0" normalizeH="0" baseline="0" noProof="0">
                  <a:ln>
                    <a:noFill/>
                  </a:ln>
                  <a:solidFill>
                    <a:srgbClr val="000000"/>
                  </a:solidFill>
                  <a:effectLst/>
                  <a:uLnTx/>
                  <a:uFillTx/>
                  <a:latin typeface="Arial"/>
                  <a:ea typeface="Arial"/>
                  <a:cs typeface="Arial"/>
                  <a:sym typeface="Arial"/>
                </a:rPr>
                <a:t>agencies </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i="0" u="none" strike="noStrike" kern="1200" cap="none" spc="0" normalizeH="0" baseline="0" noProof="0">
                  <a:ln>
                    <a:noFill/>
                  </a:ln>
                  <a:solidFill>
                    <a:srgbClr val="000000"/>
                  </a:solidFill>
                  <a:effectLst/>
                  <a:uLnTx/>
                  <a:uFillTx/>
                  <a:latin typeface="Arial"/>
                  <a:ea typeface="Arial"/>
                  <a:cs typeface="Arial"/>
                  <a:sym typeface="Arial"/>
                </a:rPr>
                <a:t>Study team conducted as-is assessments and background review</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lang="en-US" sz="1100" b="1">
                <a:solidFill>
                  <a:srgbClr val="000000"/>
                </a:solidFill>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100" b="1">
                  <a:solidFill>
                    <a:srgbClr val="000000"/>
                  </a:solidFill>
                  <a:latin typeface="Arial"/>
                  <a:ea typeface="Arial"/>
                  <a:cs typeface="Arial"/>
                  <a:sym typeface="Arial"/>
                </a:rPr>
                <a:t>Inception report submission</a:t>
              </a:r>
              <a:endParaRPr kumimoji="0" lang="en-US" sz="11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43" name="Google Shape;2073;g1389d6804d3_10_0">
              <a:extLst>
                <a:ext uri="{FF2B5EF4-FFF2-40B4-BE49-F238E27FC236}">
                  <a16:creationId xmlns:a16="http://schemas.microsoft.com/office/drawing/2014/main" id="{7E2F75B9-267F-4234-A279-AB4908ED989B}"/>
                </a:ext>
              </a:extLst>
            </p:cNvPr>
            <p:cNvSpPr/>
            <p:nvPr/>
          </p:nvSpPr>
          <p:spPr>
            <a:xfrm>
              <a:off x="601697" y="3166363"/>
              <a:ext cx="2241300" cy="749961"/>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Roadmap for STKEC development including the proposal for development of ICTEC*</a:t>
              </a:r>
            </a:p>
          </p:txBody>
        </p:sp>
        <p:cxnSp>
          <p:nvCxnSpPr>
            <p:cNvPr id="244" name="Google Shape;2074;g1389d6804d3_10_0">
              <a:extLst>
                <a:ext uri="{FF2B5EF4-FFF2-40B4-BE49-F238E27FC236}">
                  <a16:creationId xmlns:a16="http://schemas.microsoft.com/office/drawing/2014/main" id="{6D8F68AD-09B8-4CA6-904B-9A2961F8EE31}"/>
                </a:ext>
              </a:extLst>
            </p:cNvPr>
            <p:cNvCxnSpPr>
              <a:cxnSpLocks/>
            </p:cNvCxnSpPr>
            <p:nvPr/>
          </p:nvCxnSpPr>
          <p:spPr>
            <a:xfrm>
              <a:off x="384887" y="1531190"/>
              <a:ext cx="11580190" cy="0"/>
            </a:xfrm>
            <a:prstGeom prst="straightConnector1">
              <a:avLst/>
            </a:prstGeom>
            <a:noFill/>
            <a:ln w="9525" cap="flat" cmpd="sng">
              <a:solidFill>
                <a:srgbClr val="C00000"/>
              </a:solidFill>
              <a:prstDash val="solid"/>
              <a:round/>
              <a:headEnd type="none" w="sm" len="sm"/>
              <a:tailEnd type="none" w="sm" len="sm"/>
            </a:ln>
          </p:spPr>
        </p:cxnSp>
        <p:sp>
          <p:nvSpPr>
            <p:cNvPr id="245" name="Google Shape;2076;g1389d6804d3_10_0">
              <a:extLst>
                <a:ext uri="{FF2B5EF4-FFF2-40B4-BE49-F238E27FC236}">
                  <a16:creationId xmlns:a16="http://schemas.microsoft.com/office/drawing/2014/main" id="{C3F4A2DF-7A8F-47A7-8A25-056069A7F81B}"/>
                </a:ext>
              </a:extLst>
            </p:cNvPr>
            <p:cNvSpPr/>
            <p:nvPr/>
          </p:nvSpPr>
          <p:spPr>
            <a:xfrm>
              <a:off x="1847904" y="1144186"/>
              <a:ext cx="9379460" cy="2742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3C6B"/>
                </a:buClr>
                <a:buSzPts val="1400"/>
                <a:buFont typeface="Arial"/>
                <a:buNone/>
                <a:tabLst/>
                <a:defRPr/>
              </a:pPr>
              <a:r>
                <a:rPr kumimoji="0" lang="en-GB" sz="1300" b="1" i="1" u="none" strike="noStrike" kern="1200" cap="none" spc="0" normalizeH="0" baseline="0" noProof="0">
                  <a:ln>
                    <a:noFill/>
                  </a:ln>
                  <a:solidFill>
                    <a:srgbClr val="C00000"/>
                  </a:solidFill>
                  <a:effectLst/>
                  <a:uLnTx/>
                  <a:uFillTx/>
                  <a:latin typeface="Arial"/>
                  <a:ea typeface="Arial"/>
                  <a:cs typeface="Arial"/>
                  <a:sym typeface="Arial"/>
                </a:rPr>
                <a:t>Development of ICIC…</a:t>
              </a:r>
              <a:endParaRPr kumimoji="0" sz="1300" b="1" i="0" u="none" strike="noStrike" kern="1200" cap="none" spc="0" normalizeH="0" baseline="0" noProof="0">
                <a:ln>
                  <a:noFill/>
                </a:ln>
                <a:solidFill>
                  <a:srgbClr val="C00000"/>
                </a:solidFill>
                <a:effectLst/>
                <a:uLnTx/>
                <a:uFillTx/>
                <a:latin typeface="Arial"/>
                <a:ea typeface="Arial"/>
                <a:cs typeface="Arial"/>
                <a:sym typeface="Arial"/>
              </a:endParaRPr>
            </a:p>
          </p:txBody>
        </p:sp>
        <p:sp>
          <p:nvSpPr>
            <p:cNvPr id="246" name="Google Shape;2079;g1389d6804d3_10_0">
              <a:extLst>
                <a:ext uri="{FF2B5EF4-FFF2-40B4-BE49-F238E27FC236}">
                  <a16:creationId xmlns:a16="http://schemas.microsoft.com/office/drawing/2014/main" id="{390029CA-864C-4F60-BF59-11CF576D10BF}"/>
                </a:ext>
              </a:extLst>
            </p:cNvPr>
            <p:cNvSpPr/>
            <p:nvPr/>
          </p:nvSpPr>
          <p:spPr>
            <a:xfrm>
              <a:off x="5342069" y="1129850"/>
              <a:ext cx="206193" cy="205928"/>
            </a:xfrm>
            <a:prstGeom prst="ellipse">
              <a:avLst/>
            </a:prstGeom>
            <a:solidFill>
              <a:schemeClr val="lt1"/>
            </a:solidFill>
            <a:ln w="25400" cap="flat" cmpd="sng">
              <a:solidFill>
                <a:srgbClr val="C00000"/>
              </a:solidFill>
              <a:prstDash val="solid"/>
              <a:round/>
              <a:headEnd type="none" w="sm" len="sm"/>
              <a:tailEnd type="none" w="sm" len="sm"/>
            </a:ln>
          </p:spPr>
          <p:txBody>
            <a:bodyPr spcFirstLastPara="1" wrap="square" lIns="0" tIns="45700" rIns="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1800" b="0" i="0" u="none" strike="noStrike" kern="1200" cap="none" spc="0" normalizeH="0" baseline="0" noProof="0">
                <a:ln>
                  <a:noFill/>
                </a:ln>
                <a:solidFill>
                  <a:srgbClr val="C00000"/>
                </a:solidFill>
                <a:effectLst/>
                <a:uLnTx/>
                <a:uFillTx/>
                <a:latin typeface="Arial"/>
                <a:ea typeface="+mn-ea"/>
                <a:cs typeface="+mn-cs"/>
              </a:endParaRPr>
            </a:p>
          </p:txBody>
        </p:sp>
        <p:sp>
          <p:nvSpPr>
            <p:cNvPr id="247" name="Google Shape;2058;g1389d6804d3_10_0">
              <a:extLst>
                <a:ext uri="{FF2B5EF4-FFF2-40B4-BE49-F238E27FC236}">
                  <a16:creationId xmlns:a16="http://schemas.microsoft.com/office/drawing/2014/main" id="{7E8E5E81-F962-4214-8468-090F6A01356F}"/>
                </a:ext>
              </a:extLst>
            </p:cNvPr>
            <p:cNvSpPr/>
            <p:nvPr/>
          </p:nvSpPr>
          <p:spPr>
            <a:xfrm>
              <a:off x="8134594" y="2341043"/>
              <a:ext cx="3672518" cy="1471684"/>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GB" sz="1100" b="0" i="0" u="sng" strike="noStrike" kern="1200" cap="none" spc="0" normalizeH="0" baseline="0" noProof="0" dirty="0">
                  <a:ln>
                    <a:noFill/>
                  </a:ln>
                  <a:solidFill>
                    <a:srgbClr val="000000"/>
                  </a:solidFill>
                  <a:effectLst/>
                  <a:uLnTx/>
                  <a:uFillTx/>
                  <a:latin typeface="Arial"/>
                  <a:ea typeface="Arial"/>
                  <a:cs typeface="Arial"/>
                  <a:sym typeface="Arial"/>
                </a:rPr>
                <a:t>Jan - Feb’23</a:t>
              </a:r>
              <a:r>
                <a:rPr kumimoji="0" lang="en-GB" sz="1100" b="0" i="0" u="none" strike="noStrike" kern="1200" cap="none" spc="0" normalizeH="0" baseline="0" noProof="0" dirty="0">
                  <a:ln>
                    <a:noFill/>
                  </a:ln>
                  <a:solidFill>
                    <a:srgbClr val="000000"/>
                  </a:solidFill>
                  <a:effectLst/>
                  <a:uLnTx/>
                  <a:uFillTx/>
                  <a:latin typeface="Arial"/>
                  <a:ea typeface="Arial"/>
                  <a:cs typeface="Arial"/>
                  <a:sym typeface="Arial"/>
                </a:rPr>
                <a:t>: Change of site for ICIC. New </a:t>
              </a:r>
              <a:r>
                <a:rPr lang="en-GB" sz="1100" b="1" dirty="0">
                  <a:solidFill>
                    <a:srgbClr val="000000"/>
                  </a:solidFill>
                  <a:latin typeface="Arial"/>
                  <a:ea typeface="Arial"/>
                  <a:cs typeface="Arial"/>
                  <a:sym typeface="Arial"/>
                </a:rPr>
                <a:t>l</a:t>
              </a:r>
              <a:r>
                <a:rPr kumimoji="0" lang="en-GB" sz="1100" b="1" i="0" u="none" strike="noStrike" kern="1200" cap="none" spc="0" normalizeH="0" baseline="0" noProof="0" dirty="0" err="1">
                  <a:ln>
                    <a:noFill/>
                  </a:ln>
                  <a:solidFill>
                    <a:srgbClr val="000000"/>
                  </a:solidFill>
                  <a:effectLst/>
                  <a:uLnTx/>
                  <a:uFillTx/>
                  <a:latin typeface="Arial"/>
                  <a:ea typeface="Arial"/>
                  <a:cs typeface="Arial"/>
                  <a:sym typeface="Arial"/>
                </a:rPr>
                <a:t>ocation</a:t>
              </a:r>
              <a:r>
                <a:rPr kumimoji="0" lang="en-GB" sz="1100" b="1" i="0" u="none" strike="noStrike" kern="1200" cap="none" spc="0" normalizeH="0" baseline="0" noProof="0" dirty="0">
                  <a:ln>
                    <a:noFill/>
                  </a:ln>
                  <a:solidFill>
                    <a:srgbClr val="000000"/>
                  </a:solidFill>
                  <a:effectLst/>
                  <a:uLnTx/>
                  <a:uFillTx/>
                  <a:latin typeface="Arial"/>
                  <a:ea typeface="Arial"/>
                  <a:cs typeface="Arial"/>
                  <a:sym typeface="Arial"/>
                </a:rPr>
                <a:t> finalized </a:t>
              </a:r>
              <a:r>
                <a:rPr kumimoji="0" lang="en-GB" sz="1100" b="0" i="0" u="none" strike="noStrike" kern="1200" cap="none" spc="0" normalizeH="0" baseline="0" noProof="0" dirty="0">
                  <a:ln>
                    <a:noFill/>
                  </a:ln>
                  <a:solidFill>
                    <a:srgbClr val="000000"/>
                  </a:solidFill>
                  <a:effectLst/>
                  <a:uLnTx/>
                  <a:uFillTx/>
                  <a:latin typeface="Arial"/>
                  <a:ea typeface="Arial"/>
                  <a:cs typeface="Arial"/>
                  <a:sym typeface="Arial"/>
                </a:rPr>
                <a:t>in the Atameken – Gulistan </a:t>
              </a:r>
              <a:r>
                <a:rPr lang="en-GB" sz="1100" dirty="0">
                  <a:solidFill>
                    <a:srgbClr val="000000"/>
                  </a:solidFill>
                  <a:latin typeface="Arial"/>
                  <a:ea typeface="Arial"/>
                  <a:cs typeface="Arial"/>
                  <a:sym typeface="Arial"/>
                </a:rPr>
                <a:t>BCP </a:t>
              </a:r>
              <a:r>
                <a:rPr kumimoji="0" lang="en-GB" sz="1100" b="0" i="0" u="none" strike="noStrike" kern="1200" cap="none" spc="0" normalizeH="0" baseline="0" noProof="0" dirty="0">
                  <a:ln>
                    <a:noFill/>
                  </a:ln>
                  <a:solidFill>
                    <a:srgbClr val="000000"/>
                  </a:solidFill>
                  <a:effectLst/>
                  <a:uLnTx/>
                  <a:uFillTx/>
                  <a:latin typeface="Arial"/>
                  <a:ea typeface="Arial"/>
                  <a:cs typeface="Arial"/>
                  <a:sym typeface="Arial"/>
                </a:rPr>
                <a:t>instead of Zhibek Zholy BCP. Further, size</a:t>
              </a:r>
              <a:r>
                <a:rPr lang="en-GB" sz="1100" dirty="0">
                  <a:solidFill>
                    <a:srgbClr val="000000"/>
                  </a:solidFill>
                  <a:latin typeface="Arial"/>
                  <a:ea typeface="Arial"/>
                  <a:cs typeface="Arial"/>
                  <a:sym typeface="Arial"/>
                </a:rPr>
                <a:t> of ICIC on each side reduced to 50 Ha.</a:t>
              </a:r>
              <a:endParaRPr kumimoji="0" lang="en-GB" sz="110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lang="en-GB" sz="110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GB" sz="1100" b="0" i="0" u="sng" strike="noStrike" kern="1200" cap="none" spc="0" normalizeH="0" baseline="0" noProof="0" dirty="0">
                  <a:ln>
                    <a:noFill/>
                  </a:ln>
                  <a:solidFill>
                    <a:srgbClr val="000000"/>
                  </a:solidFill>
                  <a:effectLst/>
                  <a:uLnTx/>
                  <a:uFillTx/>
                  <a:latin typeface="Arial"/>
                  <a:ea typeface="Arial"/>
                  <a:cs typeface="Arial"/>
                  <a:sym typeface="Arial"/>
                </a:rPr>
                <a:t>May’23</a:t>
              </a:r>
              <a:r>
                <a:rPr kumimoji="0" lang="en-GB" sz="1100" b="0" i="0" u="none" strike="noStrike" kern="1200" cap="none" spc="0" normalizeH="0" baseline="0" noProof="0" dirty="0">
                  <a:ln>
                    <a:noFill/>
                  </a:ln>
                  <a:solidFill>
                    <a:srgbClr val="000000"/>
                  </a:solidFill>
                  <a:effectLst/>
                  <a:uLnTx/>
                  <a:uFillTx/>
                  <a:latin typeface="Arial"/>
                  <a:ea typeface="Arial"/>
                  <a:cs typeface="Arial"/>
                  <a:sym typeface="Arial"/>
                </a:rPr>
                <a:t>: </a:t>
              </a:r>
              <a:r>
                <a:rPr kumimoji="0" lang="en-GB" sz="1100" b="1" i="0" u="none" strike="noStrike" kern="1200" cap="none" spc="0" normalizeH="0" baseline="0" noProof="0" dirty="0">
                  <a:ln>
                    <a:noFill/>
                  </a:ln>
                  <a:solidFill>
                    <a:srgbClr val="000000"/>
                  </a:solidFill>
                  <a:effectLst/>
                  <a:uLnTx/>
                  <a:uFillTx/>
                  <a:latin typeface="Arial"/>
                  <a:ea typeface="Arial"/>
                  <a:cs typeface="Arial"/>
                  <a:sym typeface="Arial"/>
                </a:rPr>
                <a:t>Governments of Kazakhstan and Uzbekistan sign the roadmap for establishing ICIC</a:t>
              </a:r>
              <a:endParaRPr kumimoji="0" lang="en-GB" sz="11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48" name="Google Shape;2028;g1389d6804d3_10_0">
              <a:extLst>
                <a:ext uri="{FF2B5EF4-FFF2-40B4-BE49-F238E27FC236}">
                  <a16:creationId xmlns:a16="http://schemas.microsoft.com/office/drawing/2014/main" id="{E4C6839E-C440-4773-8395-9AB09B96484F}"/>
                </a:ext>
              </a:extLst>
            </p:cNvPr>
            <p:cNvSpPr/>
            <p:nvPr/>
          </p:nvSpPr>
          <p:spPr>
            <a:xfrm>
              <a:off x="6628870" y="5771990"/>
              <a:ext cx="2204700" cy="424200"/>
            </a:xfrm>
            <a:prstGeom prst="roundRect">
              <a:avLst>
                <a:gd name="adj" fmla="val 50000"/>
              </a:avLst>
            </a:prstGeom>
            <a:solidFill>
              <a:schemeClr val="accent4">
                <a:lumMod val="75000"/>
              </a:schemeClr>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Oct 2022</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49" name="Google Shape;2029;g1389d6804d3_10_0">
              <a:extLst>
                <a:ext uri="{FF2B5EF4-FFF2-40B4-BE49-F238E27FC236}">
                  <a16:creationId xmlns:a16="http://schemas.microsoft.com/office/drawing/2014/main" id="{965D5502-CE85-4122-BCA9-C95DE4743DAF}"/>
                </a:ext>
              </a:extLst>
            </p:cNvPr>
            <p:cNvSpPr/>
            <p:nvPr/>
          </p:nvSpPr>
          <p:spPr>
            <a:xfrm>
              <a:off x="6681339" y="5820829"/>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50" name="Google Shape;2030;g1389d6804d3_10_0">
              <a:extLst>
                <a:ext uri="{FF2B5EF4-FFF2-40B4-BE49-F238E27FC236}">
                  <a16:creationId xmlns:a16="http://schemas.microsoft.com/office/drawing/2014/main" id="{CF9C305C-157A-4B36-B3B2-7205C5A8B91D}"/>
                </a:ext>
              </a:extLst>
            </p:cNvPr>
            <p:cNvSpPr/>
            <p:nvPr/>
          </p:nvSpPr>
          <p:spPr>
            <a:xfrm>
              <a:off x="7833847" y="1710387"/>
              <a:ext cx="2204700" cy="424200"/>
            </a:xfrm>
            <a:prstGeom prst="roundRect">
              <a:avLst>
                <a:gd name="adj" fmla="val 50000"/>
              </a:avLst>
            </a:prstGeom>
            <a:solidFill>
              <a:schemeClr val="accent4"/>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Jan-May 2023</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251" name="Google Shape;2034;g1389d6804d3_10_0">
              <a:extLst>
                <a:ext uri="{FF2B5EF4-FFF2-40B4-BE49-F238E27FC236}">
                  <a16:creationId xmlns:a16="http://schemas.microsoft.com/office/drawing/2014/main" id="{A892E07D-1279-4050-A9F3-5CBEE71023F8}"/>
                </a:ext>
              </a:extLst>
            </p:cNvPr>
            <p:cNvCxnSpPr>
              <a:cxnSpLocks/>
            </p:cNvCxnSpPr>
            <p:nvPr/>
          </p:nvCxnSpPr>
          <p:spPr>
            <a:xfrm flipV="1">
              <a:off x="8044317" y="2120662"/>
              <a:ext cx="0" cy="1727542"/>
            </a:xfrm>
            <a:prstGeom prst="straightConnector1">
              <a:avLst/>
            </a:prstGeom>
            <a:noFill/>
            <a:ln w="9525" cap="flat" cmpd="sng">
              <a:solidFill>
                <a:srgbClr val="BDBBB9"/>
              </a:solidFill>
              <a:prstDash val="lgDash"/>
              <a:round/>
              <a:headEnd type="none" w="sm" len="sm"/>
              <a:tailEnd type="none" w="sm" len="sm"/>
            </a:ln>
          </p:spPr>
        </p:cxnSp>
        <p:sp>
          <p:nvSpPr>
            <p:cNvPr id="252" name="Google Shape;2035;g1389d6804d3_10_0">
              <a:extLst>
                <a:ext uri="{FF2B5EF4-FFF2-40B4-BE49-F238E27FC236}">
                  <a16:creationId xmlns:a16="http://schemas.microsoft.com/office/drawing/2014/main" id="{A2624816-EB4B-4510-97BD-B36524547EF4}"/>
                </a:ext>
              </a:extLst>
            </p:cNvPr>
            <p:cNvSpPr/>
            <p:nvPr/>
          </p:nvSpPr>
          <p:spPr>
            <a:xfrm>
              <a:off x="7891216" y="1762337"/>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cxnSp>
          <p:nvCxnSpPr>
            <p:cNvPr id="253" name="Google Shape;2037;g1389d6804d3_10_0">
              <a:extLst>
                <a:ext uri="{FF2B5EF4-FFF2-40B4-BE49-F238E27FC236}">
                  <a16:creationId xmlns:a16="http://schemas.microsoft.com/office/drawing/2014/main" id="{01343231-5553-4190-ACD1-E02D2586B3EB}"/>
                </a:ext>
              </a:extLst>
            </p:cNvPr>
            <p:cNvCxnSpPr/>
            <p:nvPr/>
          </p:nvCxnSpPr>
          <p:spPr>
            <a:xfrm rot="10800000">
              <a:off x="6834525" y="4133283"/>
              <a:ext cx="0" cy="1635000"/>
            </a:xfrm>
            <a:prstGeom prst="straightConnector1">
              <a:avLst/>
            </a:prstGeom>
            <a:noFill/>
            <a:ln w="9525" cap="flat" cmpd="sng">
              <a:solidFill>
                <a:srgbClr val="BDBBB9"/>
              </a:solidFill>
              <a:prstDash val="lgDash"/>
              <a:round/>
              <a:headEnd type="none" w="sm" len="sm"/>
              <a:tailEnd type="none" w="sm" len="sm"/>
            </a:ln>
          </p:spPr>
        </p:cxnSp>
        <p:sp>
          <p:nvSpPr>
            <p:cNvPr id="254" name="Google Shape;2046;g1389d6804d3_10_0">
              <a:extLst>
                <a:ext uri="{FF2B5EF4-FFF2-40B4-BE49-F238E27FC236}">
                  <a16:creationId xmlns:a16="http://schemas.microsoft.com/office/drawing/2014/main" id="{D3336F05-FE2A-4E2A-9518-2D3B148185E1}"/>
                </a:ext>
              </a:extLst>
            </p:cNvPr>
            <p:cNvSpPr/>
            <p:nvPr/>
          </p:nvSpPr>
          <p:spPr>
            <a:xfrm>
              <a:off x="6690424" y="3864981"/>
              <a:ext cx="253200" cy="255900"/>
            </a:xfrm>
            <a:prstGeom prst="ellipse">
              <a:avLst/>
            </a:prstGeom>
            <a:solidFill>
              <a:srgbClr val="FFFFFF"/>
            </a:solidFill>
            <a:ln w="25400" cap="flat" cmpd="sng">
              <a:solidFill>
                <a:srgbClr val="B069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55" name="Google Shape;2047;g1389d6804d3_10_0">
              <a:extLst>
                <a:ext uri="{FF2B5EF4-FFF2-40B4-BE49-F238E27FC236}">
                  <a16:creationId xmlns:a16="http://schemas.microsoft.com/office/drawing/2014/main" id="{64A7F970-B860-46BE-B9DA-FCD0CB58C8C7}"/>
                </a:ext>
              </a:extLst>
            </p:cNvPr>
            <p:cNvSpPr/>
            <p:nvPr/>
          </p:nvSpPr>
          <p:spPr>
            <a:xfrm>
              <a:off x="7900299" y="3864981"/>
              <a:ext cx="253200" cy="255900"/>
            </a:xfrm>
            <a:prstGeom prst="ellipse">
              <a:avLst/>
            </a:prstGeom>
            <a:solidFill>
              <a:srgbClr val="FFFFFF"/>
            </a:solidFill>
            <a:ln w="25400" cap="flat" cmpd="sng">
              <a:solidFill>
                <a:srgbClr val="EB8C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56" name="Google Shape;2052;g1389d6804d3_10_0">
              <a:extLst>
                <a:ext uri="{FF2B5EF4-FFF2-40B4-BE49-F238E27FC236}">
                  <a16:creationId xmlns:a16="http://schemas.microsoft.com/office/drawing/2014/main" id="{DF218BD0-28A0-4BF2-B30E-5A42CEF01336}"/>
                </a:ext>
              </a:extLst>
            </p:cNvPr>
            <p:cNvSpPr/>
            <p:nvPr/>
          </p:nvSpPr>
          <p:spPr>
            <a:xfrm>
              <a:off x="6742472"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57" name="Google Shape;2053;g1389d6804d3_10_0">
              <a:extLst>
                <a:ext uri="{FF2B5EF4-FFF2-40B4-BE49-F238E27FC236}">
                  <a16:creationId xmlns:a16="http://schemas.microsoft.com/office/drawing/2014/main" id="{79E12DC9-EA55-460B-82BE-0973862C8881}"/>
                </a:ext>
              </a:extLst>
            </p:cNvPr>
            <p:cNvSpPr/>
            <p:nvPr/>
          </p:nvSpPr>
          <p:spPr>
            <a:xfrm>
              <a:off x="7952348"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58" name="Google Shape;2064;g1389d6804d3_10_0">
              <a:extLst>
                <a:ext uri="{FF2B5EF4-FFF2-40B4-BE49-F238E27FC236}">
                  <a16:creationId xmlns:a16="http://schemas.microsoft.com/office/drawing/2014/main" id="{9F6510F2-44DD-43DF-A94A-3384113D806A}"/>
                </a:ext>
              </a:extLst>
            </p:cNvPr>
            <p:cNvSpPr/>
            <p:nvPr/>
          </p:nvSpPr>
          <p:spPr>
            <a:xfrm>
              <a:off x="6864561" y="4197304"/>
              <a:ext cx="2671604" cy="1406262"/>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1" i="0" strike="noStrike" kern="1200" cap="none" spc="0" normalizeH="0" baseline="0" noProof="0" dirty="0">
                  <a:ln>
                    <a:noFill/>
                  </a:ln>
                  <a:solidFill>
                    <a:srgbClr val="000000"/>
                  </a:solidFill>
                  <a:effectLst/>
                  <a:uLnTx/>
                  <a:uFillTx/>
                  <a:latin typeface="Arial"/>
                  <a:ea typeface="Arial"/>
                  <a:cs typeface="Arial"/>
                  <a:sym typeface="Arial"/>
                </a:rPr>
                <a:t>Field Visit to Kazakhstan, Uzbekistan </a:t>
              </a:r>
              <a:r>
                <a:rPr kumimoji="0" lang="en-US" sz="1100" i="0" strike="noStrike" kern="1200" cap="none" spc="0" normalizeH="0" baseline="0" noProof="0" dirty="0">
                  <a:ln>
                    <a:noFill/>
                  </a:ln>
                  <a:solidFill>
                    <a:srgbClr val="000000"/>
                  </a:solidFill>
                  <a:effectLst/>
                  <a:uLnTx/>
                  <a:uFillTx/>
                  <a:latin typeface="Arial"/>
                  <a:ea typeface="Arial"/>
                  <a:cs typeface="Arial"/>
                  <a:sym typeface="Arial"/>
                </a:rPr>
                <a:t>– meetings with various government stakeholders on findings of background report</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lang="en-US" sz="1100" i="0"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100" dirty="0">
                  <a:solidFill>
                    <a:srgbClr val="000000"/>
                  </a:solidFill>
                  <a:latin typeface="Arial"/>
                  <a:ea typeface="Arial"/>
                  <a:cs typeface="Arial"/>
                  <a:sym typeface="Arial"/>
                </a:rPr>
                <a:t>- Site visit to the potential locations</a:t>
              </a:r>
              <a:endParaRPr kumimoji="0" lang="en-US" sz="1100" i="0"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59" name="Isosceles Triangle 258">
              <a:extLst>
                <a:ext uri="{FF2B5EF4-FFF2-40B4-BE49-F238E27FC236}">
                  <a16:creationId xmlns:a16="http://schemas.microsoft.com/office/drawing/2014/main" id="{F710D888-FA38-4925-B49C-81C5F37EFBB8}"/>
                </a:ext>
              </a:extLst>
            </p:cNvPr>
            <p:cNvSpPr/>
            <p:nvPr/>
          </p:nvSpPr>
          <p:spPr>
            <a:xfrm rot="5400000">
              <a:off x="11823978" y="3935440"/>
              <a:ext cx="275610" cy="120076"/>
            </a:xfrm>
            <a:prstGeom prst="triangle">
              <a:avLst/>
            </a:prstGeom>
            <a:solidFill>
              <a:srgbClr val="C00000"/>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1" name="Google Shape;2073;g1389d6804d3_10_0">
              <a:extLst>
                <a:ext uri="{FF2B5EF4-FFF2-40B4-BE49-F238E27FC236}">
                  <a16:creationId xmlns:a16="http://schemas.microsoft.com/office/drawing/2014/main" id="{128C27AC-2BA1-48EB-AA17-B47E1E3ADD6B}"/>
                </a:ext>
              </a:extLst>
            </p:cNvPr>
            <p:cNvSpPr/>
            <p:nvPr/>
          </p:nvSpPr>
          <p:spPr>
            <a:xfrm>
              <a:off x="318113" y="4197304"/>
              <a:ext cx="850751" cy="201149"/>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1" i="1" u="none" strike="noStrike" kern="1200" cap="none" spc="0" normalizeH="0" baseline="0" noProof="0" dirty="0">
                  <a:ln>
                    <a:noFill/>
                  </a:ln>
                  <a:solidFill>
                    <a:srgbClr val="000000"/>
                  </a:solidFill>
                  <a:effectLst/>
                  <a:uLnTx/>
                  <a:uFillTx/>
                  <a:latin typeface="Arial"/>
                  <a:ea typeface="Arial"/>
                  <a:cs typeface="Arial"/>
                  <a:sym typeface="Arial"/>
                </a:rPr>
                <a:t>Start</a:t>
              </a:r>
            </a:p>
          </p:txBody>
        </p:sp>
        <p:sp>
          <p:nvSpPr>
            <p:cNvPr id="62" name="Google Shape;2073;g1389d6804d3_10_0">
              <a:extLst>
                <a:ext uri="{FF2B5EF4-FFF2-40B4-BE49-F238E27FC236}">
                  <a16:creationId xmlns:a16="http://schemas.microsoft.com/office/drawing/2014/main" id="{A2FC61E2-DECB-4BA8-899C-898DA77CFAFE}"/>
                </a:ext>
              </a:extLst>
            </p:cNvPr>
            <p:cNvSpPr/>
            <p:nvPr/>
          </p:nvSpPr>
          <p:spPr>
            <a:xfrm>
              <a:off x="303657" y="5483185"/>
              <a:ext cx="3865832" cy="194936"/>
            </a:xfrm>
            <a:prstGeom prst="rect">
              <a:avLst/>
            </a:prstGeom>
            <a:noFill/>
            <a:ln>
              <a:noFill/>
            </a:ln>
          </p:spPr>
          <p:txBody>
            <a:bodyPr spcFirstLastPara="1" wrap="square" lIns="91425" tIns="0" rIns="91425" bIns="0" anchor="t" anchorCtr="0">
              <a:noAutofit/>
            </a:bodyPr>
            <a:lstStyle/>
            <a:p>
              <a:pPr>
                <a:buClr>
                  <a:srgbClr val="000000"/>
                </a:buClr>
                <a:buSzPts val="1200"/>
                <a:defRPr/>
              </a:pPr>
              <a:r>
                <a:rPr kumimoji="0" lang="en-US" sz="1050" i="1" u="none" strike="noStrike" kern="1200" cap="none" spc="0" normalizeH="0" baseline="0" noProof="0" dirty="0">
                  <a:ln>
                    <a:noFill/>
                  </a:ln>
                  <a:solidFill>
                    <a:srgbClr val="000000"/>
                  </a:solidFill>
                  <a:effectLst/>
                  <a:uLnTx/>
                  <a:uFillTx/>
                  <a:latin typeface="Arial"/>
                  <a:ea typeface="Arial"/>
                  <a:cs typeface="Arial"/>
                  <a:sym typeface="Arial"/>
                </a:rPr>
                <a:t>*International Center for Trade and Economic Cooperation</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050" i="1" u="none" strike="noStrike" kern="1200" cap="none" spc="0" normalizeH="0" baseline="30000" noProof="0" dirty="0">
                  <a:ln>
                    <a:noFill/>
                  </a:ln>
                  <a:solidFill>
                    <a:srgbClr val="000000"/>
                  </a:solidFill>
                  <a:effectLst/>
                  <a:uLnTx/>
                  <a:uFillTx/>
                  <a:latin typeface="Arial"/>
                  <a:ea typeface="Arial"/>
                  <a:cs typeface="Arial"/>
                  <a:sym typeface="Arial"/>
                </a:rPr>
                <a:t>#</a:t>
              </a:r>
              <a:r>
                <a:rPr kumimoji="0" lang="en-US" sz="1050" i="1" u="none" strike="noStrike" kern="1200" cap="none" spc="0" normalizeH="0" baseline="0" noProof="0" dirty="0">
                  <a:ln>
                    <a:noFill/>
                  </a:ln>
                  <a:solidFill>
                    <a:srgbClr val="000000"/>
                  </a:solidFill>
                  <a:effectLst/>
                  <a:uLnTx/>
                  <a:uFillTx/>
                  <a:latin typeface="Arial"/>
                  <a:ea typeface="Arial"/>
                  <a:cs typeface="Arial"/>
                  <a:sym typeface="Arial"/>
                </a:rPr>
                <a:t>International Center for Industrial Cooperation</a:t>
              </a:r>
            </a:p>
          </p:txBody>
        </p:sp>
      </p:grpSp>
      <p:sp>
        <p:nvSpPr>
          <p:cNvPr id="7" name="Date Placeholder 6">
            <a:extLst>
              <a:ext uri="{FF2B5EF4-FFF2-40B4-BE49-F238E27FC236}">
                <a16:creationId xmlns:a16="http://schemas.microsoft.com/office/drawing/2014/main" id="{DE604613-77F0-4E58-AF20-8ECACBDFD86D}"/>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8" name="Slide Number Placeholder 7">
            <a:extLst>
              <a:ext uri="{FF2B5EF4-FFF2-40B4-BE49-F238E27FC236}">
                <a16:creationId xmlns:a16="http://schemas.microsoft.com/office/drawing/2014/main" id="{41B9F92D-B04E-49C5-A87C-DF7A3E008300}"/>
              </a:ext>
            </a:extLst>
          </p:cNvPr>
          <p:cNvSpPr>
            <a:spLocks noGrp="1"/>
          </p:cNvSpPr>
          <p:nvPr>
            <p:ph type="sldNum" idx="12"/>
          </p:nvPr>
        </p:nvSpPr>
        <p:spPr/>
        <p:txBody>
          <a:bodyPr/>
          <a:lstStyle/>
          <a:p>
            <a:pPr lvl="0"/>
            <a:fld id="{00000000-1234-1234-1234-123412341234}" type="slidenum">
              <a:rPr lang="en-US" smtClean="0"/>
              <a:pPr lvl="0"/>
              <a:t>5</a:t>
            </a:fld>
            <a:endParaRPr lang="en-US"/>
          </a:p>
        </p:txBody>
      </p:sp>
      <p:sp>
        <p:nvSpPr>
          <p:cNvPr id="261" name="Footer Placeholder 11">
            <a:extLst>
              <a:ext uri="{FF2B5EF4-FFF2-40B4-BE49-F238E27FC236}">
                <a16:creationId xmlns:a16="http://schemas.microsoft.com/office/drawing/2014/main" id="{53DCAED6-BCEF-41CC-8EC6-1562EDEDDC82}"/>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spTree>
    <p:custDataLst>
      <p:custData r:id="rId1"/>
    </p:custDataLst>
    <p:extLst>
      <p:ext uri="{BB962C8B-B14F-4D97-AF65-F5344CB8AC3E}">
        <p14:creationId xmlns:p14="http://schemas.microsoft.com/office/powerpoint/2010/main" val="11395913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1802119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pPr marL="0" marR="0" lvl="0" indent="0" defTabSz="899010" fontAlgn="auto">
              <a:lnSpc>
                <a:spcPct val="100000"/>
              </a:lnSpc>
              <a:spcBef>
                <a:spcPts val="0"/>
              </a:spcBef>
              <a:buClr>
                <a:schemeClr val="dk1"/>
              </a:buClr>
              <a:buSzPts val="2400"/>
              <a:tabLst/>
              <a:defRPr/>
            </a:pPr>
            <a:r>
              <a:rPr lang="en-US" sz="2400" b="0" dirty="0">
                <a:latin typeface="Georgia" panose="02040502050405020303" pitchFamily="18" charset="0"/>
                <a:sym typeface="Arial"/>
              </a:rPr>
              <a:t>Stakeholders and Key Inputs</a:t>
            </a:r>
          </a:p>
        </p:txBody>
      </p:sp>
      <p:sp>
        <p:nvSpPr>
          <p:cNvPr id="7" name="Date Placeholder 6">
            <a:extLst>
              <a:ext uri="{FF2B5EF4-FFF2-40B4-BE49-F238E27FC236}">
                <a16:creationId xmlns:a16="http://schemas.microsoft.com/office/drawing/2014/main" id="{DE604613-77F0-4E58-AF20-8ECACBDFD86D}"/>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8" name="Slide Number Placeholder 7">
            <a:extLst>
              <a:ext uri="{FF2B5EF4-FFF2-40B4-BE49-F238E27FC236}">
                <a16:creationId xmlns:a16="http://schemas.microsoft.com/office/drawing/2014/main" id="{41B9F92D-B04E-49C5-A87C-DF7A3E008300}"/>
              </a:ext>
            </a:extLst>
          </p:cNvPr>
          <p:cNvSpPr>
            <a:spLocks noGrp="1"/>
          </p:cNvSpPr>
          <p:nvPr>
            <p:ph type="sldNum" idx="12"/>
          </p:nvPr>
        </p:nvSpPr>
        <p:spPr/>
        <p:txBody>
          <a:bodyPr/>
          <a:lstStyle/>
          <a:p>
            <a:pPr lvl="0"/>
            <a:fld id="{00000000-1234-1234-1234-123412341234}" type="slidenum">
              <a:rPr lang="en-US" smtClean="0"/>
              <a:pPr lvl="0"/>
              <a:t>6</a:t>
            </a:fld>
            <a:endParaRPr lang="en-US"/>
          </a:p>
        </p:txBody>
      </p:sp>
      <p:sp>
        <p:nvSpPr>
          <p:cNvPr id="261" name="Footer Placeholder 11">
            <a:extLst>
              <a:ext uri="{FF2B5EF4-FFF2-40B4-BE49-F238E27FC236}">
                <a16:creationId xmlns:a16="http://schemas.microsoft.com/office/drawing/2014/main" id="{53DCAED6-BCEF-41CC-8EC6-1562EDEDDC82}"/>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grpSp>
        <p:nvGrpSpPr>
          <p:cNvPr id="63" name="Group 62">
            <a:extLst>
              <a:ext uri="{FF2B5EF4-FFF2-40B4-BE49-F238E27FC236}">
                <a16:creationId xmlns:a16="http://schemas.microsoft.com/office/drawing/2014/main" id="{26545C33-3678-4422-8A5A-9536BFAFD7D7}"/>
              </a:ext>
            </a:extLst>
          </p:cNvPr>
          <p:cNvGrpSpPr/>
          <p:nvPr/>
        </p:nvGrpSpPr>
        <p:grpSpPr>
          <a:xfrm>
            <a:off x="114978" y="1136128"/>
            <a:ext cx="11650335" cy="5242148"/>
            <a:chOff x="114978" y="1077136"/>
            <a:chExt cx="11650335" cy="5242148"/>
          </a:xfrm>
        </p:grpSpPr>
        <p:sp>
          <p:nvSpPr>
            <p:cNvPr id="64" name="Rectangle 63">
              <a:extLst>
                <a:ext uri="{FF2B5EF4-FFF2-40B4-BE49-F238E27FC236}">
                  <a16:creationId xmlns:a16="http://schemas.microsoft.com/office/drawing/2014/main" id="{EFFC8B1F-1CA5-422D-936B-7C0FA9793B93}"/>
                </a:ext>
              </a:extLst>
            </p:cNvPr>
            <p:cNvSpPr/>
            <p:nvPr/>
          </p:nvSpPr>
          <p:spPr>
            <a:xfrm>
              <a:off x="222427" y="1190579"/>
              <a:ext cx="11448288" cy="274320"/>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spcAft>
                  <a:spcPts val="900"/>
                </a:spcAft>
                <a:buSzPts val="1100"/>
                <a:defRPr/>
              </a:pPr>
              <a:r>
                <a:rPr lang="en-US" sz="1200" b="1" kern="0">
                  <a:solidFill>
                    <a:srgbClr val="FFFFFF"/>
                  </a:solidFill>
                  <a:latin typeface="Arial" panose="020B0604020202020204" pitchFamily="34" charset="0"/>
                  <a:ea typeface="SimSun" panose="02010600030101010101" pitchFamily="2" charset="-122"/>
                  <a:cs typeface="Times New Roman" panose="02020603050405020304" pitchFamily="18" charset="0"/>
                </a:rPr>
                <a:t>Key Stakeholders</a:t>
              </a:r>
            </a:p>
          </p:txBody>
        </p:sp>
        <p:sp>
          <p:nvSpPr>
            <p:cNvPr id="65" name="Oval 64">
              <a:extLst>
                <a:ext uri="{FF2B5EF4-FFF2-40B4-BE49-F238E27FC236}">
                  <a16:creationId xmlns:a16="http://schemas.microsoft.com/office/drawing/2014/main" id="{13C400CE-AD96-4D28-A9C7-C6E3EAB43553}"/>
                </a:ext>
              </a:extLst>
            </p:cNvPr>
            <p:cNvSpPr/>
            <p:nvPr/>
          </p:nvSpPr>
          <p:spPr>
            <a:xfrm>
              <a:off x="114978" y="1077136"/>
              <a:ext cx="339979" cy="352237"/>
            </a:xfrm>
            <a:prstGeom prst="ellipse">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1</a:t>
              </a:r>
            </a:p>
          </p:txBody>
        </p:sp>
        <p:pic>
          <p:nvPicPr>
            <p:cNvPr id="66" name="Picture 2" descr="upload.wikimedia.org/wikipedia/commons/thumb/d/d3/...">
              <a:extLst>
                <a:ext uri="{FF2B5EF4-FFF2-40B4-BE49-F238E27FC236}">
                  <a16:creationId xmlns:a16="http://schemas.microsoft.com/office/drawing/2014/main" id="{7B0BC3D6-385D-4203-8D4A-D804AD7605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2907" y="1512915"/>
              <a:ext cx="1303004" cy="65150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 descr="upload.wikimedia.org/wikipedia/commons/8/84/Fla...">
              <a:extLst>
                <a:ext uri="{FF2B5EF4-FFF2-40B4-BE49-F238E27FC236}">
                  <a16:creationId xmlns:a16="http://schemas.microsoft.com/office/drawing/2014/main" id="{9E364B40-4A83-4BDF-A85C-7F8737365F9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6750" y="2908223"/>
              <a:ext cx="1298448" cy="649224"/>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20B15267-9FA8-40BA-B2C1-75C493883FD0}"/>
                </a:ext>
              </a:extLst>
            </p:cNvPr>
            <p:cNvSpPr txBox="1"/>
            <p:nvPr/>
          </p:nvSpPr>
          <p:spPr>
            <a:xfrm>
              <a:off x="301733" y="4173737"/>
              <a:ext cx="11447267" cy="276999"/>
            </a:xfrm>
            <a:prstGeom prst="rect">
              <a:avLst/>
            </a:prstGeom>
            <a:solidFill>
              <a:srgbClr val="464646"/>
            </a:solidFill>
          </p:spPr>
          <p:txBody>
            <a:bodyPr wrap="square">
              <a:spAutoFit/>
            </a:bodyPr>
            <a:lstStyle/>
            <a:p>
              <a:pPr marL="0" marR="0" lvl="0" indent="0" algn="ctr" defTabSz="914400" eaLnBrk="1" fontAlgn="auto" latinLnBrk="0" hangingPunct="1">
                <a:lnSpc>
                  <a:spcPct val="100000"/>
                </a:lnSpc>
                <a:spcBef>
                  <a:spcPts val="0"/>
                </a:spcBef>
                <a:spcAft>
                  <a:spcPts val="900"/>
                </a:spcAft>
                <a:buClrTx/>
                <a:buSzPts val="1100"/>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pitchFamily="34" charset="0"/>
                  <a:ea typeface="SimSun" panose="02010600030101010101" pitchFamily="2" charset="-122"/>
                  <a:cs typeface="Times New Roman" panose="02020603050405020304" pitchFamily="18" charset="0"/>
                </a:rPr>
                <a:t>Key inputs</a:t>
              </a:r>
            </a:p>
          </p:txBody>
        </p:sp>
        <p:sp>
          <p:nvSpPr>
            <p:cNvPr id="69" name="Oval 68">
              <a:extLst>
                <a:ext uri="{FF2B5EF4-FFF2-40B4-BE49-F238E27FC236}">
                  <a16:creationId xmlns:a16="http://schemas.microsoft.com/office/drawing/2014/main" id="{14A62FC1-C1CB-4536-8782-28FF4D40B2F3}"/>
                </a:ext>
              </a:extLst>
            </p:cNvPr>
            <p:cNvSpPr/>
            <p:nvPr/>
          </p:nvSpPr>
          <p:spPr>
            <a:xfrm>
              <a:off x="114978" y="4104771"/>
              <a:ext cx="339979" cy="352237"/>
            </a:xfrm>
            <a:prstGeom prst="ellipse">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2</a:t>
              </a:r>
            </a:p>
          </p:txBody>
        </p:sp>
        <p:sp>
          <p:nvSpPr>
            <p:cNvPr id="70" name="TextBox 69">
              <a:extLst>
                <a:ext uri="{FF2B5EF4-FFF2-40B4-BE49-F238E27FC236}">
                  <a16:creationId xmlns:a16="http://schemas.microsoft.com/office/drawing/2014/main" id="{CC11323F-C1BE-4AB1-9B69-0D2CA1183536}"/>
                </a:ext>
              </a:extLst>
            </p:cNvPr>
            <p:cNvSpPr txBox="1"/>
            <p:nvPr/>
          </p:nvSpPr>
          <p:spPr>
            <a:xfrm>
              <a:off x="1722082" y="1672314"/>
              <a:ext cx="1661038" cy="410751"/>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Qaztrade</a:t>
              </a:r>
            </a:p>
          </p:txBody>
        </p:sp>
        <p:sp>
          <p:nvSpPr>
            <p:cNvPr id="71" name="TextBox 70">
              <a:extLst>
                <a:ext uri="{FF2B5EF4-FFF2-40B4-BE49-F238E27FC236}">
                  <a16:creationId xmlns:a16="http://schemas.microsoft.com/office/drawing/2014/main" id="{AF758987-4798-40D8-B251-5B963EBBE327}"/>
                </a:ext>
              </a:extLst>
            </p:cNvPr>
            <p:cNvSpPr txBox="1"/>
            <p:nvPr/>
          </p:nvSpPr>
          <p:spPr>
            <a:xfrm>
              <a:off x="3559291" y="1666072"/>
              <a:ext cx="2432529" cy="416993"/>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Ministry of Investment and Infrastructure Development</a:t>
              </a:r>
            </a:p>
          </p:txBody>
        </p:sp>
        <p:sp>
          <p:nvSpPr>
            <p:cNvPr id="72" name="TextBox 71">
              <a:extLst>
                <a:ext uri="{FF2B5EF4-FFF2-40B4-BE49-F238E27FC236}">
                  <a16:creationId xmlns:a16="http://schemas.microsoft.com/office/drawing/2014/main" id="{F4298528-50D7-4E27-B4CA-54A25B491711}"/>
                </a:ext>
              </a:extLst>
            </p:cNvPr>
            <p:cNvSpPr txBox="1"/>
            <p:nvPr/>
          </p:nvSpPr>
          <p:spPr>
            <a:xfrm>
              <a:off x="6167991" y="1672314"/>
              <a:ext cx="1614802" cy="410751"/>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ATAMAKEN</a:t>
              </a:r>
            </a:p>
          </p:txBody>
        </p:sp>
        <p:sp>
          <p:nvSpPr>
            <p:cNvPr id="73" name="TextBox 72">
              <a:extLst>
                <a:ext uri="{FF2B5EF4-FFF2-40B4-BE49-F238E27FC236}">
                  <a16:creationId xmlns:a16="http://schemas.microsoft.com/office/drawing/2014/main" id="{215F966A-938E-41C5-BA4C-B792488FE10B}"/>
                </a:ext>
              </a:extLst>
            </p:cNvPr>
            <p:cNvSpPr txBox="1"/>
            <p:nvPr/>
          </p:nvSpPr>
          <p:spPr>
            <a:xfrm>
              <a:off x="7958964" y="1672314"/>
              <a:ext cx="1849084" cy="410751"/>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Ministry of Trade and Integration</a:t>
              </a:r>
            </a:p>
          </p:txBody>
        </p:sp>
        <p:sp>
          <p:nvSpPr>
            <p:cNvPr id="74" name="TextBox 73">
              <a:extLst>
                <a:ext uri="{FF2B5EF4-FFF2-40B4-BE49-F238E27FC236}">
                  <a16:creationId xmlns:a16="http://schemas.microsoft.com/office/drawing/2014/main" id="{F6DAD87E-9882-4546-8FDA-C06A0EEA5D73}"/>
                </a:ext>
              </a:extLst>
            </p:cNvPr>
            <p:cNvSpPr txBox="1"/>
            <p:nvPr/>
          </p:nvSpPr>
          <p:spPr>
            <a:xfrm>
              <a:off x="9984218" y="1672314"/>
              <a:ext cx="1686497" cy="410751"/>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Shymkent City </a:t>
              </a:r>
              <a:r>
                <a:rPr lang="en-GB" sz="1200" kern="0" err="1">
                  <a:solidFill>
                    <a:srgbClr val="000000"/>
                  </a:solidFill>
                  <a:latin typeface="Arial"/>
                </a:rPr>
                <a:t>Akimats</a:t>
              </a:r>
              <a:endParaRPr lang="en-GB" sz="1200" kern="0">
                <a:solidFill>
                  <a:srgbClr val="000000"/>
                </a:solidFill>
                <a:latin typeface="Arial"/>
              </a:endParaRPr>
            </a:p>
          </p:txBody>
        </p:sp>
        <p:grpSp>
          <p:nvGrpSpPr>
            <p:cNvPr id="75" name="Group 74">
              <a:extLst>
                <a:ext uri="{FF2B5EF4-FFF2-40B4-BE49-F238E27FC236}">
                  <a16:creationId xmlns:a16="http://schemas.microsoft.com/office/drawing/2014/main" id="{A731AA92-1013-42B5-89AE-EEC6910E058D}"/>
                </a:ext>
              </a:extLst>
            </p:cNvPr>
            <p:cNvGrpSpPr/>
            <p:nvPr/>
          </p:nvGrpSpPr>
          <p:grpSpPr>
            <a:xfrm>
              <a:off x="256750" y="2256286"/>
              <a:ext cx="11413964" cy="426940"/>
              <a:chOff x="256750" y="3022326"/>
              <a:chExt cx="8720292" cy="556449"/>
            </a:xfrm>
          </p:grpSpPr>
          <p:sp>
            <p:nvSpPr>
              <p:cNvPr id="103" name="TextBox 102">
                <a:extLst>
                  <a:ext uri="{FF2B5EF4-FFF2-40B4-BE49-F238E27FC236}">
                    <a16:creationId xmlns:a16="http://schemas.microsoft.com/office/drawing/2014/main" id="{3CA3118F-F9EE-47FB-B5C7-C180C9DD9E62}"/>
                  </a:ext>
                </a:extLst>
              </p:cNvPr>
              <p:cNvSpPr txBox="1"/>
              <p:nvPr/>
            </p:nvSpPr>
            <p:spPr>
              <a:xfrm>
                <a:off x="7564338" y="3043426"/>
                <a:ext cx="1412704" cy="535349"/>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Turkestan Region </a:t>
                </a:r>
                <a:r>
                  <a:rPr lang="en-GB" sz="1200" kern="0" err="1">
                    <a:solidFill>
                      <a:srgbClr val="000000"/>
                    </a:solidFill>
                    <a:latin typeface="Arial"/>
                  </a:rPr>
                  <a:t>Akimats</a:t>
                </a:r>
                <a:endParaRPr lang="en-GB" sz="1200" kern="0">
                  <a:solidFill>
                    <a:srgbClr val="000000"/>
                  </a:solidFill>
                  <a:latin typeface="Arial"/>
                </a:endParaRPr>
              </a:p>
            </p:txBody>
          </p:sp>
          <p:sp>
            <p:nvSpPr>
              <p:cNvPr id="104" name="TextBox 103">
                <a:extLst>
                  <a:ext uri="{FF2B5EF4-FFF2-40B4-BE49-F238E27FC236}">
                    <a16:creationId xmlns:a16="http://schemas.microsoft.com/office/drawing/2014/main" id="{F5A27527-3963-45A4-9977-7BDBEE160C11}"/>
                  </a:ext>
                </a:extLst>
              </p:cNvPr>
              <p:cNvSpPr txBox="1"/>
              <p:nvPr/>
            </p:nvSpPr>
            <p:spPr>
              <a:xfrm>
                <a:off x="5812963" y="3034676"/>
                <a:ext cx="1412704" cy="544099"/>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State Revenue Committee</a:t>
                </a:r>
              </a:p>
            </p:txBody>
          </p:sp>
          <p:sp>
            <p:nvSpPr>
              <p:cNvPr id="105" name="TextBox 104">
                <a:extLst>
                  <a:ext uri="{FF2B5EF4-FFF2-40B4-BE49-F238E27FC236}">
                    <a16:creationId xmlns:a16="http://schemas.microsoft.com/office/drawing/2014/main" id="{1AA34A84-BFF0-4DCA-9381-D17AEDC6C580}"/>
                  </a:ext>
                </a:extLst>
              </p:cNvPr>
              <p:cNvSpPr txBox="1"/>
              <p:nvPr/>
            </p:nvSpPr>
            <p:spPr>
              <a:xfrm>
                <a:off x="4061587" y="3025760"/>
                <a:ext cx="1412704" cy="543070"/>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US" sz="1200" kern="0" err="1">
                    <a:solidFill>
                      <a:srgbClr val="000000"/>
                    </a:solidFill>
                    <a:latin typeface="Arial"/>
                  </a:rPr>
                  <a:t>Tassay</a:t>
                </a:r>
                <a:r>
                  <a:rPr lang="en-US" sz="1200" kern="0">
                    <a:solidFill>
                      <a:srgbClr val="000000"/>
                    </a:solidFill>
                    <a:latin typeface="Arial"/>
                  </a:rPr>
                  <a:t> and </a:t>
                </a:r>
                <a:r>
                  <a:rPr lang="en-US" sz="1200" kern="0" err="1">
                    <a:solidFill>
                      <a:srgbClr val="000000"/>
                    </a:solidFill>
                    <a:latin typeface="Arial"/>
                  </a:rPr>
                  <a:t>Zhuldyz</a:t>
                </a:r>
                <a:r>
                  <a:rPr lang="en-US" sz="1200" kern="0">
                    <a:solidFill>
                      <a:srgbClr val="000000"/>
                    </a:solidFill>
                    <a:latin typeface="Arial"/>
                  </a:rPr>
                  <a:t> Industrial Zones</a:t>
                </a:r>
                <a:endParaRPr lang="en-GB" sz="1200" kern="0">
                  <a:solidFill>
                    <a:srgbClr val="000000"/>
                  </a:solidFill>
                  <a:latin typeface="Arial"/>
                </a:endParaRPr>
              </a:p>
            </p:txBody>
          </p:sp>
          <p:sp>
            <p:nvSpPr>
              <p:cNvPr id="106" name="TextBox 105">
                <a:extLst>
                  <a:ext uri="{FF2B5EF4-FFF2-40B4-BE49-F238E27FC236}">
                    <a16:creationId xmlns:a16="http://schemas.microsoft.com/office/drawing/2014/main" id="{4BABC6EE-CE91-4856-8161-0B4303D46409}"/>
                  </a:ext>
                </a:extLst>
              </p:cNvPr>
              <p:cNvSpPr txBox="1"/>
              <p:nvPr/>
            </p:nvSpPr>
            <p:spPr>
              <a:xfrm>
                <a:off x="256750" y="3023524"/>
                <a:ext cx="1269036" cy="535349"/>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Ministry of Agriculture</a:t>
                </a:r>
              </a:p>
            </p:txBody>
          </p:sp>
          <p:sp>
            <p:nvSpPr>
              <p:cNvPr id="107" name="TextBox 106">
                <a:extLst>
                  <a:ext uri="{FF2B5EF4-FFF2-40B4-BE49-F238E27FC236}">
                    <a16:creationId xmlns:a16="http://schemas.microsoft.com/office/drawing/2014/main" id="{628B6386-36E0-43F7-9CAF-467DCDE8CE4C}"/>
                  </a:ext>
                </a:extLst>
              </p:cNvPr>
              <p:cNvSpPr txBox="1"/>
              <p:nvPr/>
            </p:nvSpPr>
            <p:spPr>
              <a:xfrm>
                <a:off x="1864458" y="3022326"/>
                <a:ext cx="1858457" cy="543485"/>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US" sz="1200" kern="0">
                    <a:solidFill>
                      <a:srgbClr val="000000"/>
                    </a:solidFill>
                    <a:latin typeface="Arial"/>
                  </a:rPr>
                  <a:t>Border Service of the National Security Committee</a:t>
                </a:r>
                <a:endParaRPr lang="en-GB" sz="1200" kern="0">
                  <a:solidFill>
                    <a:srgbClr val="000000"/>
                  </a:solidFill>
                  <a:latin typeface="Arial"/>
                </a:endParaRPr>
              </a:p>
            </p:txBody>
          </p:sp>
        </p:grpSp>
        <p:sp>
          <p:nvSpPr>
            <p:cNvPr id="76" name="TextBox 75">
              <a:extLst>
                <a:ext uri="{FF2B5EF4-FFF2-40B4-BE49-F238E27FC236}">
                  <a16:creationId xmlns:a16="http://schemas.microsoft.com/office/drawing/2014/main" id="{BF46172E-C145-4EB7-B267-35AB4CC60D4F}"/>
                </a:ext>
              </a:extLst>
            </p:cNvPr>
            <p:cNvSpPr txBox="1"/>
            <p:nvPr/>
          </p:nvSpPr>
          <p:spPr>
            <a:xfrm>
              <a:off x="1882520" y="3022523"/>
              <a:ext cx="1298447" cy="42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Ministry of Transport</a:t>
              </a:r>
            </a:p>
          </p:txBody>
        </p:sp>
        <p:sp>
          <p:nvSpPr>
            <p:cNvPr id="77" name="TextBox 76">
              <a:extLst>
                <a:ext uri="{FF2B5EF4-FFF2-40B4-BE49-F238E27FC236}">
                  <a16:creationId xmlns:a16="http://schemas.microsoft.com/office/drawing/2014/main" id="{402BD147-776E-4945-86B5-283B7FD22840}"/>
                </a:ext>
              </a:extLst>
            </p:cNvPr>
            <p:cNvSpPr txBox="1"/>
            <p:nvPr/>
          </p:nvSpPr>
          <p:spPr>
            <a:xfrm>
              <a:off x="3508289" y="3022523"/>
              <a:ext cx="2183983" cy="42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err="1">
                  <a:solidFill>
                    <a:srgbClr val="000000"/>
                  </a:solidFill>
                  <a:latin typeface="Arial"/>
                </a:rPr>
                <a:t>Farovon</a:t>
              </a:r>
              <a:r>
                <a:rPr lang="en-GB" sz="1200" kern="0">
                  <a:solidFill>
                    <a:srgbClr val="000000"/>
                  </a:solidFill>
                  <a:latin typeface="Arial"/>
                </a:rPr>
                <a:t> </a:t>
              </a:r>
              <a:r>
                <a:rPr lang="en-GB" sz="1200" kern="0" err="1">
                  <a:solidFill>
                    <a:srgbClr val="000000"/>
                  </a:solidFill>
                  <a:latin typeface="Arial"/>
                </a:rPr>
                <a:t>Hayot</a:t>
              </a:r>
              <a:r>
                <a:rPr lang="en-GB" sz="1200" kern="0">
                  <a:solidFill>
                    <a:srgbClr val="000000"/>
                  </a:solidFill>
                  <a:latin typeface="Arial"/>
                </a:rPr>
                <a:t> LLC Logistics centre, Tashkent</a:t>
              </a:r>
            </a:p>
          </p:txBody>
        </p:sp>
        <p:sp>
          <p:nvSpPr>
            <p:cNvPr id="78" name="TextBox 77">
              <a:extLst>
                <a:ext uri="{FF2B5EF4-FFF2-40B4-BE49-F238E27FC236}">
                  <a16:creationId xmlns:a16="http://schemas.microsoft.com/office/drawing/2014/main" id="{B07DB4E3-C252-4C35-82D7-E5A6F6C27B35}"/>
                </a:ext>
              </a:extLst>
            </p:cNvPr>
            <p:cNvSpPr txBox="1"/>
            <p:nvPr/>
          </p:nvSpPr>
          <p:spPr>
            <a:xfrm>
              <a:off x="6019594" y="3022523"/>
              <a:ext cx="1362033" cy="42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Ministry of Agriculture</a:t>
              </a:r>
            </a:p>
          </p:txBody>
        </p:sp>
        <p:sp>
          <p:nvSpPr>
            <p:cNvPr id="79" name="TextBox 78">
              <a:extLst>
                <a:ext uri="{FF2B5EF4-FFF2-40B4-BE49-F238E27FC236}">
                  <a16:creationId xmlns:a16="http://schemas.microsoft.com/office/drawing/2014/main" id="{46167687-1DB7-4427-8D7F-675607455E28}"/>
                </a:ext>
              </a:extLst>
            </p:cNvPr>
            <p:cNvSpPr txBox="1"/>
            <p:nvPr/>
          </p:nvSpPr>
          <p:spPr>
            <a:xfrm>
              <a:off x="7708949" y="3022523"/>
              <a:ext cx="1608458" cy="42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a:solidFill>
                    <a:srgbClr val="000000"/>
                  </a:solidFill>
                  <a:latin typeface="Arial"/>
                </a:rPr>
                <a:t>State Customs Committee</a:t>
              </a:r>
            </a:p>
          </p:txBody>
        </p:sp>
        <p:sp>
          <p:nvSpPr>
            <p:cNvPr id="80" name="TextBox 79">
              <a:extLst>
                <a:ext uri="{FF2B5EF4-FFF2-40B4-BE49-F238E27FC236}">
                  <a16:creationId xmlns:a16="http://schemas.microsoft.com/office/drawing/2014/main" id="{F7648832-A0B4-4863-89F7-9773E2127E31}"/>
                </a:ext>
              </a:extLst>
            </p:cNvPr>
            <p:cNvSpPr txBox="1"/>
            <p:nvPr/>
          </p:nvSpPr>
          <p:spPr>
            <a:xfrm>
              <a:off x="9644731" y="3022523"/>
              <a:ext cx="2025983" cy="42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US" sz="1200" kern="0">
                  <a:solidFill>
                    <a:srgbClr val="000000"/>
                  </a:solidFill>
                  <a:latin typeface="Arial"/>
                </a:rPr>
                <a:t>Chamber of Commerce and Industry</a:t>
              </a:r>
              <a:endParaRPr lang="en-GB" sz="1200" kern="0">
                <a:solidFill>
                  <a:srgbClr val="000000"/>
                </a:solidFill>
                <a:latin typeface="Arial"/>
              </a:endParaRPr>
            </a:p>
          </p:txBody>
        </p:sp>
        <p:grpSp>
          <p:nvGrpSpPr>
            <p:cNvPr id="81" name="Group 80">
              <a:extLst>
                <a:ext uri="{FF2B5EF4-FFF2-40B4-BE49-F238E27FC236}">
                  <a16:creationId xmlns:a16="http://schemas.microsoft.com/office/drawing/2014/main" id="{8785B92D-4B3B-4071-9D1A-D6D035B12EF5}"/>
                </a:ext>
              </a:extLst>
            </p:cNvPr>
            <p:cNvGrpSpPr/>
            <p:nvPr/>
          </p:nvGrpSpPr>
          <p:grpSpPr>
            <a:xfrm>
              <a:off x="256750" y="3654125"/>
              <a:ext cx="11413964" cy="422436"/>
              <a:chOff x="256750" y="4654791"/>
              <a:chExt cx="11413964" cy="422436"/>
            </a:xfrm>
          </p:grpSpPr>
          <p:sp>
            <p:nvSpPr>
              <p:cNvPr id="99" name="TextBox 98">
                <a:extLst>
                  <a:ext uri="{FF2B5EF4-FFF2-40B4-BE49-F238E27FC236}">
                    <a16:creationId xmlns:a16="http://schemas.microsoft.com/office/drawing/2014/main" id="{7973BFFB-DF73-4082-A371-BCF2C642C4C5}"/>
                  </a:ext>
                </a:extLst>
              </p:cNvPr>
              <p:cNvSpPr txBox="1"/>
              <p:nvPr/>
            </p:nvSpPr>
            <p:spPr>
              <a:xfrm>
                <a:off x="256750" y="4655405"/>
                <a:ext cx="4358820" cy="42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US" sz="1200" kern="0" dirty="0">
                    <a:solidFill>
                      <a:srgbClr val="000000"/>
                    </a:solidFill>
                    <a:latin typeface="Arial"/>
                  </a:rPr>
                  <a:t>Sanitary Epidemiological Service (SES), Ministry of Health and Agency for Plant Quarantine and Protection</a:t>
                </a:r>
                <a:endParaRPr lang="en-GB" sz="1200" kern="0" dirty="0">
                  <a:solidFill>
                    <a:srgbClr val="000000"/>
                  </a:solidFill>
                  <a:latin typeface="Arial"/>
                </a:endParaRPr>
              </a:p>
            </p:txBody>
          </p:sp>
          <p:sp>
            <p:nvSpPr>
              <p:cNvPr id="100" name="TextBox 99">
                <a:extLst>
                  <a:ext uri="{FF2B5EF4-FFF2-40B4-BE49-F238E27FC236}">
                    <a16:creationId xmlns:a16="http://schemas.microsoft.com/office/drawing/2014/main" id="{F4E39888-0D22-414C-B2BA-81AAFC284829}"/>
                  </a:ext>
                </a:extLst>
              </p:cNvPr>
              <p:cNvSpPr txBox="1"/>
              <p:nvPr/>
            </p:nvSpPr>
            <p:spPr>
              <a:xfrm>
                <a:off x="4847555" y="4656603"/>
                <a:ext cx="1939857" cy="42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US" sz="1200" kern="0" dirty="0">
                    <a:solidFill>
                      <a:srgbClr val="000000"/>
                    </a:solidFill>
                    <a:latin typeface="Arial"/>
                  </a:rPr>
                  <a:t>Ministry of Investments and Foreign Trade</a:t>
                </a:r>
                <a:endParaRPr lang="en-GB" sz="1200" kern="0" dirty="0">
                  <a:solidFill>
                    <a:srgbClr val="000000"/>
                  </a:solidFill>
                  <a:latin typeface="Arial"/>
                </a:endParaRPr>
              </a:p>
            </p:txBody>
          </p:sp>
          <p:sp>
            <p:nvSpPr>
              <p:cNvPr id="101" name="TextBox 100">
                <a:extLst>
                  <a:ext uri="{FF2B5EF4-FFF2-40B4-BE49-F238E27FC236}">
                    <a16:creationId xmlns:a16="http://schemas.microsoft.com/office/drawing/2014/main" id="{FFFAD1D0-6FC9-445D-9443-B135D76598C5}"/>
                  </a:ext>
                </a:extLst>
              </p:cNvPr>
              <p:cNvSpPr txBox="1"/>
              <p:nvPr/>
            </p:nvSpPr>
            <p:spPr>
              <a:xfrm>
                <a:off x="7019397" y="4654791"/>
                <a:ext cx="1412704" cy="42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200" kern="0" dirty="0" err="1">
                    <a:solidFill>
                      <a:srgbClr val="000000"/>
                    </a:solidFill>
                    <a:latin typeface="Arial"/>
                  </a:rPr>
                  <a:t>Hokimat</a:t>
                </a:r>
                <a:r>
                  <a:rPr lang="en-GB" sz="1200" kern="0" dirty="0">
                    <a:solidFill>
                      <a:srgbClr val="000000"/>
                    </a:solidFill>
                    <a:latin typeface="Arial"/>
                  </a:rPr>
                  <a:t> of Tashkent Oblast</a:t>
                </a:r>
              </a:p>
            </p:txBody>
          </p:sp>
          <p:sp>
            <p:nvSpPr>
              <p:cNvPr id="102" name="TextBox 101">
                <a:extLst>
                  <a:ext uri="{FF2B5EF4-FFF2-40B4-BE49-F238E27FC236}">
                    <a16:creationId xmlns:a16="http://schemas.microsoft.com/office/drawing/2014/main" id="{656CB83B-461B-493C-AFCF-579636923AB2}"/>
                  </a:ext>
                </a:extLst>
              </p:cNvPr>
              <p:cNvSpPr txBox="1"/>
              <p:nvPr/>
            </p:nvSpPr>
            <p:spPr>
              <a:xfrm>
                <a:off x="8664086" y="4655820"/>
                <a:ext cx="3006628" cy="42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US" sz="1200" kern="0" dirty="0">
                    <a:solidFill>
                      <a:srgbClr val="000000"/>
                    </a:solidFill>
                    <a:latin typeface="Arial"/>
                  </a:rPr>
                  <a:t>The Uzbek Agency for Standardization, Metrology and Certification</a:t>
                </a:r>
                <a:endParaRPr lang="en-GB" sz="1200" kern="0" dirty="0">
                  <a:solidFill>
                    <a:srgbClr val="000000"/>
                  </a:solidFill>
                  <a:latin typeface="Arial"/>
                </a:endParaRPr>
              </a:p>
            </p:txBody>
          </p:sp>
        </p:grpSp>
        <p:cxnSp>
          <p:nvCxnSpPr>
            <p:cNvPr id="82" name="Straight Connector 81">
              <a:extLst>
                <a:ext uri="{FF2B5EF4-FFF2-40B4-BE49-F238E27FC236}">
                  <a16:creationId xmlns:a16="http://schemas.microsoft.com/office/drawing/2014/main" id="{B21B7780-4AC2-4519-B3F3-C5B5D2C7CDBF}"/>
                </a:ext>
              </a:extLst>
            </p:cNvPr>
            <p:cNvCxnSpPr/>
            <p:nvPr/>
          </p:nvCxnSpPr>
          <p:spPr>
            <a:xfrm>
              <a:off x="256750" y="2821860"/>
              <a:ext cx="11492250" cy="0"/>
            </a:xfrm>
            <a:prstGeom prst="line">
              <a:avLst/>
            </a:prstGeom>
            <a:ln w="12700" cap="sq"/>
          </p:spPr>
          <p:style>
            <a:lnRef idx="1">
              <a:schemeClr val="accent1"/>
            </a:lnRef>
            <a:fillRef idx="0">
              <a:schemeClr val="accent1"/>
            </a:fillRef>
            <a:effectRef idx="0">
              <a:schemeClr val="dk1"/>
            </a:effectRef>
            <a:fontRef idx="minor">
              <a:schemeClr val="lt1"/>
            </a:fontRef>
          </p:style>
        </p:cxnSp>
        <p:grpSp>
          <p:nvGrpSpPr>
            <p:cNvPr id="83" name="Group 82">
              <a:extLst>
                <a:ext uri="{FF2B5EF4-FFF2-40B4-BE49-F238E27FC236}">
                  <a16:creationId xmlns:a16="http://schemas.microsoft.com/office/drawing/2014/main" id="{599CFF65-E002-4DCB-A2EE-815DD02A2628}"/>
                </a:ext>
              </a:extLst>
            </p:cNvPr>
            <p:cNvGrpSpPr/>
            <p:nvPr/>
          </p:nvGrpSpPr>
          <p:grpSpPr>
            <a:xfrm>
              <a:off x="459212" y="4928078"/>
              <a:ext cx="420624" cy="420624"/>
              <a:chOff x="459212" y="2205706"/>
              <a:chExt cx="557100" cy="557100"/>
            </a:xfrm>
          </p:grpSpPr>
          <p:sp>
            <p:nvSpPr>
              <p:cNvPr id="97" name="Google Shape;2088;g1389d6804d3_10_89">
                <a:extLst>
                  <a:ext uri="{FF2B5EF4-FFF2-40B4-BE49-F238E27FC236}">
                    <a16:creationId xmlns:a16="http://schemas.microsoft.com/office/drawing/2014/main" id="{FA5511A8-5189-43EB-82BD-A4CC7953063B}"/>
                  </a:ext>
                </a:extLst>
              </p:cNvPr>
              <p:cNvSpPr/>
              <p:nvPr/>
            </p:nvSpPr>
            <p:spPr>
              <a:xfrm>
                <a:off x="459212" y="2205706"/>
                <a:ext cx="557100" cy="557100"/>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98" name="Graphic 97" descr="Bar graph with upward trend with solid fill">
                <a:extLst>
                  <a:ext uri="{FF2B5EF4-FFF2-40B4-BE49-F238E27FC236}">
                    <a16:creationId xmlns:a16="http://schemas.microsoft.com/office/drawing/2014/main" id="{A1CB4197-E948-4AF2-9AAB-178C6B09C9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331" y="2322333"/>
                <a:ext cx="346700" cy="346700"/>
              </a:xfrm>
              <a:prstGeom prst="rect">
                <a:avLst/>
              </a:prstGeom>
            </p:spPr>
          </p:pic>
        </p:grpSp>
        <p:grpSp>
          <p:nvGrpSpPr>
            <p:cNvPr id="84" name="Group 83">
              <a:extLst>
                <a:ext uri="{FF2B5EF4-FFF2-40B4-BE49-F238E27FC236}">
                  <a16:creationId xmlns:a16="http://schemas.microsoft.com/office/drawing/2014/main" id="{99029405-4ADB-4C30-830E-497A47F06B79}"/>
                </a:ext>
              </a:extLst>
            </p:cNvPr>
            <p:cNvGrpSpPr/>
            <p:nvPr/>
          </p:nvGrpSpPr>
          <p:grpSpPr>
            <a:xfrm>
              <a:off x="459212" y="4442787"/>
              <a:ext cx="420624" cy="420624"/>
              <a:chOff x="586838" y="3429000"/>
              <a:chExt cx="557100" cy="557100"/>
            </a:xfrm>
          </p:grpSpPr>
          <p:sp>
            <p:nvSpPr>
              <p:cNvPr id="95" name="Google Shape;2088;g1389d6804d3_10_89">
                <a:extLst>
                  <a:ext uri="{FF2B5EF4-FFF2-40B4-BE49-F238E27FC236}">
                    <a16:creationId xmlns:a16="http://schemas.microsoft.com/office/drawing/2014/main" id="{B2D90F8A-AB57-4C07-A1F8-2B12C39A7E58}"/>
                  </a:ext>
                </a:extLst>
              </p:cNvPr>
              <p:cNvSpPr/>
              <p:nvPr/>
            </p:nvSpPr>
            <p:spPr>
              <a:xfrm>
                <a:off x="586838" y="3429000"/>
                <a:ext cx="557100" cy="557100"/>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96" name="Google Shape;2104;g1389d6804d3_10_89">
                <a:extLst>
                  <a:ext uri="{FF2B5EF4-FFF2-40B4-BE49-F238E27FC236}">
                    <a16:creationId xmlns:a16="http://schemas.microsoft.com/office/drawing/2014/main" id="{3CFD6617-6304-4560-916F-5D86C98B500C}"/>
                  </a:ext>
                </a:extLst>
              </p:cNvPr>
              <p:cNvPicPr preferRelativeResize="0"/>
              <p:nvPr/>
            </p:nvPicPr>
            <p:blipFill rotWithShape="1">
              <a:blip r:embed="rId11">
                <a:alphaModFix/>
              </a:blip>
              <a:srcRect/>
              <a:stretch/>
            </p:blipFill>
            <p:spPr>
              <a:xfrm>
                <a:off x="659387" y="3518311"/>
                <a:ext cx="391841" cy="391841"/>
              </a:xfrm>
              <a:prstGeom prst="rect">
                <a:avLst/>
              </a:prstGeom>
              <a:noFill/>
              <a:ln>
                <a:noFill/>
              </a:ln>
            </p:spPr>
          </p:pic>
        </p:grpSp>
        <p:grpSp>
          <p:nvGrpSpPr>
            <p:cNvPr id="85" name="Group 84">
              <a:extLst>
                <a:ext uri="{FF2B5EF4-FFF2-40B4-BE49-F238E27FC236}">
                  <a16:creationId xmlns:a16="http://schemas.microsoft.com/office/drawing/2014/main" id="{F095ED8F-7D48-40BF-A7FC-9F1411E7B8A2}"/>
                </a:ext>
              </a:extLst>
            </p:cNvPr>
            <p:cNvGrpSpPr/>
            <p:nvPr/>
          </p:nvGrpSpPr>
          <p:grpSpPr>
            <a:xfrm>
              <a:off x="459212" y="5413369"/>
              <a:ext cx="420624" cy="420624"/>
              <a:chOff x="459212" y="3232595"/>
              <a:chExt cx="557100" cy="557100"/>
            </a:xfrm>
          </p:grpSpPr>
          <p:sp>
            <p:nvSpPr>
              <p:cNvPr id="93" name="Google Shape;2088;g1389d6804d3_10_89">
                <a:extLst>
                  <a:ext uri="{FF2B5EF4-FFF2-40B4-BE49-F238E27FC236}">
                    <a16:creationId xmlns:a16="http://schemas.microsoft.com/office/drawing/2014/main" id="{5CD187C8-C5B0-4E07-9F98-539B7B83BD7E}"/>
                  </a:ext>
                </a:extLst>
              </p:cNvPr>
              <p:cNvSpPr/>
              <p:nvPr/>
            </p:nvSpPr>
            <p:spPr>
              <a:xfrm>
                <a:off x="459212" y="3232595"/>
                <a:ext cx="557100" cy="557100"/>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94" name="Graphic 93" descr="Internet with solid fill">
                <a:extLst>
                  <a:ext uri="{FF2B5EF4-FFF2-40B4-BE49-F238E27FC236}">
                    <a16:creationId xmlns:a16="http://schemas.microsoft.com/office/drawing/2014/main" id="{B8DB778F-6E1A-4250-B1CA-A7B39A35584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4835" y="3291055"/>
                <a:ext cx="440180" cy="440180"/>
              </a:xfrm>
              <a:prstGeom prst="rect">
                <a:avLst/>
              </a:prstGeom>
            </p:spPr>
          </p:pic>
        </p:grpSp>
        <p:grpSp>
          <p:nvGrpSpPr>
            <p:cNvPr id="86" name="Group 85">
              <a:extLst>
                <a:ext uri="{FF2B5EF4-FFF2-40B4-BE49-F238E27FC236}">
                  <a16:creationId xmlns:a16="http://schemas.microsoft.com/office/drawing/2014/main" id="{258E2B12-9B35-42F8-933E-143039B3BD90}"/>
                </a:ext>
              </a:extLst>
            </p:cNvPr>
            <p:cNvGrpSpPr/>
            <p:nvPr/>
          </p:nvGrpSpPr>
          <p:grpSpPr>
            <a:xfrm>
              <a:off x="459212" y="5898660"/>
              <a:ext cx="420624" cy="420624"/>
              <a:chOff x="459212" y="5745971"/>
              <a:chExt cx="420624" cy="420624"/>
            </a:xfrm>
          </p:grpSpPr>
          <p:sp>
            <p:nvSpPr>
              <p:cNvPr id="91" name="Google Shape;2088;g1389d6804d3_10_89">
                <a:extLst>
                  <a:ext uri="{FF2B5EF4-FFF2-40B4-BE49-F238E27FC236}">
                    <a16:creationId xmlns:a16="http://schemas.microsoft.com/office/drawing/2014/main" id="{FCC75565-1CB3-499B-80D2-7E01C5F03BA4}"/>
                  </a:ext>
                </a:extLst>
              </p:cNvPr>
              <p:cNvSpPr/>
              <p:nvPr/>
            </p:nvSpPr>
            <p:spPr>
              <a:xfrm>
                <a:off x="459212" y="5745971"/>
                <a:ext cx="420624" cy="420624"/>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92" name="Graphic 91" descr="Business Growth outline">
                <a:extLst>
                  <a:ext uri="{FF2B5EF4-FFF2-40B4-BE49-F238E27FC236}">
                    <a16:creationId xmlns:a16="http://schemas.microsoft.com/office/drawing/2014/main" id="{1ACD7240-9BAA-48CB-B7DD-41D006037B9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57368" y="5806590"/>
                <a:ext cx="279668" cy="279668"/>
              </a:xfrm>
              <a:prstGeom prst="rect">
                <a:avLst/>
              </a:prstGeom>
            </p:spPr>
          </p:pic>
        </p:grpSp>
        <p:sp>
          <p:nvSpPr>
            <p:cNvPr id="87" name="Google Shape;2097;g1389d6804d3_10_89">
              <a:extLst>
                <a:ext uri="{FF2B5EF4-FFF2-40B4-BE49-F238E27FC236}">
                  <a16:creationId xmlns:a16="http://schemas.microsoft.com/office/drawing/2014/main" id="{A432A4D3-0D5E-438A-B451-FAF6AABF5A22}"/>
                </a:ext>
              </a:extLst>
            </p:cNvPr>
            <p:cNvSpPr/>
            <p:nvPr/>
          </p:nvSpPr>
          <p:spPr>
            <a:xfrm>
              <a:off x="1064281" y="4509923"/>
              <a:ext cx="10701031" cy="353488"/>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GB" sz="1300" b="0" i="0" u="none" strike="noStrike" kern="1200" cap="none" spc="0" normalizeH="0" baseline="0" noProof="0" dirty="0">
                  <a:ln>
                    <a:noFill/>
                  </a:ln>
                  <a:solidFill>
                    <a:srgbClr val="000000"/>
                  </a:solidFill>
                  <a:effectLst/>
                  <a:uLnTx/>
                  <a:uFillTx/>
                  <a:latin typeface="Arial"/>
                  <a:ea typeface="Arial"/>
                  <a:cs typeface="Arial"/>
                  <a:sym typeface="Arial"/>
                </a:rPr>
                <a:t>Heightened focus on bilateral trade between the two countries (target to surpass </a:t>
              </a:r>
              <a:r>
                <a:rPr kumimoji="0" lang="en-GB" sz="1300" i="0" u="none" strike="noStrike" kern="1200" cap="none" spc="0" normalizeH="0" baseline="0" noProof="0" dirty="0">
                  <a:ln>
                    <a:noFill/>
                  </a:ln>
                  <a:solidFill>
                    <a:srgbClr val="000000"/>
                  </a:solidFill>
                  <a:effectLst/>
                  <a:uLnTx/>
                  <a:uFillTx/>
                  <a:latin typeface="Arial"/>
                  <a:ea typeface="Arial"/>
                  <a:cs typeface="Arial"/>
                  <a:sym typeface="Arial"/>
                </a:rPr>
                <a:t>US$ 10 bn bilateral trade by 2030)</a:t>
              </a:r>
            </a:p>
          </p:txBody>
        </p:sp>
        <p:sp>
          <p:nvSpPr>
            <p:cNvPr id="88" name="Google Shape;2097;g1389d6804d3_10_89">
              <a:extLst>
                <a:ext uri="{FF2B5EF4-FFF2-40B4-BE49-F238E27FC236}">
                  <a16:creationId xmlns:a16="http://schemas.microsoft.com/office/drawing/2014/main" id="{517DDF12-7A93-4351-9B14-09CABB6F73A0}"/>
                </a:ext>
              </a:extLst>
            </p:cNvPr>
            <p:cNvSpPr/>
            <p:nvPr/>
          </p:nvSpPr>
          <p:spPr>
            <a:xfrm>
              <a:off x="1064282" y="4922598"/>
              <a:ext cx="10701031" cy="353488"/>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lang="en-GB" sz="1300" dirty="0">
                  <a:solidFill>
                    <a:srgbClr val="000000"/>
                  </a:solidFill>
                  <a:latin typeface="Arial"/>
                  <a:ea typeface="Arial"/>
                  <a:cs typeface="Arial"/>
                  <a:sym typeface="Arial"/>
                </a:rPr>
                <a:t>Rationale for renaming ICTEC to ICIC in order to increase focus on manufacturing cooperation</a:t>
              </a:r>
              <a:endParaRPr kumimoji="0" lang="en-GB" sz="130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89" name="Google Shape;2097;g1389d6804d3_10_89">
              <a:extLst>
                <a:ext uri="{FF2B5EF4-FFF2-40B4-BE49-F238E27FC236}">
                  <a16:creationId xmlns:a16="http://schemas.microsoft.com/office/drawing/2014/main" id="{4E34C1C4-D99F-4474-B5A4-EAEF0E7102A1}"/>
                </a:ext>
              </a:extLst>
            </p:cNvPr>
            <p:cNvSpPr/>
            <p:nvPr/>
          </p:nvSpPr>
          <p:spPr>
            <a:xfrm>
              <a:off x="1064282" y="5335273"/>
              <a:ext cx="10701031" cy="508254"/>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GB" sz="1300" i="0" u="none" strike="noStrike" kern="1200" cap="none" spc="0" normalizeH="0" baseline="0" noProof="0" dirty="0">
                  <a:ln>
                    <a:noFill/>
                  </a:ln>
                  <a:solidFill>
                    <a:srgbClr val="000000"/>
                  </a:solidFill>
                  <a:effectLst/>
                  <a:uLnTx/>
                  <a:uFillTx/>
                  <a:latin typeface="Arial"/>
                  <a:ea typeface="Arial"/>
                  <a:cs typeface="Arial"/>
                  <a:sym typeface="Arial"/>
                </a:rPr>
                <a:t>Inputs on prospects of </a:t>
              </a:r>
              <a:r>
                <a:rPr kumimoji="0" lang="en-US" sz="1300" i="0" u="none" strike="noStrike" kern="1200" cap="none" spc="0" normalizeH="0" baseline="0" noProof="0" dirty="0">
                  <a:ln>
                    <a:noFill/>
                  </a:ln>
                  <a:solidFill>
                    <a:srgbClr val="000000"/>
                  </a:solidFill>
                  <a:effectLst/>
                  <a:uLnTx/>
                  <a:uFillTx/>
                  <a:latin typeface="Arial"/>
                  <a:ea typeface="Arial"/>
                  <a:cs typeface="Arial"/>
                  <a:sym typeface="Arial"/>
                </a:rPr>
                <a:t>key sectors in ICIC including food processing sector, FMCG, wearing apparels, pharmaceuticals, furniture, meat processing etc. from manufacturing perspective</a:t>
              </a:r>
              <a:r>
                <a:rPr kumimoji="0" lang="en-GB" sz="1300" i="0" u="none" strike="noStrike" kern="1200" cap="none" spc="0" normalizeH="0" baseline="0" noProof="0" dirty="0">
                  <a:ln>
                    <a:noFill/>
                  </a:ln>
                  <a:solidFill>
                    <a:srgbClr val="000000"/>
                  </a:solidFill>
                  <a:effectLst/>
                  <a:uLnTx/>
                  <a:uFillTx/>
                  <a:latin typeface="Arial"/>
                  <a:ea typeface="Arial"/>
                  <a:cs typeface="Arial"/>
                  <a:sym typeface="Arial"/>
                </a:rPr>
                <a:t> </a:t>
              </a:r>
            </a:p>
          </p:txBody>
        </p:sp>
        <p:sp>
          <p:nvSpPr>
            <p:cNvPr id="90" name="Google Shape;2097;g1389d6804d3_10_89">
              <a:extLst>
                <a:ext uri="{FF2B5EF4-FFF2-40B4-BE49-F238E27FC236}">
                  <a16:creationId xmlns:a16="http://schemas.microsoft.com/office/drawing/2014/main" id="{7F9A35A2-6641-4DD3-9D7A-9CF89E0E4D1B}"/>
                </a:ext>
              </a:extLst>
            </p:cNvPr>
            <p:cNvSpPr/>
            <p:nvPr/>
          </p:nvSpPr>
          <p:spPr>
            <a:xfrm>
              <a:off x="1064282" y="5902713"/>
              <a:ext cx="10701031" cy="416571"/>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GB" sz="1300" i="0" u="none" strike="noStrike" kern="1200" cap="none" spc="0" normalizeH="0" baseline="0" noProof="0" dirty="0">
                  <a:ln>
                    <a:noFill/>
                  </a:ln>
                  <a:solidFill>
                    <a:srgbClr val="000000"/>
                  </a:solidFill>
                  <a:effectLst/>
                  <a:uLnTx/>
                  <a:uFillTx/>
                  <a:latin typeface="Arial"/>
                  <a:ea typeface="Arial"/>
                  <a:cs typeface="Arial"/>
                  <a:sym typeface="Arial"/>
                </a:rPr>
                <a:t>Strategic inputs related to the locations to be studied for development of the ICIC</a:t>
              </a:r>
            </a:p>
          </p:txBody>
        </p:sp>
      </p:grpSp>
    </p:spTree>
    <p:custDataLst>
      <p:custData r:id="rId1"/>
    </p:custDataLst>
    <p:extLst>
      <p:ext uri="{BB962C8B-B14F-4D97-AF65-F5344CB8AC3E}">
        <p14:creationId xmlns:p14="http://schemas.microsoft.com/office/powerpoint/2010/main" val="6687670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6000"/>
            <a:lum/>
            <a:extLst>
              <a:ext uri="{837473B0-CC2E-450A-ABE3-18F120FF3D39}">
                <a1611:picAttrSrcUrl xmlns:a1611="http://schemas.microsoft.com/office/drawing/2016/11/main" r:id="rId4"/>
              </a:ext>
            </a:extLst>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379AA2-ED46-4BD9-A397-5BBD93295767}"/>
              </a:ext>
            </a:extLst>
          </p:cNvPr>
          <p:cNvSpPr/>
          <p:nvPr/>
        </p:nvSpPr>
        <p:spPr>
          <a:xfrm>
            <a:off x="0" y="2150807"/>
            <a:ext cx="7895073" cy="2556387"/>
          </a:xfrm>
          <a:prstGeom prst="rect">
            <a:avLst/>
          </a:prstGeom>
          <a:solidFill>
            <a:schemeClr val="accent1">
              <a:lumMod val="75000"/>
            </a:schemeClr>
          </a:solidFill>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prstClr val="white"/>
                </a:solidFill>
                <a:latin typeface="Georgia"/>
              </a:rPr>
              <a:t>Rationale and Context</a:t>
            </a:r>
            <a:endParaRPr kumimoji="0" lang="en-US" sz="3200" b="0" i="0" u="none" strike="noStrike" kern="1200" cap="none" spc="0" normalizeH="0" baseline="0" noProof="0" dirty="0">
              <a:ln>
                <a:noFill/>
              </a:ln>
              <a:solidFill>
                <a:prstClr val="white"/>
              </a:solidFill>
              <a:effectLst/>
              <a:uLnTx/>
              <a:uFillTx/>
              <a:latin typeface="Georgia"/>
              <a:ea typeface="+mn-ea"/>
              <a:cs typeface="+mn-cs"/>
            </a:endParaRPr>
          </a:p>
        </p:txBody>
      </p:sp>
    </p:spTree>
    <p:custDataLst>
      <p:custData r:id="rId1"/>
    </p:custDataLst>
    <p:extLst>
      <p:ext uri="{BB962C8B-B14F-4D97-AF65-F5344CB8AC3E}">
        <p14:creationId xmlns:p14="http://schemas.microsoft.com/office/powerpoint/2010/main" val="153918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737275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32" imgH="532" progId="TCLayout.ActiveDocument.1">
                  <p:embed/>
                </p:oleObj>
              </mc:Choice>
              <mc:Fallback>
                <p:oleObj name="think-cell Slide" r:id="rId18"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0" name="Google Shape;50;p2"/>
          <p:cNvSpPr txBox="1">
            <a:spLocks noGrp="1"/>
          </p:cNvSpPr>
          <p:nvPr>
            <p:ph type="title"/>
          </p:nvPr>
        </p:nvSpPr>
        <p:spPr>
          <a:xfrm>
            <a:off x="442914" y="345559"/>
            <a:ext cx="11306175" cy="369332"/>
          </a:xfrm>
        </p:spPr>
        <p:txBody>
          <a:bodyPr anchor="ctr" anchorCtr="0">
            <a:normAutofit/>
          </a:bodyPr>
          <a:lstStyle/>
          <a:p>
            <a:r>
              <a:rPr lang="en-US" sz="2400" b="0" dirty="0">
                <a:latin typeface="Georgia" panose="02040502050405020303" pitchFamily="18" charset="0"/>
              </a:rPr>
              <a:t>Bilateral Trade and Manufacturing Growth in Kazakhstan and Uzbekistan</a:t>
            </a:r>
          </a:p>
        </p:txBody>
      </p:sp>
      <p:sp>
        <p:nvSpPr>
          <p:cNvPr id="7" name="Date Placeholder 6">
            <a:extLst>
              <a:ext uri="{FF2B5EF4-FFF2-40B4-BE49-F238E27FC236}">
                <a16:creationId xmlns:a16="http://schemas.microsoft.com/office/drawing/2014/main" id="{DE604613-77F0-4E58-AF20-8ECACBDFD86D}"/>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8" name="Slide Number Placeholder 7">
            <a:extLst>
              <a:ext uri="{FF2B5EF4-FFF2-40B4-BE49-F238E27FC236}">
                <a16:creationId xmlns:a16="http://schemas.microsoft.com/office/drawing/2014/main" id="{41B9F92D-B04E-49C5-A87C-DF7A3E008300}"/>
              </a:ext>
            </a:extLst>
          </p:cNvPr>
          <p:cNvSpPr>
            <a:spLocks noGrp="1"/>
          </p:cNvSpPr>
          <p:nvPr>
            <p:ph type="sldNum" idx="12"/>
          </p:nvPr>
        </p:nvSpPr>
        <p:spPr/>
        <p:txBody>
          <a:bodyPr/>
          <a:lstStyle/>
          <a:p>
            <a:pPr lvl="0"/>
            <a:fld id="{00000000-1234-1234-1234-123412341234}" type="slidenum">
              <a:rPr lang="en-US" smtClean="0"/>
              <a:pPr lvl="0"/>
              <a:t>8</a:t>
            </a:fld>
            <a:endParaRPr lang="en-US"/>
          </a:p>
        </p:txBody>
      </p:sp>
      <p:sp>
        <p:nvSpPr>
          <p:cNvPr id="261" name="Footer Placeholder 11">
            <a:extLst>
              <a:ext uri="{FF2B5EF4-FFF2-40B4-BE49-F238E27FC236}">
                <a16:creationId xmlns:a16="http://schemas.microsoft.com/office/drawing/2014/main" id="{53DCAED6-BCEF-41CC-8EC6-1562EDEDDC82}"/>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grpSp>
        <p:nvGrpSpPr>
          <p:cNvPr id="61" name="Group 60">
            <a:extLst>
              <a:ext uri="{FF2B5EF4-FFF2-40B4-BE49-F238E27FC236}">
                <a16:creationId xmlns:a16="http://schemas.microsoft.com/office/drawing/2014/main" id="{84A1160E-53C2-45AD-B957-EF3D3ED9A66B}"/>
              </a:ext>
            </a:extLst>
          </p:cNvPr>
          <p:cNvGrpSpPr/>
          <p:nvPr/>
        </p:nvGrpSpPr>
        <p:grpSpPr>
          <a:xfrm>
            <a:off x="470838" y="1702771"/>
            <a:ext cx="2550029" cy="1971802"/>
            <a:chOff x="7285476" y="1060450"/>
            <a:chExt cx="4906524" cy="3188571"/>
          </a:xfrm>
        </p:grpSpPr>
        <p:sp>
          <p:nvSpPr>
            <p:cNvPr id="62" name="Freeform 177">
              <a:extLst>
                <a:ext uri="{FF2B5EF4-FFF2-40B4-BE49-F238E27FC236}">
                  <a16:creationId xmlns:a16="http://schemas.microsoft.com/office/drawing/2014/main" id="{75C4C0EE-202F-489F-A8E3-F17741261928}"/>
                </a:ext>
              </a:extLst>
            </p:cNvPr>
            <p:cNvSpPr>
              <a:spLocks/>
            </p:cNvSpPr>
            <p:nvPr/>
          </p:nvSpPr>
          <p:spPr bwMode="auto">
            <a:xfrm>
              <a:off x="7356588" y="1060450"/>
              <a:ext cx="4835412" cy="2513842"/>
            </a:xfrm>
            <a:custGeom>
              <a:avLst/>
              <a:gdLst>
                <a:gd name="T0" fmla="*/ 478 w 5383"/>
                <a:gd name="T1" fmla="*/ 1151 h 2710"/>
                <a:gd name="T2" fmla="*/ 768 w 5383"/>
                <a:gd name="T3" fmla="*/ 1290 h 2710"/>
                <a:gd name="T4" fmla="*/ 717 w 5383"/>
                <a:gd name="T5" fmla="*/ 1492 h 2710"/>
                <a:gd name="T6" fmla="*/ 642 w 5383"/>
                <a:gd name="T7" fmla="*/ 1564 h 2710"/>
                <a:gd name="T8" fmla="*/ 420 w 5383"/>
                <a:gd name="T9" fmla="*/ 1522 h 2710"/>
                <a:gd name="T10" fmla="*/ 324 w 5383"/>
                <a:gd name="T11" fmla="*/ 1626 h 2710"/>
                <a:gd name="T12" fmla="*/ 277 w 5383"/>
                <a:gd name="T13" fmla="*/ 1711 h 2710"/>
                <a:gd name="T14" fmla="*/ 330 w 5383"/>
                <a:gd name="T15" fmla="*/ 1947 h 2710"/>
                <a:gd name="T16" fmla="*/ 385 w 5383"/>
                <a:gd name="T17" fmla="*/ 2147 h 2710"/>
                <a:gd name="T18" fmla="*/ 1438 w 5383"/>
                <a:gd name="T19" fmla="*/ 1663 h 2710"/>
                <a:gd name="T20" fmla="*/ 1550 w 5383"/>
                <a:gd name="T21" fmla="*/ 1613 h 2710"/>
                <a:gd name="T22" fmla="*/ 1715 w 5383"/>
                <a:gd name="T23" fmla="*/ 1607 h 2710"/>
                <a:gd name="T24" fmla="*/ 1598 w 5383"/>
                <a:gd name="T25" fmla="*/ 1760 h 2710"/>
                <a:gd name="T26" fmla="*/ 1723 w 5383"/>
                <a:gd name="T27" fmla="*/ 2004 h 2710"/>
                <a:gd name="T28" fmla="*/ 1967 w 5383"/>
                <a:gd name="T29" fmla="*/ 2120 h 2710"/>
                <a:gd name="T30" fmla="*/ 2303 w 5383"/>
                <a:gd name="T31" fmla="*/ 2260 h 2710"/>
                <a:gd name="T32" fmla="*/ 2310 w 5383"/>
                <a:gd name="T33" fmla="*/ 2451 h 2710"/>
                <a:gd name="T34" fmla="*/ 2397 w 5383"/>
                <a:gd name="T35" fmla="*/ 2641 h 2710"/>
                <a:gd name="T36" fmla="*/ 2665 w 5383"/>
                <a:gd name="T37" fmla="*/ 2685 h 2710"/>
                <a:gd name="T38" fmla="*/ 2976 w 5383"/>
                <a:gd name="T39" fmla="*/ 2498 h 2710"/>
                <a:gd name="T40" fmla="*/ 3336 w 5383"/>
                <a:gd name="T41" fmla="*/ 2416 h 2710"/>
                <a:gd name="T42" fmla="*/ 3581 w 5383"/>
                <a:gd name="T43" fmla="*/ 2328 h 2710"/>
                <a:gd name="T44" fmla="*/ 3895 w 5383"/>
                <a:gd name="T45" fmla="*/ 2401 h 2710"/>
                <a:gd name="T46" fmla="*/ 4304 w 5383"/>
                <a:gd name="T47" fmla="*/ 2457 h 2710"/>
                <a:gd name="T48" fmla="*/ 4507 w 5383"/>
                <a:gd name="T49" fmla="*/ 2347 h 2710"/>
                <a:gd name="T50" fmla="*/ 4513 w 5383"/>
                <a:gd name="T51" fmla="*/ 2096 h 2710"/>
                <a:gd name="T52" fmla="*/ 4482 w 5383"/>
                <a:gd name="T53" fmla="*/ 2008 h 2710"/>
                <a:gd name="T54" fmla="*/ 4722 w 5383"/>
                <a:gd name="T55" fmla="*/ 1967 h 2710"/>
                <a:gd name="T56" fmla="*/ 4763 w 5383"/>
                <a:gd name="T57" fmla="*/ 1865 h 2710"/>
                <a:gd name="T58" fmla="*/ 4977 w 5383"/>
                <a:gd name="T59" fmla="*/ 1698 h 2710"/>
                <a:gd name="T60" fmla="*/ 5136 w 5383"/>
                <a:gd name="T61" fmla="*/ 1600 h 2710"/>
                <a:gd name="T62" fmla="*/ 5116 w 5383"/>
                <a:gd name="T63" fmla="*/ 1364 h 2710"/>
                <a:gd name="T64" fmla="*/ 5275 w 5383"/>
                <a:gd name="T65" fmla="*/ 1183 h 2710"/>
                <a:gd name="T66" fmla="*/ 5231 w 5383"/>
                <a:gd name="T67" fmla="*/ 1059 h 2710"/>
                <a:gd name="T68" fmla="*/ 5070 w 5383"/>
                <a:gd name="T69" fmla="*/ 1186 h 2710"/>
                <a:gd name="T70" fmla="*/ 4846 w 5383"/>
                <a:gd name="T71" fmla="*/ 924 h 2710"/>
                <a:gd name="T72" fmla="*/ 4580 w 5383"/>
                <a:gd name="T73" fmla="*/ 882 h 2710"/>
                <a:gd name="T74" fmla="*/ 4393 w 5383"/>
                <a:gd name="T75" fmla="*/ 877 h 2710"/>
                <a:gd name="T76" fmla="*/ 4043 w 5383"/>
                <a:gd name="T77" fmla="*/ 311 h 2710"/>
                <a:gd name="T78" fmla="*/ 3925 w 5383"/>
                <a:gd name="T79" fmla="*/ 201 h 2710"/>
                <a:gd name="T80" fmla="*/ 3709 w 5383"/>
                <a:gd name="T81" fmla="*/ 347 h 2710"/>
                <a:gd name="T82" fmla="*/ 3612 w 5383"/>
                <a:gd name="T83" fmla="*/ 305 h 2710"/>
                <a:gd name="T84" fmla="*/ 3384 w 5383"/>
                <a:gd name="T85" fmla="*/ 256 h 2710"/>
                <a:gd name="T86" fmla="*/ 3288 w 5383"/>
                <a:gd name="T87" fmla="*/ 23 h 2710"/>
                <a:gd name="T88" fmla="*/ 2937 w 5383"/>
                <a:gd name="T89" fmla="*/ 72 h 2710"/>
                <a:gd name="T90" fmla="*/ 2474 w 5383"/>
                <a:gd name="T91" fmla="*/ 131 h 2710"/>
                <a:gd name="T92" fmla="*/ 2252 w 5383"/>
                <a:gd name="T93" fmla="*/ 163 h 2710"/>
                <a:gd name="T94" fmla="*/ 2141 w 5383"/>
                <a:gd name="T95" fmla="*/ 258 h 2710"/>
                <a:gd name="T96" fmla="*/ 2116 w 5383"/>
                <a:gd name="T97" fmla="*/ 366 h 2710"/>
                <a:gd name="T98" fmla="*/ 2044 w 5383"/>
                <a:gd name="T99" fmla="*/ 558 h 2710"/>
                <a:gd name="T100" fmla="*/ 2087 w 5383"/>
                <a:gd name="T101" fmla="*/ 740 h 2710"/>
                <a:gd name="T102" fmla="*/ 1949 w 5383"/>
                <a:gd name="T103" fmla="*/ 785 h 2710"/>
                <a:gd name="T104" fmla="*/ 1745 w 5383"/>
                <a:gd name="T105" fmla="*/ 756 h 2710"/>
                <a:gd name="T106" fmla="*/ 1585 w 5383"/>
                <a:gd name="T107" fmla="*/ 593 h 2710"/>
                <a:gd name="T108" fmla="*/ 1269 w 5383"/>
                <a:gd name="T109" fmla="*/ 529 h 2710"/>
                <a:gd name="T110" fmla="*/ 1135 w 5383"/>
                <a:gd name="T111" fmla="*/ 441 h 2710"/>
                <a:gd name="T112" fmla="*/ 905 w 5383"/>
                <a:gd name="T113" fmla="*/ 364 h 2710"/>
                <a:gd name="T114" fmla="*/ 679 w 5383"/>
                <a:gd name="T115" fmla="*/ 364 h 2710"/>
                <a:gd name="T116" fmla="*/ 492 w 5383"/>
                <a:gd name="T117" fmla="*/ 483 h 2710"/>
                <a:gd name="T118" fmla="*/ 359 w 5383"/>
                <a:gd name="T119" fmla="*/ 433 h 2710"/>
                <a:gd name="T120" fmla="*/ 186 w 5383"/>
                <a:gd name="T121" fmla="*/ 570 h 2710"/>
                <a:gd name="T122" fmla="*/ 50 w 5383"/>
                <a:gd name="T123" fmla="*/ 827 h 2710"/>
                <a:gd name="T124" fmla="*/ 202 w 5383"/>
                <a:gd name="T125" fmla="*/ 1070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83" h="2710">
                  <a:moveTo>
                    <a:pt x="200" y="1198"/>
                  </a:moveTo>
                  <a:lnTo>
                    <a:pt x="206" y="1199"/>
                  </a:lnTo>
                  <a:lnTo>
                    <a:pt x="214" y="1200"/>
                  </a:lnTo>
                  <a:lnTo>
                    <a:pt x="232" y="1197"/>
                  </a:lnTo>
                  <a:lnTo>
                    <a:pt x="251" y="1194"/>
                  </a:lnTo>
                  <a:lnTo>
                    <a:pt x="267" y="1205"/>
                  </a:lnTo>
                  <a:lnTo>
                    <a:pt x="283" y="1217"/>
                  </a:lnTo>
                  <a:lnTo>
                    <a:pt x="289" y="1215"/>
                  </a:lnTo>
                  <a:lnTo>
                    <a:pt x="296" y="1213"/>
                  </a:lnTo>
                  <a:lnTo>
                    <a:pt x="333" y="1213"/>
                  </a:lnTo>
                  <a:lnTo>
                    <a:pt x="345" y="1212"/>
                  </a:lnTo>
                  <a:lnTo>
                    <a:pt x="356" y="1209"/>
                  </a:lnTo>
                  <a:lnTo>
                    <a:pt x="366" y="1204"/>
                  </a:lnTo>
                  <a:lnTo>
                    <a:pt x="379" y="1200"/>
                  </a:lnTo>
                  <a:lnTo>
                    <a:pt x="394" y="1195"/>
                  </a:lnTo>
                  <a:lnTo>
                    <a:pt x="407" y="1189"/>
                  </a:lnTo>
                  <a:lnTo>
                    <a:pt x="420" y="1184"/>
                  </a:lnTo>
                  <a:lnTo>
                    <a:pt x="433" y="1176"/>
                  </a:lnTo>
                  <a:lnTo>
                    <a:pt x="442" y="1168"/>
                  </a:lnTo>
                  <a:lnTo>
                    <a:pt x="450" y="1159"/>
                  </a:lnTo>
                  <a:lnTo>
                    <a:pt x="453" y="1156"/>
                  </a:lnTo>
                  <a:lnTo>
                    <a:pt x="457" y="1153"/>
                  </a:lnTo>
                  <a:lnTo>
                    <a:pt x="462" y="1151"/>
                  </a:lnTo>
                  <a:lnTo>
                    <a:pt x="467" y="1151"/>
                  </a:lnTo>
                  <a:lnTo>
                    <a:pt x="478" y="1151"/>
                  </a:lnTo>
                  <a:lnTo>
                    <a:pt x="487" y="1153"/>
                  </a:lnTo>
                  <a:lnTo>
                    <a:pt x="496" y="1156"/>
                  </a:lnTo>
                  <a:lnTo>
                    <a:pt x="504" y="1159"/>
                  </a:lnTo>
                  <a:lnTo>
                    <a:pt x="522" y="1168"/>
                  </a:lnTo>
                  <a:lnTo>
                    <a:pt x="540" y="1174"/>
                  </a:lnTo>
                  <a:lnTo>
                    <a:pt x="549" y="1176"/>
                  </a:lnTo>
                  <a:lnTo>
                    <a:pt x="556" y="1178"/>
                  </a:lnTo>
                  <a:lnTo>
                    <a:pt x="563" y="1181"/>
                  </a:lnTo>
                  <a:lnTo>
                    <a:pt x="568" y="1184"/>
                  </a:lnTo>
                  <a:lnTo>
                    <a:pt x="579" y="1193"/>
                  </a:lnTo>
                  <a:lnTo>
                    <a:pt x="589" y="1204"/>
                  </a:lnTo>
                  <a:lnTo>
                    <a:pt x="597" y="1212"/>
                  </a:lnTo>
                  <a:lnTo>
                    <a:pt x="605" y="1218"/>
                  </a:lnTo>
                  <a:lnTo>
                    <a:pt x="614" y="1222"/>
                  </a:lnTo>
                  <a:lnTo>
                    <a:pt x="622" y="1225"/>
                  </a:lnTo>
                  <a:lnTo>
                    <a:pt x="642" y="1230"/>
                  </a:lnTo>
                  <a:lnTo>
                    <a:pt x="663" y="1235"/>
                  </a:lnTo>
                  <a:lnTo>
                    <a:pt x="681" y="1243"/>
                  </a:lnTo>
                  <a:lnTo>
                    <a:pt x="697" y="1250"/>
                  </a:lnTo>
                  <a:lnTo>
                    <a:pt x="712" y="1259"/>
                  </a:lnTo>
                  <a:lnTo>
                    <a:pt x="729" y="1267"/>
                  </a:lnTo>
                  <a:lnTo>
                    <a:pt x="744" y="1272"/>
                  </a:lnTo>
                  <a:lnTo>
                    <a:pt x="758" y="1280"/>
                  </a:lnTo>
                  <a:lnTo>
                    <a:pt x="763" y="1285"/>
                  </a:lnTo>
                  <a:lnTo>
                    <a:pt x="768" y="1290"/>
                  </a:lnTo>
                  <a:lnTo>
                    <a:pt x="770" y="1296"/>
                  </a:lnTo>
                  <a:lnTo>
                    <a:pt x="771" y="1303"/>
                  </a:lnTo>
                  <a:lnTo>
                    <a:pt x="771" y="1307"/>
                  </a:lnTo>
                  <a:lnTo>
                    <a:pt x="769" y="1311"/>
                  </a:lnTo>
                  <a:lnTo>
                    <a:pt x="768" y="1313"/>
                  </a:lnTo>
                  <a:lnTo>
                    <a:pt x="764" y="1316"/>
                  </a:lnTo>
                  <a:lnTo>
                    <a:pt x="759" y="1321"/>
                  </a:lnTo>
                  <a:lnTo>
                    <a:pt x="754" y="1327"/>
                  </a:lnTo>
                  <a:lnTo>
                    <a:pt x="750" y="1336"/>
                  </a:lnTo>
                  <a:lnTo>
                    <a:pt x="748" y="1344"/>
                  </a:lnTo>
                  <a:lnTo>
                    <a:pt x="746" y="1353"/>
                  </a:lnTo>
                  <a:lnTo>
                    <a:pt x="745" y="1363"/>
                  </a:lnTo>
                  <a:lnTo>
                    <a:pt x="751" y="1406"/>
                  </a:lnTo>
                  <a:lnTo>
                    <a:pt x="750" y="1414"/>
                  </a:lnTo>
                  <a:lnTo>
                    <a:pt x="749" y="1421"/>
                  </a:lnTo>
                  <a:lnTo>
                    <a:pt x="746" y="1429"/>
                  </a:lnTo>
                  <a:lnTo>
                    <a:pt x="743" y="1435"/>
                  </a:lnTo>
                  <a:lnTo>
                    <a:pt x="735" y="1446"/>
                  </a:lnTo>
                  <a:lnTo>
                    <a:pt x="724" y="1457"/>
                  </a:lnTo>
                  <a:lnTo>
                    <a:pt x="720" y="1462"/>
                  </a:lnTo>
                  <a:lnTo>
                    <a:pt x="718" y="1468"/>
                  </a:lnTo>
                  <a:lnTo>
                    <a:pt x="717" y="1473"/>
                  </a:lnTo>
                  <a:lnTo>
                    <a:pt x="717" y="1480"/>
                  </a:lnTo>
                  <a:lnTo>
                    <a:pt x="717" y="1486"/>
                  </a:lnTo>
                  <a:lnTo>
                    <a:pt x="717" y="1492"/>
                  </a:lnTo>
                  <a:lnTo>
                    <a:pt x="715" y="1498"/>
                  </a:lnTo>
                  <a:lnTo>
                    <a:pt x="713" y="1504"/>
                  </a:lnTo>
                  <a:lnTo>
                    <a:pt x="707" y="1509"/>
                  </a:lnTo>
                  <a:lnTo>
                    <a:pt x="700" y="1513"/>
                  </a:lnTo>
                  <a:lnTo>
                    <a:pt x="689" y="1523"/>
                  </a:lnTo>
                  <a:lnTo>
                    <a:pt x="682" y="1534"/>
                  </a:lnTo>
                  <a:lnTo>
                    <a:pt x="678" y="1539"/>
                  </a:lnTo>
                  <a:lnTo>
                    <a:pt x="674" y="1544"/>
                  </a:lnTo>
                  <a:lnTo>
                    <a:pt x="672" y="1551"/>
                  </a:lnTo>
                  <a:lnTo>
                    <a:pt x="671" y="1558"/>
                  </a:lnTo>
                  <a:lnTo>
                    <a:pt x="676" y="1561"/>
                  </a:lnTo>
                  <a:lnTo>
                    <a:pt x="681" y="1566"/>
                  </a:lnTo>
                  <a:lnTo>
                    <a:pt x="683" y="1571"/>
                  </a:lnTo>
                  <a:lnTo>
                    <a:pt x="686" y="1578"/>
                  </a:lnTo>
                  <a:lnTo>
                    <a:pt x="687" y="1591"/>
                  </a:lnTo>
                  <a:lnTo>
                    <a:pt x="687" y="1606"/>
                  </a:lnTo>
                  <a:lnTo>
                    <a:pt x="688" y="1616"/>
                  </a:lnTo>
                  <a:lnTo>
                    <a:pt x="687" y="1626"/>
                  </a:lnTo>
                  <a:lnTo>
                    <a:pt x="681" y="1628"/>
                  </a:lnTo>
                  <a:lnTo>
                    <a:pt x="673" y="1605"/>
                  </a:lnTo>
                  <a:lnTo>
                    <a:pt x="664" y="1584"/>
                  </a:lnTo>
                  <a:lnTo>
                    <a:pt x="658" y="1575"/>
                  </a:lnTo>
                  <a:lnTo>
                    <a:pt x="651" y="1569"/>
                  </a:lnTo>
                  <a:lnTo>
                    <a:pt x="647" y="1566"/>
                  </a:lnTo>
                  <a:lnTo>
                    <a:pt x="642" y="1564"/>
                  </a:lnTo>
                  <a:lnTo>
                    <a:pt x="637" y="1563"/>
                  </a:lnTo>
                  <a:lnTo>
                    <a:pt x="631" y="1563"/>
                  </a:lnTo>
                  <a:lnTo>
                    <a:pt x="585" y="1563"/>
                  </a:lnTo>
                  <a:lnTo>
                    <a:pt x="569" y="1563"/>
                  </a:lnTo>
                  <a:lnTo>
                    <a:pt x="554" y="1561"/>
                  </a:lnTo>
                  <a:lnTo>
                    <a:pt x="546" y="1560"/>
                  </a:lnTo>
                  <a:lnTo>
                    <a:pt x="539" y="1559"/>
                  </a:lnTo>
                  <a:lnTo>
                    <a:pt x="532" y="1556"/>
                  </a:lnTo>
                  <a:lnTo>
                    <a:pt x="524" y="1553"/>
                  </a:lnTo>
                  <a:lnTo>
                    <a:pt x="517" y="1548"/>
                  </a:lnTo>
                  <a:lnTo>
                    <a:pt x="513" y="1542"/>
                  </a:lnTo>
                  <a:lnTo>
                    <a:pt x="509" y="1535"/>
                  </a:lnTo>
                  <a:lnTo>
                    <a:pt x="505" y="1528"/>
                  </a:lnTo>
                  <a:lnTo>
                    <a:pt x="502" y="1522"/>
                  </a:lnTo>
                  <a:lnTo>
                    <a:pt x="498" y="1517"/>
                  </a:lnTo>
                  <a:lnTo>
                    <a:pt x="496" y="1514"/>
                  </a:lnTo>
                  <a:lnTo>
                    <a:pt x="493" y="1513"/>
                  </a:lnTo>
                  <a:lnTo>
                    <a:pt x="489" y="1512"/>
                  </a:lnTo>
                  <a:lnTo>
                    <a:pt x="486" y="1512"/>
                  </a:lnTo>
                  <a:lnTo>
                    <a:pt x="468" y="1514"/>
                  </a:lnTo>
                  <a:lnTo>
                    <a:pt x="451" y="1518"/>
                  </a:lnTo>
                  <a:lnTo>
                    <a:pt x="440" y="1519"/>
                  </a:lnTo>
                  <a:lnTo>
                    <a:pt x="428" y="1519"/>
                  </a:lnTo>
                  <a:lnTo>
                    <a:pt x="423" y="1519"/>
                  </a:lnTo>
                  <a:lnTo>
                    <a:pt x="420" y="1522"/>
                  </a:lnTo>
                  <a:lnTo>
                    <a:pt x="417" y="1524"/>
                  </a:lnTo>
                  <a:lnTo>
                    <a:pt x="417" y="1528"/>
                  </a:lnTo>
                  <a:lnTo>
                    <a:pt x="420" y="1540"/>
                  </a:lnTo>
                  <a:lnTo>
                    <a:pt x="422" y="1553"/>
                  </a:lnTo>
                  <a:lnTo>
                    <a:pt x="422" y="1584"/>
                  </a:lnTo>
                  <a:lnTo>
                    <a:pt x="419" y="1586"/>
                  </a:lnTo>
                  <a:lnTo>
                    <a:pt x="415" y="1589"/>
                  </a:lnTo>
                  <a:lnTo>
                    <a:pt x="410" y="1584"/>
                  </a:lnTo>
                  <a:lnTo>
                    <a:pt x="404" y="1580"/>
                  </a:lnTo>
                  <a:lnTo>
                    <a:pt x="394" y="1580"/>
                  </a:lnTo>
                  <a:lnTo>
                    <a:pt x="394" y="1601"/>
                  </a:lnTo>
                  <a:lnTo>
                    <a:pt x="396" y="1606"/>
                  </a:lnTo>
                  <a:lnTo>
                    <a:pt x="399" y="1612"/>
                  </a:lnTo>
                  <a:lnTo>
                    <a:pt x="399" y="1662"/>
                  </a:lnTo>
                  <a:lnTo>
                    <a:pt x="395" y="1664"/>
                  </a:lnTo>
                  <a:lnTo>
                    <a:pt x="390" y="1664"/>
                  </a:lnTo>
                  <a:lnTo>
                    <a:pt x="381" y="1664"/>
                  </a:lnTo>
                  <a:lnTo>
                    <a:pt x="375" y="1664"/>
                  </a:lnTo>
                  <a:lnTo>
                    <a:pt x="368" y="1663"/>
                  </a:lnTo>
                  <a:lnTo>
                    <a:pt x="361" y="1659"/>
                  </a:lnTo>
                  <a:lnTo>
                    <a:pt x="350" y="1648"/>
                  </a:lnTo>
                  <a:lnTo>
                    <a:pt x="340" y="1637"/>
                  </a:lnTo>
                  <a:lnTo>
                    <a:pt x="335" y="1632"/>
                  </a:lnTo>
                  <a:lnTo>
                    <a:pt x="330" y="1628"/>
                  </a:lnTo>
                  <a:lnTo>
                    <a:pt x="324" y="1626"/>
                  </a:lnTo>
                  <a:lnTo>
                    <a:pt x="317" y="1625"/>
                  </a:lnTo>
                  <a:lnTo>
                    <a:pt x="302" y="1627"/>
                  </a:lnTo>
                  <a:lnTo>
                    <a:pt x="286" y="1630"/>
                  </a:lnTo>
                  <a:lnTo>
                    <a:pt x="276" y="1628"/>
                  </a:lnTo>
                  <a:lnTo>
                    <a:pt x="266" y="1628"/>
                  </a:lnTo>
                  <a:lnTo>
                    <a:pt x="257" y="1627"/>
                  </a:lnTo>
                  <a:lnTo>
                    <a:pt x="247" y="1626"/>
                  </a:lnTo>
                  <a:lnTo>
                    <a:pt x="238" y="1627"/>
                  </a:lnTo>
                  <a:lnTo>
                    <a:pt x="230" y="1628"/>
                  </a:lnTo>
                  <a:lnTo>
                    <a:pt x="226" y="1630"/>
                  </a:lnTo>
                  <a:lnTo>
                    <a:pt x="224" y="1632"/>
                  </a:lnTo>
                  <a:lnTo>
                    <a:pt x="221" y="1636"/>
                  </a:lnTo>
                  <a:lnTo>
                    <a:pt x="220" y="1640"/>
                  </a:lnTo>
                  <a:lnTo>
                    <a:pt x="221" y="1643"/>
                  </a:lnTo>
                  <a:lnTo>
                    <a:pt x="222" y="1647"/>
                  </a:lnTo>
                  <a:lnTo>
                    <a:pt x="225" y="1649"/>
                  </a:lnTo>
                  <a:lnTo>
                    <a:pt x="227" y="1652"/>
                  </a:lnTo>
                  <a:lnTo>
                    <a:pt x="233" y="1657"/>
                  </a:lnTo>
                  <a:lnTo>
                    <a:pt x="238" y="1662"/>
                  </a:lnTo>
                  <a:lnTo>
                    <a:pt x="246" y="1678"/>
                  </a:lnTo>
                  <a:lnTo>
                    <a:pt x="252" y="1693"/>
                  </a:lnTo>
                  <a:lnTo>
                    <a:pt x="262" y="1700"/>
                  </a:lnTo>
                  <a:lnTo>
                    <a:pt x="273" y="1707"/>
                  </a:lnTo>
                  <a:lnTo>
                    <a:pt x="276" y="1709"/>
                  </a:lnTo>
                  <a:lnTo>
                    <a:pt x="277" y="1711"/>
                  </a:lnTo>
                  <a:lnTo>
                    <a:pt x="278" y="1715"/>
                  </a:lnTo>
                  <a:lnTo>
                    <a:pt x="279" y="1719"/>
                  </a:lnTo>
                  <a:lnTo>
                    <a:pt x="279" y="1726"/>
                  </a:lnTo>
                  <a:lnTo>
                    <a:pt x="278" y="1734"/>
                  </a:lnTo>
                  <a:lnTo>
                    <a:pt x="277" y="1749"/>
                  </a:lnTo>
                  <a:lnTo>
                    <a:pt x="274" y="1764"/>
                  </a:lnTo>
                  <a:lnTo>
                    <a:pt x="282" y="1781"/>
                  </a:lnTo>
                  <a:lnTo>
                    <a:pt x="291" y="1798"/>
                  </a:lnTo>
                  <a:lnTo>
                    <a:pt x="286" y="1812"/>
                  </a:lnTo>
                  <a:lnTo>
                    <a:pt x="282" y="1826"/>
                  </a:lnTo>
                  <a:lnTo>
                    <a:pt x="282" y="1883"/>
                  </a:lnTo>
                  <a:lnTo>
                    <a:pt x="278" y="1896"/>
                  </a:lnTo>
                  <a:lnTo>
                    <a:pt x="274" y="1911"/>
                  </a:lnTo>
                  <a:lnTo>
                    <a:pt x="274" y="1914"/>
                  </a:lnTo>
                  <a:lnTo>
                    <a:pt x="276" y="1916"/>
                  </a:lnTo>
                  <a:lnTo>
                    <a:pt x="277" y="1919"/>
                  </a:lnTo>
                  <a:lnTo>
                    <a:pt x="278" y="1921"/>
                  </a:lnTo>
                  <a:lnTo>
                    <a:pt x="283" y="1924"/>
                  </a:lnTo>
                  <a:lnTo>
                    <a:pt x="289" y="1925"/>
                  </a:lnTo>
                  <a:lnTo>
                    <a:pt x="303" y="1927"/>
                  </a:lnTo>
                  <a:lnTo>
                    <a:pt x="317" y="1930"/>
                  </a:lnTo>
                  <a:lnTo>
                    <a:pt x="323" y="1932"/>
                  </a:lnTo>
                  <a:lnTo>
                    <a:pt x="327" y="1936"/>
                  </a:lnTo>
                  <a:lnTo>
                    <a:pt x="329" y="1941"/>
                  </a:lnTo>
                  <a:lnTo>
                    <a:pt x="330" y="1947"/>
                  </a:lnTo>
                  <a:lnTo>
                    <a:pt x="332" y="1961"/>
                  </a:lnTo>
                  <a:lnTo>
                    <a:pt x="335" y="1973"/>
                  </a:lnTo>
                  <a:lnTo>
                    <a:pt x="339" y="1977"/>
                  </a:lnTo>
                  <a:lnTo>
                    <a:pt x="342" y="1981"/>
                  </a:lnTo>
                  <a:lnTo>
                    <a:pt x="346" y="1983"/>
                  </a:lnTo>
                  <a:lnTo>
                    <a:pt x="350" y="1984"/>
                  </a:lnTo>
                  <a:lnTo>
                    <a:pt x="359" y="1988"/>
                  </a:lnTo>
                  <a:lnTo>
                    <a:pt x="369" y="1992"/>
                  </a:lnTo>
                  <a:lnTo>
                    <a:pt x="383" y="2005"/>
                  </a:lnTo>
                  <a:lnTo>
                    <a:pt x="399" y="2018"/>
                  </a:lnTo>
                  <a:lnTo>
                    <a:pt x="406" y="2019"/>
                  </a:lnTo>
                  <a:lnTo>
                    <a:pt x="414" y="2020"/>
                  </a:lnTo>
                  <a:lnTo>
                    <a:pt x="416" y="2022"/>
                  </a:lnTo>
                  <a:lnTo>
                    <a:pt x="419" y="2023"/>
                  </a:lnTo>
                  <a:lnTo>
                    <a:pt x="421" y="2025"/>
                  </a:lnTo>
                  <a:lnTo>
                    <a:pt x="421" y="2029"/>
                  </a:lnTo>
                  <a:lnTo>
                    <a:pt x="420" y="2035"/>
                  </a:lnTo>
                  <a:lnTo>
                    <a:pt x="419" y="2043"/>
                  </a:lnTo>
                  <a:lnTo>
                    <a:pt x="419" y="2092"/>
                  </a:lnTo>
                  <a:lnTo>
                    <a:pt x="419" y="2101"/>
                  </a:lnTo>
                  <a:lnTo>
                    <a:pt x="415" y="2108"/>
                  </a:lnTo>
                  <a:lnTo>
                    <a:pt x="411" y="2115"/>
                  </a:lnTo>
                  <a:lnTo>
                    <a:pt x="406" y="2121"/>
                  </a:lnTo>
                  <a:lnTo>
                    <a:pt x="395" y="2133"/>
                  </a:lnTo>
                  <a:lnTo>
                    <a:pt x="385" y="2147"/>
                  </a:lnTo>
                  <a:lnTo>
                    <a:pt x="385" y="2147"/>
                  </a:lnTo>
                  <a:lnTo>
                    <a:pt x="621" y="2136"/>
                  </a:lnTo>
                  <a:lnTo>
                    <a:pt x="632" y="2153"/>
                  </a:lnTo>
                  <a:lnTo>
                    <a:pt x="642" y="2170"/>
                  </a:lnTo>
                  <a:lnTo>
                    <a:pt x="650" y="2187"/>
                  </a:lnTo>
                  <a:lnTo>
                    <a:pt x="657" y="2204"/>
                  </a:lnTo>
                  <a:lnTo>
                    <a:pt x="668" y="2240"/>
                  </a:lnTo>
                  <a:lnTo>
                    <a:pt x="681" y="2281"/>
                  </a:lnTo>
                  <a:lnTo>
                    <a:pt x="686" y="2293"/>
                  </a:lnTo>
                  <a:lnTo>
                    <a:pt x="692" y="2306"/>
                  </a:lnTo>
                  <a:lnTo>
                    <a:pt x="698" y="2317"/>
                  </a:lnTo>
                  <a:lnTo>
                    <a:pt x="704" y="2327"/>
                  </a:lnTo>
                  <a:lnTo>
                    <a:pt x="710" y="2338"/>
                  </a:lnTo>
                  <a:lnTo>
                    <a:pt x="717" y="2349"/>
                  </a:lnTo>
                  <a:lnTo>
                    <a:pt x="722" y="2360"/>
                  </a:lnTo>
                  <a:lnTo>
                    <a:pt x="725" y="2374"/>
                  </a:lnTo>
                  <a:lnTo>
                    <a:pt x="732" y="2375"/>
                  </a:lnTo>
                  <a:lnTo>
                    <a:pt x="736" y="2378"/>
                  </a:lnTo>
                  <a:lnTo>
                    <a:pt x="754" y="2371"/>
                  </a:lnTo>
                  <a:lnTo>
                    <a:pt x="771" y="2364"/>
                  </a:lnTo>
                  <a:lnTo>
                    <a:pt x="771" y="2364"/>
                  </a:lnTo>
                  <a:lnTo>
                    <a:pt x="939" y="1729"/>
                  </a:lnTo>
                  <a:lnTo>
                    <a:pt x="1438" y="1664"/>
                  </a:lnTo>
                  <a:lnTo>
                    <a:pt x="1438" y="1664"/>
                  </a:lnTo>
                  <a:lnTo>
                    <a:pt x="1438" y="1663"/>
                  </a:lnTo>
                  <a:lnTo>
                    <a:pt x="1438" y="1662"/>
                  </a:lnTo>
                  <a:lnTo>
                    <a:pt x="1442" y="1653"/>
                  </a:lnTo>
                  <a:lnTo>
                    <a:pt x="1444" y="1646"/>
                  </a:lnTo>
                  <a:lnTo>
                    <a:pt x="1447" y="1642"/>
                  </a:lnTo>
                  <a:lnTo>
                    <a:pt x="1449" y="1640"/>
                  </a:lnTo>
                  <a:lnTo>
                    <a:pt x="1453" y="1638"/>
                  </a:lnTo>
                  <a:lnTo>
                    <a:pt x="1457" y="1638"/>
                  </a:lnTo>
                  <a:lnTo>
                    <a:pt x="1466" y="1640"/>
                  </a:lnTo>
                  <a:lnTo>
                    <a:pt x="1473" y="1642"/>
                  </a:lnTo>
                  <a:lnTo>
                    <a:pt x="1480" y="1647"/>
                  </a:lnTo>
                  <a:lnTo>
                    <a:pt x="1487" y="1652"/>
                  </a:lnTo>
                  <a:lnTo>
                    <a:pt x="1493" y="1657"/>
                  </a:lnTo>
                  <a:lnTo>
                    <a:pt x="1499" y="1662"/>
                  </a:lnTo>
                  <a:lnTo>
                    <a:pt x="1507" y="1666"/>
                  </a:lnTo>
                  <a:lnTo>
                    <a:pt x="1515" y="1667"/>
                  </a:lnTo>
                  <a:lnTo>
                    <a:pt x="1520" y="1666"/>
                  </a:lnTo>
                  <a:lnTo>
                    <a:pt x="1524" y="1666"/>
                  </a:lnTo>
                  <a:lnTo>
                    <a:pt x="1528" y="1663"/>
                  </a:lnTo>
                  <a:lnTo>
                    <a:pt x="1531" y="1662"/>
                  </a:lnTo>
                  <a:lnTo>
                    <a:pt x="1536" y="1656"/>
                  </a:lnTo>
                  <a:lnTo>
                    <a:pt x="1540" y="1649"/>
                  </a:lnTo>
                  <a:lnTo>
                    <a:pt x="1544" y="1641"/>
                  </a:lnTo>
                  <a:lnTo>
                    <a:pt x="1546" y="1632"/>
                  </a:lnTo>
                  <a:lnTo>
                    <a:pt x="1549" y="1623"/>
                  </a:lnTo>
                  <a:lnTo>
                    <a:pt x="1550" y="1613"/>
                  </a:lnTo>
                  <a:lnTo>
                    <a:pt x="1550" y="1604"/>
                  </a:lnTo>
                  <a:lnTo>
                    <a:pt x="1551" y="1594"/>
                  </a:lnTo>
                  <a:lnTo>
                    <a:pt x="1552" y="1590"/>
                  </a:lnTo>
                  <a:lnTo>
                    <a:pt x="1555" y="1586"/>
                  </a:lnTo>
                  <a:lnTo>
                    <a:pt x="1557" y="1585"/>
                  </a:lnTo>
                  <a:lnTo>
                    <a:pt x="1561" y="1584"/>
                  </a:lnTo>
                  <a:lnTo>
                    <a:pt x="1565" y="1584"/>
                  </a:lnTo>
                  <a:lnTo>
                    <a:pt x="1569" y="1585"/>
                  </a:lnTo>
                  <a:lnTo>
                    <a:pt x="1571" y="1587"/>
                  </a:lnTo>
                  <a:lnTo>
                    <a:pt x="1575" y="1589"/>
                  </a:lnTo>
                  <a:lnTo>
                    <a:pt x="1580" y="1595"/>
                  </a:lnTo>
                  <a:lnTo>
                    <a:pt x="1584" y="1601"/>
                  </a:lnTo>
                  <a:lnTo>
                    <a:pt x="1588" y="1607"/>
                  </a:lnTo>
                  <a:lnTo>
                    <a:pt x="1593" y="1612"/>
                  </a:lnTo>
                  <a:lnTo>
                    <a:pt x="1596" y="1615"/>
                  </a:lnTo>
                  <a:lnTo>
                    <a:pt x="1600" y="1616"/>
                  </a:lnTo>
                  <a:lnTo>
                    <a:pt x="1603" y="1617"/>
                  </a:lnTo>
                  <a:lnTo>
                    <a:pt x="1607" y="1618"/>
                  </a:lnTo>
                  <a:lnTo>
                    <a:pt x="1623" y="1615"/>
                  </a:lnTo>
                  <a:lnTo>
                    <a:pt x="1641" y="1611"/>
                  </a:lnTo>
                  <a:lnTo>
                    <a:pt x="1664" y="1611"/>
                  </a:lnTo>
                  <a:lnTo>
                    <a:pt x="1684" y="1611"/>
                  </a:lnTo>
                  <a:lnTo>
                    <a:pt x="1694" y="1611"/>
                  </a:lnTo>
                  <a:lnTo>
                    <a:pt x="1705" y="1610"/>
                  </a:lnTo>
                  <a:lnTo>
                    <a:pt x="1715" y="1607"/>
                  </a:lnTo>
                  <a:lnTo>
                    <a:pt x="1726" y="1604"/>
                  </a:lnTo>
                  <a:lnTo>
                    <a:pt x="1730" y="1610"/>
                  </a:lnTo>
                  <a:lnTo>
                    <a:pt x="1733" y="1616"/>
                  </a:lnTo>
                  <a:lnTo>
                    <a:pt x="1731" y="1625"/>
                  </a:lnTo>
                  <a:lnTo>
                    <a:pt x="1728" y="1632"/>
                  </a:lnTo>
                  <a:lnTo>
                    <a:pt x="1724" y="1640"/>
                  </a:lnTo>
                  <a:lnTo>
                    <a:pt x="1718" y="1644"/>
                  </a:lnTo>
                  <a:lnTo>
                    <a:pt x="1704" y="1654"/>
                  </a:lnTo>
                  <a:lnTo>
                    <a:pt x="1689" y="1664"/>
                  </a:lnTo>
                  <a:lnTo>
                    <a:pt x="1674" y="1678"/>
                  </a:lnTo>
                  <a:lnTo>
                    <a:pt x="1662" y="1690"/>
                  </a:lnTo>
                  <a:lnTo>
                    <a:pt x="1656" y="1697"/>
                  </a:lnTo>
                  <a:lnTo>
                    <a:pt x="1648" y="1700"/>
                  </a:lnTo>
                  <a:lnTo>
                    <a:pt x="1639" y="1704"/>
                  </a:lnTo>
                  <a:lnTo>
                    <a:pt x="1631" y="1705"/>
                  </a:lnTo>
                  <a:lnTo>
                    <a:pt x="1612" y="1702"/>
                  </a:lnTo>
                  <a:lnTo>
                    <a:pt x="1595" y="1699"/>
                  </a:lnTo>
                  <a:lnTo>
                    <a:pt x="1586" y="1699"/>
                  </a:lnTo>
                  <a:lnTo>
                    <a:pt x="1579" y="1700"/>
                  </a:lnTo>
                  <a:lnTo>
                    <a:pt x="1581" y="1711"/>
                  </a:lnTo>
                  <a:lnTo>
                    <a:pt x="1582" y="1721"/>
                  </a:lnTo>
                  <a:lnTo>
                    <a:pt x="1585" y="1731"/>
                  </a:lnTo>
                  <a:lnTo>
                    <a:pt x="1588" y="1741"/>
                  </a:lnTo>
                  <a:lnTo>
                    <a:pt x="1593" y="1751"/>
                  </a:lnTo>
                  <a:lnTo>
                    <a:pt x="1598" y="1760"/>
                  </a:lnTo>
                  <a:lnTo>
                    <a:pt x="1601" y="1765"/>
                  </a:lnTo>
                  <a:lnTo>
                    <a:pt x="1602" y="1769"/>
                  </a:lnTo>
                  <a:lnTo>
                    <a:pt x="1603" y="1773"/>
                  </a:lnTo>
                  <a:lnTo>
                    <a:pt x="1603" y="1780"/>
                  </a:lnTo>
                  <a:lnTo>
                    <a:pt x="1603" y="1787"/>
                  </a:lnTo>
                  <a:lnTo>
                    <a:pt x="1602" y="1793"/>
                  </a:lnTo>
                  <a:lnTo>
                    <a:pt x="1601" y="1800"/>
                  </a:lnTo>
                  <a:lnTo>
                    <a:pt x="1598" y="1806"/>
                  </a:lnTo>
                  <a:lnTo>
                    <a:pt x="1598" y="1806"/>
                  </a:lnTo>
                  <a:lnTo>
                    <a:pt x="1606" y="1818"/>
                  </a:lnTo>
                  <a:lnTo>
                    <a:pt x="1613" y="1828"/>
                  </a:lnTo>
                  <a:lnTo>
                    <a:pt x="1621" y="1837"/>
                  </a:lnTo>
                  <a:lnTo>
                    <a:pt x="1629" y="1845"/>
                  </a:lnTo>
                  <a:lnTo>
                    <a:pt x="1647" y="1860"/>
                  </a:lnTo>
                  <a:lnTo>
                    <a:pt x="1665" y="1879"/>
                  </a:lnTo>
                  <a:lnTo>
                    <a:pt x="1673" y="1890"/>
                  </a:lnTo>
                  <a:lnTo>
                    <a:pt x="1678" y="1900"/>
                  </a:lnTo>
                  <a:lnTo>
                    <a:pt x="1682" y="1910"/>
                  </a:lnTo>
                  <a:lnTo>
                    <a:pt x="1684" y="1921"/>
                  </a:lnTo>
                  <a:lnTo>
                    <a:pt x="1688" y="1931"/>
                  </a:lnTo>
                  <a:lnTo>
                    <a:pt x="1690" y="1942"/>
                  </a:lnTo>
                  <a:lnTo>
                    <a:pt x="1694" y="1953"/>
                  </a:lnTo>
                  <a:lnTo>
                    <a:pt x="1699" y="1965"/>
                  </a:lnTo>
                  <a:lnTo>
                    <a:pt x="1711" y="1986"/>
                  </a:lnTo>
                  <a:lnTo>
                    <a:pt x="1723" y="2004"/>
                  </a:lnTo>
                  <a:lnTo>
                    <a:pt x="1734" y="2023"/>
                  </a:lnTo>
                  <a:lnTo>
                    <a:pt x="1745" y="2044"/>
                  </a:lnTo>
                  <a:lnTo>
                    <a:pt x="1750" y="2056"/>
                  </a:lnTo>
                  <a:lnTo>
                    <a:pt x="1755" y="2067"/>
                  </a:lnTo>
                  <a:lnTo>
                    <a:pt x="1760" y="2080"/>
                  </a:lnTo>
                  <a:lnTo>
                    <a:pt x="1762" y="2092"/>
                  </a:lnTo>
                  <a:lnTo>
                    <a:pt x="1764" y="2102"/>
                  </a:lnTo>
                  <a:lnTo>
                    <a:pt x="1765" y="2111"/>
                  </a:lnTo>
                  <a:lnTo>
                    <a:pt x="1766" y="2116"/>
                  </a:lnTo>
                  <a:lnTo>
                    <a:pt x="1769" y="2118"/>
                  </a:lnTo>
                  <a:lnTo>
                    <a:pt x="1772" y="2121"/>
                  </a:lnTo>
                  <a:lnTo>
                    <a:pt x="1776" y="2121"/>
                  </a:lnTo>
                  <a:lnTo>
                    <a:pt x="1793" y="2120"/>
                  </a:lnTo>
                  <a:lnTo>
                    <a:pt x="1810" y="2117"/>
                  </a:lnTo>
                  <a:lnTo>
                    <a:pt x="1826" y="2113"/>
                  </a:lnTo>
                  <a:lnTo>
                    <a:pt x="1839" y="2108"/>
                  </a:lnTo>
                  <a:lnTo>
                    <a:pt x="1854" y="2103"/>
                  </a:lnTo>
                  <a:lnTo>
                    <a:pt x="1869" y="2100"/>
                  </a:lnTo>
                  <a:lnTo>
                    <a:pt x="1885" y="2097"/>
                  </a:lnTo>
                  <a:lnTo>
                    <a:pt x="1903" y="2096"/>
                  </a:lnTo>
                  <a:lnTo>
                    <a:pt x="1915" y="2096"/>
                  </a:lnTo>
                  <a:lnTo>
                    <a:pt x="1928" y="2100"/>
                  </a:lnTo>
                  <a:lnTo>
                    <a:pt x="1937" y="2103"/>
                  </a:lnTo>
                  <a:lnTo>
                    <a:pt x="1947" y="2108"/>
                  </a:lnTo>
                  <a:lnTo>
                    <a:pt x="1967" y="2120"/>
                  </a:lnTo>
                  <a:lnTo>
                    <a:pt x="1990" y="2132"/>
                  </a:lnTo>
                  <a:lnTo>
                    <a:pt x="2008" y="2141"/>
                  </a:lnTo>
                  <a:lnTo>
                    <a:pt x="2024" y="2149"/>
                  </a:lnTo>
                  <a:lnTo>
                    <a:pt x="2041" y="2156"/>
                  </a:lnTo>
                  <a:lnTo>
                    <a:pt x="2057" y="2161"/>
                  </a:lnTo>
                  <a:lnTo>
                    <a:pt x="2074" y="2164"/>
                  </a:lnTo>
                  <a:lnTo>
                    <a:pt x="2090" y="2167"/>
                  </a:lnTo>
                  <a:lnTo>
                    <a:pt x="2109" y="2169"/>
                  </a:lnTo>
                  <a:lnTo>
                    <a:pt x="2129" y="2169"/>
                  </a:lnTo>
                  <a:lnTo>
                    <a:pt x="2144" y="2169"/>
                  </a:lnTo>
                  <a:lnTo>
                    <a:pt x="2156" y="2167"/>
                  </a:lnTo>
                  <a:lnTo>
                    <a:pt x="2169" y="2163"/>
                  </a:lnTo>
                  <a:lnTo>
                    <a:pt x="2181" y="2159"/>
                  </a:lnTo>
                  <a:lnTo>
                    <a:pt x="2192" y="2156"/>
                  </a:lnTo>
                  <a:lnTo>
                    <a:pt x="2205" y="2153"/>
                  </a:lnTo>
                  <a:lnTo>
                    <a:pt x="2218" y="2151"/>
                  </a:lnTo>
                  <a:lnTo>
                    <a:pt x="2232" y="2149"/>
                  </a:lnTo>
                  <a:lnTo>
                    <a:pt x="2277" y="2149"/>
                  </a:lnTo>
                  <a:lnTo>
                    <a:pt x="2280" y="2168"/>
                  </a:lnTo>
                  <a:lnTo>
                    <a:pt x="2284" y="2184"/>
                  </a:lnTo>
                  <a:lnTo>
                    <a:pt x="2288" y="2199"/>
                  </a:lnTo>
                  <a:lnTo>
                    <a:pt x="2291" y="2214"/>
                  </a:lnTo>
                  <a:lnTo>
                    <a:pt x="2295" y="2227"/>
                  </a:lnTo>
                  <a:lnTo>
                    <a:pt x="2299" y="2244"/>
                  </a:lnTo>
                  <a:lnTo>
                    <a:pt x="2303" y="2260"/>
                  </a:lnTo>
                  <a:lnTo>
                    <a:pt x="2305" y="2277"/>
                  </a:lnTo>
                  <a:lnTo>
                    <a:pt x="2305" y="2296"/>
                  </a:lnTo>
                  <a:lnTo>
                    <a:pt x="2304" y="2313"/>
                  </a:lnTo>
                  <a:lnTo>
                    <a:pt x="2304" y="2322"/>
                  </a:lnTo>
                  <a:lnTo>
                    <a:pt x="2305" y="2329"/>
                  </a:lnTo>
                  <a:lnTo>
                    <a:pt x="2306" y="2338"/>
                  </a:lnTo>
                  <a:lnTo>
                    <a:pt x="2311" y="2345"/>
                  </a:lnTo>
                  <a:lnTo>
                    <a:pt x="2318" y="2352"/>
                  </a:lnTo>
                  <a:lnTo>
                    <a:pt x="2324" y="2356"/>
                  </a:lnTo>
                  <a:lnTo>
                    <a:pt x="2331" y="2360"/>
                  </a:lnTo>
                  <a:lnTo>
                    <a:pt x="2339" y="2364"/>
                  </a:lnTo>
                  <a:lnTo>
                    <a:pt x="2346" y="2368"/>
                  </a:lnTo>
                  <a:lnTo>
                    <a:pt x="2351" y="2371"/>
                  </a:lnTo>
                  <a:lnTo>
                    <a:pt x="2354" y="2374"/>
                  </a:lnTo>
                  <a:lnTo>
                    <a:pt x="2356" y="2378"/>
                  </a:lnTo>
                  <a:lnTo>
                    <a:pt x="2356" y="2381"/>
                  </a:lnTo>
                  <a:lnTo>
                    <a:pt x="2357" y="2385"/>
                  </a:lnTo>
                  <a:lnTo>
                    <a:pt x="2357" y="2420"/>
                  </a:lnTo>
                  <a:lnTo>
                    <a:pt x="2344" y="2422"/>
                  </a:lnTo>
                  <a:lnTo>
                    <a:pt x="2331" y="2425"/>
                  </a:lnTo>
                  <a:lnTo>
                    <a:pt x="2326" y="2427"/>
                  </a:lnTo>
                  <a:lnTo>
                    <a:pt x="2321" y="2430"/>
                  </a:lnTo>
                  <a:lnTo>
                    <a:pt x="2318" y="2435"/>
                  </a:lnTo>
                  <a:lnTo>
                    <a:pt x="2314" y="2440"/>
                  </a:lnTo>
                  <a:lnTo>
                    <a:pt x="2310" y="2451"/>
                  </a:lnTo>
                  <a:lnTo>
                    <a:pt x="2308" y="2461"/>
                  </a:lnTo>
                  <a:lnTo>
                    <a:pt x="2308" y="2472"/>
                  </a:lnTo>
                  <a:lnTo>
                    <a:pt x="2308" y="2482"/>
                  </a:lnTo>
                  <a:lnTo>
                    <a:pt x="2308" y="2492"/>
                  </a:lnTo>
                  <a:lnTo>
                    <a:pt x="2308" y="2502"/>
                  </a:lnTo>
                  <a:lnTo>
                    <a:pt x="2308" y="2513"/>
                  </a:lnTo>
                  <a:lnTo>
                    <a:pt x="2305" y="2525"/>
                  </a:lnTo>
                  <a:lnTo>
                    <a:pt x="2329" y="2529"/>
                  </a:lnTo>
                  <a:lnTo>
                    <a:pt x="2351" y="2531"/>
                  </a:lnTo>
                  <a:lnTo>
                    <a:pt x="2361" y="2533"/>
                  </a:lnTo>
                  <a:lnTo>
                    <a:pt x="2370" y="2536"/>
                  </a:lnTo>
                  <a:lnTo>
                    <a:pt x="2375" y="2539"/>
                  </a:lnTo>
                  <a:lnTo>
                    <a:pt x="2378" y="2543"/>
                  </a:lnTo>
                  <a:lnTo>
                    <a:pt x="2382" y="2546"/>
                  </a:lnTo>
                  <a:lnTo>
                    <a:pt x="2386" y="2550"/>
                  </a:lnTo>
                  <a:lnTo>
                    <a:pt x="2388" y="2556"/>
                  </a:lnTo>
                  <a:lnTo>
                    <a:pt x="2390" y="2562"/>
                  </a:lnTo>
                  <a:lnTo>
                    <a:pt x="2390" y="2567"/>
                  </a:lnTo>
                  <a:lnTo>
                    <a:pt x="2388" y="2574"/>
                  </a:lnTo>
                  <a:lnTo>
                    <a:pt x="2386" y="2586"/>
                  </a:lnTo>
                  <a:lnTo>
                    <a:pt x="2386" y="2598"/>
                  </a:lnTo>
                  <a:lnTo>
                    <a:pt x="2387" y="2610"/>
                  </a:lnTo>
                  <a:lnTo>
                    <a:pt x="2390" y="2621"/>
                  </a:lnTo>
                  <a:lnTo>
                    <a:pt x="2393" y="2631"/>
                  </a:lnTo>
                  <a:lnTo>
                    <a:pt x="2397" y="2641"/>
                  </a:lnTo>
                  <a:lnTo>
                    <a:pt x="2402" y="2648"/>
                  </a:lnTo>
                  <a:lnTo>
                    <a:pt x="2408" y="2657"/>
                  </a:lnTo>
                  <a:lnTo>
                    <a:pt x="2416" y="2664"/>
                  </a:lnTo>
                  <a:lnTo>
                    <a:pt x="2426" y="2670"/>
                  </a:lnTo>
                  <a:lnTo>
                    <a:pt x="2434" y="2674"/>
                  </a:lnTo>
                  <a:lnTo>
                    <a:pt x="2442" y="2677"/>
                  </a:lnTo>
                  <a:lnTo>
                    <a:pt x="2450" y="2678"/>
                  </a:lnTo>
                  <a:lnTo>
                    <a:pt x="2459" y="2678"/>
                  </a:lnTo>
                  <a:lnTo>
                    <a:pt x="2477" y="2678"/>
                  </a:lnTo>
                  <a:lnTo>
                    <a:pt x="2496" y="2679"/>
                  </a:lnTo>
                  <a:lnTo>
                    <a:pt x="2514" y="2681"/>
                  </a:lnTo>
                  <a:lnTo>
                    <a:pt x="2530" y="2685"/>
                  </a:lnTo>
                  <a:lnTo>
                    <a:pt x="2545" y="2690"/>
                  </a:lnTo>
                  <a:lnTo>
                    <a:pt x="2558" y="2696"/>
                  </a:lnTo>
                  <a:lnTo>
                    <a:pt x="2573" y="2701"/>
                  </a:lnTo>
                  <a:lnTo>
                    <a:pt x="2588" y="2705"/>
                  </a:lnTo>
                  <a:lnTo>
                    <a:pt x="2603" y="2709"/>
                  </a:lnTo>
                  <a:lnTo>
                    <a:pt x="2622" y="2710"/>
                  </a:lnTo>
                  <a:lnTo>
                    <a:pt x="2631" y="2709"/>
                  </a:lnTo>
                  <a:lnTo>
                    <a:pt x="2638" y="2708"/>
                  </a:lnTo>
                  <a:lnTo>
                    <a:pt x="2644" y="2705"/>
                  </a:lnTo>
                  <a:lnTo>
                    <a:pt x="2650" y="2701"/>
                  </a:lnTo>
                  <a:lnTo>
                    <a:pt x="2655" y="2696"/>
                  </a:lnTo>
                  <a:lnTo>
                    <a:pt x="2660" y="2691"/>
                  </a:lnTo>
                  <a:lnTo>
                    <a:pt x="2665" y="2685"/>
                  </a:lnTo>
                  <a:lnTo>
                    <a:pt x="2669" y="2679"/>
                  </a:lnTo>
                  <a:lnTo>
                    <a:pt x="2678" y="2665"/>
                  </a:lnTo>
                  <a:lnTo>
                    <a:pt x="2688" y="2652"/>
                  </a:lnTo>
                  <a:lnTo>
                    <a:pt x="2693" y="2646"/>
                  </a:lnTo>
                  <a:lnTo>
                    <a:pt x="2698" y="2639"/>
                  </a:lnTo>
                  <a:lnTo>
                    <a:pt x="2704" y="2633"/>
                  </a:lnTo>
                  <a:lnTo>
                    <a:pt x="2710" y="2627"/>
                  </a:lnTo>
                  <a:lnTo>
                    <a:pt x="2726" y="2616"/>
                  </a:lnTo>
                  <a:lnTo>
                    <a:pt x="2741" y="2607"/>
                  </a:lnTo>
                  <a:lnTo>
                    <a:pt x="2756" y="2598"/>
                  </a:lnTo>
                  <a:lnTo>
                    <a:pt x="2771" y="2592"/>
                  </a:lnTo>
                  <a:lnTo>
                    <a:pt x="2787" y="2586"/>
                  </a:lnTo>
                  <a:lnTo>
                    <a:pt x="2803" y="2580"/>
                  </a:lnTo>
                  <a:lnTo>
                    <a:pt x="2821" y="2575"/>
                  </a:lnTo>
                  <a:lnTo>
                    <a:pt x="2840" y="2570"/>
                  </a:lnTo>
                  <a:lnTo>
                    <a:pt x="2857" y="2566"/>
                  </a:lnTo>
                  <a:lnTo>
                    <a:pt x="2869" y="2559"/>
                  </a:lnTo>
                  <a:lnTo>
                    <a:pt x="2881" y="2551"/>
                  </a:lnTo>
                  <a:lnTo>
                    <a:pt x="2891" y="2544"/>
                  </a:lnTo>
                  <a:lnTo>
                    <a:pt x="2903" y="2535"/>
                  </a:lnTo>
                  <a:lnTo>
                    <a:pt x="2914" y="2528"/>
                  </a:lnTo>
                  <a:lnTo>
                    <a:pt x="2926" y="2520"/>
                  </a:lnTo>
                  <a:lnTo>
                    <a:pt x="2941" y="2514"/>
                  </a:lnTo>
                  <a:lnTo>
                    <a:pt x="2960" y="2505"/>
                  </a:lnTo>
                  <a:lnTo>
                    <a:pt x="2976" y="2498"/>
                  </a:lnTo>
                  <a:lnTo>
                    <a:pt x="2992" y="2489"/>
                  </a:lnTo>
                  <a:lnTo>
                    <a:pt x="3006" y="2481"/>
                  </a:lnTo>
                  <a:lnTo>
                    <a:pt x="3034" y="2462"/>
                  </a:lnTo>
                  <a:lnTo>
                    <a:pt x="3069" y="2442"/>
                  </a:lnTo>
                  <a:lnTo>
                    <a:pt x="3069" y="2442"/>
                  </a:lnTo>
                  <a:lnTo>
                    <a:pt x="3085" y="2423"/>
                  </a:lnTo>
                  <a:lnTo>
                    <a:pt x="3099" y="2406"/>
                  </a:lnTo>
                  <a:lnTo>
                    <a:pt x="3106" y="2399"/>
                  </a:lnTo>
                  <a:lnTo>
                    <a:pt x="3115" y="2394"/>
                  </a:lnTo>
                  <a:lnTo>
                    <a:pt x="3120" y="2391"/>
                  </a:lnTo>
                  <a:lnTo>
                    <a:pt x="3125" y="2390"/>
                  </a:lnTo>
                  <a:lnTo>
                    <a:pt x="3131" y="2389"/>
                  </a:lnTo>
                  <a:lnTo>
                    <a:pt x="3137" y="2389"/>
                  </a:lnTo>
                  <a:lnTo>
                    <a:pt x="3150" y="2389"/>
                  </a:lnTo>
                  <a:lnTo>
                    <a:pt x="3161" y="2391"/>
                  </a:lnTo>
                  <a:lnTo>
                    <a:pt x="3171" y="2395"/>
                  </a:lnTo>
                  <a:lnTo>
                    <a:pt x="3182" y="2399"/>
                  </a:lnTo>
                  <a:lnTo>
                    <a:pt x="3192" y="2402"/>
                  </a:lnTo>
                  <a:lnTo>
                    <a:pt x="3202" y="2405"/>
                  </a:lnTo>
                  <a:lnTo>
                    <a:pt x="3213" y="2407"/>
                  </a:lnTo>
                  <a:lnTo>
                    <a:pt x="3225" y="2409"/>
                  </a:lnTo>
                  <a:lnTo>
                    <a:pt x="3295" y="2409"/>
                  </a:lnTo>
                  <a:lnTo>
                    <a:pt x="3311" y="2410"/>
                  </a:lnTo>
                  <a:lnTo>
                    <a:pt x="3324" y="2412"/>
                  </a:lnTo>
                  <a:lnTo>
                    <a:pt x="3336" y="2416"/>
                  </a:lnTo>
                  <a:lnTo>
                    <a:pt x="3347" y="2422"/>
                  </a:lnTo>
                  <a:lnTo>
                    <a:pt x="3370" y="2436"/>
                  </a:lnTo>
                  <a:lnTo>
                    <a:pt x="3396" y="2451"/>
                  </a:lnTo>
                  <a:lnTo>
                    <a:pt x="3396" y="2395"/>
                  </a:lnTo>
                  <a:lnTo>
                    <a:pt x="3396" y="2378"/>
                  </a:lnTo>
                  <a:lnTo>
                    <a:pt x="3397" y="2363"/>
                  </a:lnTo>
                  <a:lnTo>
                    <a:pt x="3398" y="2356"/>
                  </a:lnTo>
                  <a:lnTo>
                    <a:pt x="3401" y="2349"/>
                  </a:lnTo>
                  <a:lnTo>
                    <a:pt x="3403" y="2342"/>
                  </a:lnTo>
                  <a:lnTo>
                    <a:pt x="3407" y="2334"/>
                  </a:lnTo>
                  <a:lnTo>
                    <a:pt x="3412" y="2329"/>
                  </a:lnTo>
                  <a:lnTo>
                    <a:pt x="3415" y="2324"/>
                  </a:lnTo>
                  <a:lnTo>
                    <a:pt x="3420" y="2321"/>
                  </a:lnTo>
                  <a:lnTo>
                    <a:pt x="3427" y="2318"/>
                  </a:lnTo>
                  <a:lnTo>
                    <a:pt x="3438" y="2314"/>
                  </a:lnTo>
                  <a:lnTo>
                    <a:pt x="3450" y="2313"/>
                  </a:lnTo>
                  <a:lnTo>
                    <a:pt x="3476" y="2316"/>
                  </a:lnTo>
                  <a:lnTo>
                    <a:pt x="3506" y="2317"/>
                  </a:lnTo>
                  <a:lnTo>
                    <a:pt x="3524" y="2317"/>
                  </a:lnTo>
                  <a:lnTo>
                    <a:pt x="3538" y="2314"/>
                  </a:lnTo>
                  <a:lnTo>
                    <a:pt x="3546" y="2314"/>
                  </a:lnTo>
                  <a:lnTo>
                    <a:pt x="3553" y="2316"/>
                  </a:lnTo>
                  <a:lnTo>
                    <a:pt x="3562" y="2317"/>
                  </a:lnTo>
                  <a:lnTo>
                    <a:pt x="3569" y="2321"/>
                  </a:lnTo>
                  <a:lnTo>
                    <a:pt x="3581" y="2328"/>
                  </a:lnTo>
                  <a:lnTo>
                    <a:pt x="3591" y="2335"/>
                  </a:lnTo>
                  <a:lnTo>
                    <a:pt x="3598" y="2344"/>
                  </a:lnTo>
                  <a:lnTo>
                    <a:pt x="3605" y="2354"/>
                  </a:lnTo>
                  <a:lnTo>
                    <a:pt x="3612" y="2364"/>
                  </a:lnTo>
                  <a:lnTo>
                    <a:pt x="3619" y="2373"/>
                  </a:lnTo>
                  <a:lnTo>
                    <a:pt x="3628" y="2383"/>
                  </a:lnTo>
                  <a:lnTo>
                    <a:pt x="3638" y="2391"/>
                  </a:lnTo>
                  <a:lnTo>
                    <a:pt x="3655" y="2404"/>
                  </a:lnTo>
                  <a:lnTo>
                    <a:pt x="3671" y="2414"/>
                  </a:lnTo>
                  <a:lnTo>
                    <a:pt x="3687" y="2421"/>
                  </a:lnTo>
                  <a:lnTo>
                    <a:pt x="3704" y="2428"/>
                  </a:lnTo>
                  <a:lnTo>
                    <a:pt x="3720" y="2433"/>
                  </a:lnTo>
                  <a:lnTo>
                    <a:pt x="3737" y="2437"/>
                  </a:lnTo>
                  <a:lnTo>
                    <a:pt x="3757" y="2438"/>
                  </a:lnTo>
                  <a:lnTo>
                    <a:pt x="3777" y="2440"/>
                  </a:lnTo>
                  <a:lnTo>
                    <a:pt x="3788" y="2440"/>
                  </a:lnTo>
                  <a:lnTo>
                    <a:pt x="3797" y="2438"/>
                  </a:lnTo>
                  <a:lnTo>
                    <a:pt x="3805" y="2436"/>
                  </a:lnTo>
                  <a:lnTo>
                    <a:pt x="3814" y="2433"/>
                  </a:lnTo>
                  <a:lnTo>
                    <a:pt x="3830" y="2427"/>
                  </a:lnTo>
                  <a:lnTo>
                    <a:pt x="3846" y="2420"/>
                  </a:lnTo>
                  <a:lnTo>
                    <a:pt x="3861" y="2412"/>
                  </a:lnTo>
                  <a:lnTo>
                    <a:pt x="3877" y="2406"/>
                  </a:lnTo>
                  <a:lnTo>
                    <a:pt x="3886" y="2404"/>
                  </a:lnTo>
                  <a:lnTo>
                    <a:pt x="3895" y="2401"/>
                  </a:lnTo>
                  <a:lnTo>
                    <a:pt x="3905" y="2400"/>
                  </a:lnTo>
                  <a:lnTo>
                    <a:pt x="3915" y="2400"/>
                  </a:lnTo>
                  <a:lnTo>
                    <a:pt x="4028" y="2400"/>
                  </a:lnTo>
                  <a:lnTo>
                    <a:pt x="4048" y="2399"/>
                  </a:lnTo>
                  <a:lnTo>
                    <a:pt x="4066" y="2397"/>
                  </a:lnTo>
                  <a:lnTo>
                    <a:pt x="4085" y="2395"/>
                  </a:lnTo>
                  <a:lnTo>
                    <a:pt x="4106" y="2394"/>
                  </a:lnTo>
                  <a:lnTo>
                    <a:pt x="4121" y="2394"/>
                  </a:lnTo>
                  <a:lnTo>
                    <a:pt x="4135" y="2392"/>
                  </a:lnTo>
                  <a:lnTo>
                    <a:pt x="4147" y="2392"/>
                  </a:lnTo>
                  <a:lnTo>
                    <a:pt x="4162" y="2394"/>
                  </a:lnTo>
                  <a:lnTo>
                    <a:pt x="4167" y="2396"/>
                  </a:lnTo>
                  <a:lnTo>
                    <a:pt x="4172" y="2399"/>
                  </a:lnTo>
                  <a:lnTo>
                    <a:pt x="4177" y="2402"/>
                  </a:lnTo>
                  <a:lnTo>
                    <a:pt x="4181" y="2407"/>
                  </a:lnTo>
                  <a:lnTo>
                    <a:pt x="4184" y="2411"/>
                  </a:lnTo>
                  <a:lnTo>
                    <a:pt x="4189" y="2414"/>
                  </a:lnTo>
                  <a:lnTo>
                    <a:pt x="4194" y="2416"/>
                  </a:lnTo>
                  <a:lnTo>
                    <a:pt x="4199" y="2417"/>
                  </a:lnTo>
                  <a:lnTo>
                    <a:pt x="4287" y="2417"/>
                  </a:lnTo>
                  <a:lnTo>
                    <a:pt x="4292" y="2425"/>
                  </a:lnTo>
                  <a:lnTo>
                    <a:pt x="4295" y="2433"/>
                  </a:lnTo>
                  <a:lnTo>
                    <a:pt x="4299" y="2441"/>
                  </a:lnTo>
                  <a:lnTo>
                    <a:pt x="4301" y="2448"/>
                  </a:lnTo>
                  <a:lnTo>
                    <a:pt x="4304" y="2457"/>
                  </a:lnTo>
                  <a:lnTo>
                    <a:pt x="4307" y="2464"/>
                  </a:lnTo>
                  <a:lnTo>
                    <a:pt x="4312" y="2471"/>
                  </a:lnTo>
                  <a:lnTo>
                    <a:pt x="4318" y="2477"/>
                  </a:lnTo>
                  <a:lnTo>
                    <a:pt x="4335" y="2487"/>
                  </a:lnTo>
                  <a:lnTo>
                    <a:pt x="4349" y="2495"/>
                  </a:lnTo>
                  <a:lnTo>
                    <a:pt x="4366" y="2502"/>
                  </a:lnTo>
                  <a:lnTo>
                    <a:pt x="4381" y="2507"/>
                  </a:lnTo>
                  <a:lnTo>
                    <a:pt x="4413" y="2515"/>
                  </a:lnTo>
                  <a:lnTo>
                    <a:pt x="4449" y="2528"/>
                  </a:lnTo>
                  <a:lnTo>
                    <a:pt x="4449" y="2528"/>
                  </a:lnTo>
                  <a:lnTo>
                    <a:pt x="4450" y="2518"/>
                  </a:lnTo>
                  <a:lnTo>
                    <a:pt x="4453" y="2510"/>
                  </a:lnTo>
                  <a:lnTo>
                    <a:pt x="4456" y="2503"/>
                  </a:lnTo>
                  <a:lnTo>
                    <a:pt x="4461" y="2495"/>
                  </a:lnTo>
                  <a:lnTo>
                    <a:pt x="4470" y="2483"/>
                  </a:lnTo>
                  <a:lnTo>
                    <a:pt x="4480" y="2471"/>
                  </a:lnTo>
                  <a:lnTo>
                    <a:pt x="4490" y="2459"/>
                  </a:lnTo>
                  <a:lnTo>
                    <a:pt x="4498" y="2446"/>
                  </a:lnTo>
                  <a:lnTo>
                    <a:pt x="4501" y="2440"/>
                  </a:lnTo>
                  <a:lnTo>
                    <a:pt x="4503" y="2432"/>
                  </a:lnTo>
                  <a:lnTo>
                    <a:pt x="4506" y="2423"/>
                  </a:lnTo>
                  <a:lnTo>
                    <a:pt x="4506" y="2415"/>
                  </a:lnTo>
                  <a:lnTo>
                    <a:pt x="4506" y="2354"/>
                  </a:lnTo>
                  <a:lnTo>
                    <a:pt x="4507" y="2350"/>
                  </a:lnTo>
                  <a:lnTo>
                    <a:pt x="4507" y="2347"/>
                  </a:lnTo>
                  <a:lnTo>
                    <a:pt x="4510" y="2344"/>
                  </a:lnTo>
                  <a:lnTo>
                    <a:pt x="4511" y="2342"/>
                  </a:lnTo>
                  <a:lnTo>
                    <a:pt x="4517" y="2338"/>
                  </a:lnTo>
                  <a:lnTo>
                    <a:pt x="4523" y="2334"/>
                  </a:lnTo>
                  <a:lnTo>
                    <a:pt x="4530" y="2330"/>
                  </a:lnTo>
                  <a:lnTo>
                    <a:pt x="4535" y="2327"/>
                  </a:lnTo>
                  <a:lnTo>
                    <a:pt x="4537" y="2324"/>
                  </a:lnTo>
                  <a:lnTo>
                    <a:pt x="4539" y="2321"/>
                  </a:lnTo>
                  <a:lnTo>
                    <a:pt x="4539" y="2318"/>
                  </a:lnTo>
                  <a:lnTo>
                    <a:pt x="4541" y="2314"/>
                  </a:lnTo>
                  <a:lnTo>
                    <a:pt x="4539" y="2307"/>
                  </a:lnTo>
                  <a:lnTo>
                    <a:pt x="4537" y="2299"/>
                  </a:lnTo>
                  <a:lnTo>
                    <a:pt x="4535" y="2293"/>
                  </a:lnTo>
                  <a:lnTo>
                    <a:pt x="4531" y="2287"/>
                  </a:lnTo>
                  <a:lnTo>
                    <a:pt x="4522" y="2275"/>
                  </a:lnTo>
                  <a:lnTo>
                    <a:pt x="4515" y="2261"/>
                  </a:lnTo>
                  <a:lnTo>
                    <a:pt x="4511" y="2249"/>
                  </a:lnTo>
                  <a:lnTo>
                    <a:pt x="4508" y="2237"/>
                  </a:lnTo>
                  <a:lnTo>
                    <a:pt x="4507" y="2226"/>
                  </a:lnTo>
                  <a:lnTo>
                    <a:pt x="4506" y="2216"/>
                  </a:lnTo>
                  <a:lnTo>
                    <a:pt x="4506" y="2194"/>
                  </a:lnTo>
                  <a:lnTo>
                    <a:pt x="4506" y="2169"/>
                  </a:lnTo>
                  <a:lnTo>
                    <a:pt x="4507" y="2143"/>
                  </a:lnTo>
                  <a:lnTo>
                    <a:pt x="4511" y="2120"/>
                  </a:lnTo>
                  <a:lnTo>
                    <a:pt x="4513" y="2096"/>
                  </a:lnTo>
                  <a:lnTo>
                    <a:pt x="4515" y="2070"/>
                  </a:lnTo>
                  <a:lnTo>
                    <a:pt x="4515" y="2065"/>
                  </a:lnTo>
                  <a:lnTo>
                    <a:pt x="4512" y="2060"/>
                  </a:lnTo>
                  <a:lnTo>
                    <a:pt x="4510" y="2056"/>
                  </a:lnTo>
                  <a:lnTo>
                    <a:pt x="4506" y="2054"/>
                  </a:lnTo>
                  <a:lnTo>
                    <a:pt x="4501" y="2050"/>
                  </a:lnTo>
                  <a:lnTo>
                    <a:pt x="4496" y="2049"/>
                  </a:lnTo>
                  <a:lnTo>
                    <a:pt x="4491" y="2048"/>
                  </a:lnTo>
                  <a:lnTo>
                    <a:pt x="4486" y="2048"/>
                  </a:lnTo>
                  <a:lnTo>
                    <a:pt x="4426" y="2048"/>
                  </a:lnTo>
                  <a:lnTo>
                    <a:pt x="4423" y="2044"/>
                  </a:lnTo>
                  <a:lnTo>
                    <a:pt x="4418" y="2041"/>
                  </a:lnTo>
                  <a:lnTo>
                    <a:pt x="4415" y="2040"/>
                  </a:lnTo>
                  <a:lnTo>
                    <a:pt x="4414" y="2038"/>
                  </a:lnTo>
                  <a:lnTo>
                    <a:pt x="4413" y="2035"/>
                  </a:lnTo>
                  <a:lnTo>
                    <a:pt x="4413" y="2033"/>
                  </a:lnTo>
                  <a:lnTo>
                    <a:pt x="4413" y="2029"/>
                  </a:lnTo>
                  <a:lnTo>
                    <a:pt x="4414" y="2025"/>
                  </a:lnTo>
                  <a:lnTo>
                    <a:pt x="4415" y="2023"/>
                  </a:lnTo>
                  <a:lnTo>
                    <a:pt x="4418" y="2020"/>
                  </a:lnTo>
                  <a:lnTo>
                    <a:pt x="4423" y="2017"/>
                  </a:lnTo>
                  <a:lnTo>
                    <a:pt x="4430" y="2014"/>
                  </a:lnTo>
                  <a:lnTo>
                    <a:pt x="4449" y="2012"/>
                  </a:lnTo>
                  <a:lnTo>
                    <a:pt x="4466" y="2010"/>
                  </a:lnTo>
                  <a:lnTo>
                    <a:pt x="4482" y="2008"/>
                  </a:lnTo>
                  <a:lnTo>
                    <a:pt x="4495" y="2007"/>
                  </a:lnTo>
                  <a:lnTo>
                    <a:pt x="4508" y="2003"/>
                  </a:lnTo>
                  <a:lnTo>
                    <a:pt x="4523" y="1999"/>
                  </a:lnTo>
                  <a:lnTo>
                    <a:pt x="4548" y="1992"/>
                  </a:lnTo>
                  <a:lnTo>
                    <a:pt x="4571" y="1987"/>
                  </a:lnTo>
                  <a:lnTo>
                    <a:pt x="4593" y="1983"/>
                  </a:lnTo>
                  <a:lnTo>
                    <a:pt x="4618" y="1976"/>
                  </a:lnTo>
                  <a:lnTo>
                    <a:pt x="4628" y="1971"/>
                  </a:lnTo>
                  <a:lnTo>
                    <a:pt x="4636" y="1965"/>
                  </a:lnTo>
                  <a:lnTo>
                    <a:pt x="4641" y="1961"/>
                  </a:lnTo>
                  <a:lnTo>
                    <a:pt x="4646" y="1958"/>
                  </a:lnTo>
                  <a:lnTo>
                    <a:pt x="4651" y="1957"/>
                  </a:lnTo>
                  <a:lnTo>
                    <a:pt x="4657" y="1956"/>
                  </a:lnTo>
                  <a:lnTo>
                    <a:pt x="4664" y="1957"/>
                  </a:lnTo>
                  <a:lnTo>
                    <a:pt x="4670" y="1960"/>
                  </a:lnTo>
                  <a:lnTo>
                    <a:pt x="4676" y="1962"/>
                  </a:lnTo>
                  <a:lnTo>
                    <a:pt x="4681" y="1965"/>
                  </a:lnTo>
                  <a:lnTo>
                    <a:pt x="4686" y="1968"/>
                  </a:lnTo>
                  <a:lnTo>
                    <a:pt x="4692" y="1971"/>
                  </a:lnTo>
                  <a:lnTo>
                    <a:pt x="4698" y="1973"/>
                  </a:lnTo>
                  <a:lnTo>
                    <a:pt x="4706" y="1973"/>
                  </a:lnTo>
                  <a:lnTo>
                    <a:pt x="4711" y="1973"/>
                  </a:lnTo>
                  <a:lnTo>
                    <a:pt x="4715" y="1972"/>
                  </a:lnTo>
                  <a:lnTo>
                    <a:pt x="4718" y="1969"/>
                  </a:lnTo>
                  <a:lnTo>
                    <a:pt x="4722" y="1967"/>
                  </a:lnTo>
                  <a:lnTo>
                    <a:pt x="4730" y="1961"/>
                  </a:lnTo>
                  <a:lnTo>
                    <a:pt x="4736" y="1953"/>
                  </a:lnTo>
                  <a:lnTo>
                    <a:pt x="4742" y="1946"/>
                  </a:lnTo>
                  <a:lnTo>
                    <a:pt x="4748" y="1940"/>
                  </a:lnTo>
                  <a:lnTo>
                    <a:pt x="4752" y="1937"/>
                  </a:lnTo>
                  <a:lnTo>
                    <a:pt x="4756" y="1935"/>
                  </a:lnTo>
                  <a:lnTo>
                    <a:pt x="4761" y="1934"/>
                  </a:lnTo>
                  <a:lnTo>
                    <a:pt x="4766" y="1934"/>
                  </a:lnTo>
                  <a:lnTo>
                    <a:pt x="4768" y="1934"/>
                  </a:lnTo>
                  <a:lnTo>
                    <a:pt x="4772" y="1935"/>
                  </a:lnTo>
                  <a:lnTo>
                    <a:pt x="4773" y="1937"/>
                  </a:lnTo>
                  <a:lnTo>
                    <a:pt x="4775" y="1938"/>
                  </a:lnTo>
                  <a:lnTo>
                    <a:pt x="4780" y="1943"/>
                  </a:lnTo>
                  <a:lnTo>
                    <a:pt x="4785" y="1947"/>
                  </a:lnTo>
                  <a:lnTo>
                    <a:pt x="4808" y="1931"/>
                  </a:lnTo>
                  <a:lnTo>
                    <a:pt x="4808" y="1894"/>
                  </a:lnTo>
                  <a:lnTo>
                    <a:pt x="4793" y="1894"/>
                  </a:lnTo>
                  <a:lnTo>
                    <a:pt x="4778" y="1891"/>
                  </a:lnTo>
                  <a:lnTo>
                    <a:pt x="4772" y="1889"/>
                  </a:lnTo>
                  <a:lnTo>
                    <a:pt x="4767" y="1885"/>
                  </a:lnTo>
                  <a:lnTo>
                    <a:pt x="4766" y="1883"/>
                  </a:lnTo>
                  <a:lnTo>
                    <a:pt x="4763" y="1880"/>
                  </a:lnTo>
                  <a:lnTo>
                    <a:pt x="4763" y="1878"/>
                  </a:lnTo>
                  <a:lnTo>
                    <a:pt x="4762" y="1874"/>
                  </a:lnTo>
                  <a:lnTo>
                    <a:pt x="4763" y="1865"/>
                  </a:lnTo>
                  <a:lnTo>
                    <a:pt x="4764" y="1858"/>
                  </a:lnTo>
                  <a:lnTo>
                    <a:pt x="4767" y="1850"/>
                  </a:lnTo>
                  <a:lnTo>
                    <a:pt x="4769" y="1843"/>
                  </a:lnTo>
                  <a:lnTo>
                    <a:pt x="4777" y="1829"/>
                  </a:lnTo>
                  <a:lnTo>
                    <a:pt x="4783" y="1814"/>
                  </a:lnTo>
                  <a:lnTo>
                    <a:pt x="4789" y="1787"/>
                  </a:lnTo>
                  <a:lnTo>
                    <a:pt x="4794" y="1762"/>
                  </a:lnTo>
                  <a:lnTo>
                    <a:pt x="4797" y="1738"/>
                  </a:lnTo>
                  <a:lnTo>
                    <a:pt x="4797" y="1709"/>
                  </a:lnTo>
                  <a:lnTo>
                    <a:pt x="4847" y="1709"/>
                  </a:lnTo>
                  <a:lnTo>
                    <a:pt x="4856" y="1713"/>
                  </a:lnTo>
                  <a:lnTo>
                    <a:pt x="4865" y="1715"/>
                  </a:lnTo>
                  <a:lnTo>
                    <a:pt x="4876" y="1714"/>
                  </a:lnTo>
                  <a:lnTo>
                    <a:pt x="4886" y="1710"/>
                  </a:lnTo>
                  <a:lnTo>
                    <a:pt x="4896" y="1705"/>
                  </a:lnTo>
                  <a:lnTo>
                    <a:pt x="4905" y="1700"/>
                  </a:lnTo>
                  <a:lnTo>
                    <a:pt x="4913" y="1695"/>
                  </a:lnTo>
                  <a:lnTo>
                    <a:pt x="4923" y="1690"/>
                  </a:lnTo>
                  <a:lnTo>
                    <a:pt x="4933" y="1688"/>
                  </a:lnTo>
                  <a:lnTo>
                    <a:pt x="4944" y="1687"/>
                  </a:lnTo>
                  <a:lnTo>
                    <a:pt x="4951" y="1687"/>
                  </a:lnTo>
                  <a:lnTo>
                    <a:pt x="4957" y="1688"/>
                  </a:lnTo>
                  <a:lnTo>
                    <a:pt x="4963" y="1689"/>
                  </a:lnTo>
                  <a:lnTo>
                    <a:pt x="4968" y="1692"/>
                  </a:lnTo>
                  <a:lnTo>
                    <a:pt x="4977" y="1698"/>
                  </a:lnTo>
                  <a:lnTo>
                    <a:pt x="4987" y="1705"/>
                  </a:lnTo>
                  <a:lnTo>
                    <a:pt x="4995" y="1711"/>
                  </a:lnTo>
                  <a:lnTo>
                    <a:pt x="5005" y="1718"/>
                  </a:lnTo>
                  <a:lnTo>
                    <a:pt x="5010" y="1720"/>
                  </a:lnTo>
                  <a:lnTo>
                    <a:pt x="5015" y="1721"/>
                  </a:lnTo>
                  <a:lnTo>
                    <a:pt x="5021" y="1723"/>
                  </a:lnTo>
                  <a:lnTo>
                    <a:pt x="5028" y="1723"/>
                  </a:lnTo>
                  <a:lnTo>
                    <a:pt x="5040" y="1721"/>
                  </a:lnTo>
                  <a:lnTo>
                    <a:pt x="5052" y="1720"/>
                  </a:lnTo>
                  <a:lnTo>
                    <a:pt x="5052" y="1702"/>
                  </a:lnTo>
                  <a:lnTo>
                    <a:pt x="5052" y="1684"/>
                  </a:lnTo>
                  <a:lnTo>
                    <a:pt x="5052" y="1675"/>
                  </a:lnTo>
                  <a:lnTo>
                    <a:pt x="5055" y="1668"/>
                  </a:lnTo>
                  <a:lnTo>
                    <a:pt x="5059" y="1659"/>
                  </a:lnTo>
                  <a:lnTo>
                    <a:pt x="5064" y="1652"/>
                  </a:lnTo>
                  <a:lnTo>
                    <a:pt x="5069" y="1647"/>
                  </a:lnTo>
                  <a:lnTo>
                    <a:pt x="5075" y="1642"/>
                  </a:lnTo>
                  <a:lnTo>
                    <a:pt x="5080" y="1638"/>
                  </a:lnTo>
                  <a:lnTo>
                    <a:pt x="5086" y="1635"/>
                  </a:lnTo>
                  <a:lnTo>
                    <a:pt x="5098" y="1628"/>
                  </a:lnTo>
                  <a:lnTo>
                    <a:pt x="5111" y="1623"/>
                  </a:lnTo>
                  <a:lnTo>
                    <a:pt x="5121" y="1616"/>
                  </a:lnTo>
                  <a:lnTo>
                    <a:pt x="5129" y="1609"/>
                  </a:lnTo>
                  <a:lnTo>
                    <a:pt x="5133" y="1605"/>
                  </a:lnTo>
                  <a:lnTo>
                    <a:pt x="5136" y="1600"/>
                  </a:lnTo>
                  <a:lnTo>
                    <a:pt x="5138" y="1594"/>
                  </a:lnTo>
                  <a:lnTo>
                    <a:pt x="5138" y="1586"/>
                  </a:lnTo>
                  <a:lnTo>
                    <a:pt x="5138" y="1579"/>
                  </a:lnTo>
                  <a:lnTo>
                    <a:pt x="5137" y="1571"/>
                  </a:lnTo>
                  <a:lnTo>
                    <a:pt x="5134" y="1565"/>
                  </a:lnTo>
                  <a:lnTo>
                    <a:pt x="5132" y="1559"/>
                  </a:lnTo>
                  <a:lnTo>
                    <a:pt x="5126" y="1546"/>
                  </a:lnTo>
                  <a:lnTo>
                    <a:pt x="5118" y="1535"/>
                  </a:lnTo>
                  <a:lnTo>
                    <a:pt x="5111" y="1524"/>
                  </a:lnTo>
                  <a:lnTo>
                    <a:pt x="5105" y="1512"/>
                  </a:lnTo>
                  <a:lnTo>
                    <a:pt x="5102" y="1506"/>
                  </a:lnTo>
                  <a:lnTo>
                    <a:pt x="5100" y="1499"/>
                  </a:lnTo>
                  <a:lnTo>
                    <a:pt x="5098" y="1492"/>
                  </a:lnTo>
                  <a:lnTo>
                    <a:pt x="5098" y="1484"/>
                  </a:lnTo>
                  <a:lnTo>
                    <a:pt x="5098" y="1472"/>
                  </a:lnTo>
                  <a:lnTo>
                    <a:pt x="5100" y="1461"/>
                  </a:lnTo>
                  <a:lnTo>
                    <a:pt x="5102" y="1451"/>
                  </a:lnTo>
                  <a:lnTo>
                    <a:pt x="5103" y="1441"/>
                  </a:lnTo>
                  <a:lnTo>
                    <a:pt x="5108" y="1421"/>
                  </a:lnTo>
                  <a:lnTo>
                    <a:pt x="5112" y="1399"/>
                  </a:lnTo>
                  <a:lnTo>
                    <a:pt x="5113" y="1388"/>
                  </a:lnTo>
                  <a:lnTo>
                    <a:pt x="5112" y="1378"/>
                  </a:lnTo>
                  <a:lnTo>
                    <a:pt x="5112" y="1373"/>
                  </a:lnTo>
                  <a:lnTo>
                    <a:pt x="5113" y="1368"/>
                  </a:lnTo>
                  <a:lnTo>
                    <a:pt x="5116" y="1364"/>
                  </a:lnTo>
                  <a:lnTo>
                    <a:pt x="5118" y="1359"/>
                  </a:lnTo>
                  <a:lnTo>
                    <a:pt x="5123" y="1354"/>
                  </a:lnTo>
                  <a:lnTo>
                    <a:pt x="5129" y="1349"/>
                  </a:lnTo>
                  <a:lnTo>
                    <a:pt x="5134" y="1346"/>
                  </a:lnTo>
                  <a:lnTo>
                    <a:pt x="5141" y="1343"/>
                  </a:lnTo>
                  <a:lnTo>
                    <a:pt x="5153" y="1339"/>
                  </a:lnTo>
                  <a:lnTo>
                    <a:pt x="5165" y="1337"/>
                  </a:lnTo>
                  <a:lnTo>
                    <a:pt x="5179" y="1334"/>
                  </a:lnTo>
                  <a:lnTo>
                    <a:pt x="5192" y="1332"/>
                  </a:lnTo>
                  <a:lnTo>
                    <a:pt x="5199" y="1329"/>
                  </a:lnTo>
                  <a:lnTo>
                    <a:pt x="5205" y="1327"/>
                  </a:lnTo>
                  <a:lnTo>
                    <a:pt x="5211" y="1323"/>
                  </a:lnTo>
                  <a:lnTo>
                    <a:pt x="5218" y="1319"/>
                  </a:lnTo>
                  <a:lnTo>
                    <a:pt x="5226" y="1313"/>
                  </a:lnTo>
                  <a:lnTo>
                    <a:pt x="5234" y="1306"/>
                  </a:lnTo>
                  <a:lnTo>
                    <a:pt x="5240" y="1300"/>
                  </a:lnTo>
                  <a:lnTo>
                    <a:pt x="5245" y="1292"/>
                  </a:lnTo>
                  <a:lnTo>
                    <a:pt x="5250" y="1285"/>
                  </a:lnTo>
                  <a:lnTo>
                    <a:pt x="5255" y="1276"/>
                  </a:lnTo>
                  <a:lnTo>
                    <a:pt x="5259" y="1269"/>
                  </a:lnTo>
                  <a:lnTo>
                    <a:pt x="5262" y="1260"/>
                  </a:lnTo>
                  <a:lnTo>
                    <a:pt x="5267" y="1243"/>
                  </a:lnTo>
                  <a:lnTo>
                    <a:pt x="5271" y="1224"/>
                  </a:lnTo>
                  <a:lnTo>
                    <a:pt x="5274" y="1204"/>
                  </a:lnTo>
                  <a:lnTo>
                    <a:pt x="5275" y="1183"/>
                  </a:lnTo>
                  <a:lnTo>
                    <a:pt x="5329" y="1183"/>
                  </a:lnTo>
                  <a:lnTo>
                    <a:pt x="5343" y="1169"/>
                  </a:lnTo>
                  <a:lnTo>
                    <a:pt x="5355" y="1159"/>
                  </a:lnTo>
                  <a:lnTo>
                    <a:pt x="5368" y="1148"/>
                  </a:lnTo>
                  <a:lnTo>
                    <a:pt x="5383" y="1136"/>
                  </a:lnTo>
                  <a:lnTo>
                    <a:pt x="5383" y="1136"/>
                  </a:lnTo>
                  <a:lnTo>
                    <a:pt x="5377" y="1135"/>
                  </a:lnTo>
                  <a:lnTo>
                    <a:pt x="5373" y="1133"/>
                  </a:lnTo>
                  <a:lnTo>
                    <a:pt x="5368" y="1132"/>
                  </a:lnTo>
                  <a:lnTo>
                    <a:pt x="5364" y="1130"/>
                  </a:lnTo>
                  <a:lnTo>
                    <a:pt x="5358" y="1124"/>
                  </a:lnTo>
                  <a:lnTo>
                    <a:pt x="5352" y="1117"/>
                  </a:lnTo>
                  <a:lnTo>
                    <a:pt x="5346" y="1110"/>
                  </a:lnTo>
                  <a:lnTo>
                    <a:pt x="5339" y="1102"/>
                  </a:lnTo>
                  <a:lnTo>
                    <a:pt x="5332" y="1096"/>
                  </a:lnTo>
                  <a:lnTo>
                    <a:pt x="5323" y="1092"/>
                  </a:lnTo>
                  <a:lnTo>
                    <a:pt x="5305" y="1086"/>
                  </a:lnTo>
                  <a:lnTo>
                    <a:pt x="5286" y="1084"/>
                  </a:lnTo>
                  <a:lnTo>
                    <a:pt x="5269" y="1083"/>
                  </a:lnTo>
                  <a:lnTo>
                    <a:pt x="5249" y="1078"/>
                  </a:lnTo>
                  <a:lnTo>
                    <a:pt x="5245" y="1075"/>
                  </a:lnTo>
                  <a:lnTo>
                    <a:pt x="5240" y="1071"/>
                  </a:lnTo>
                  <a:lnTo>
                    <a:pt x="5237" y="1068"/>
                  </a:lnTo>
                  <a:lnTo>
                    <a:pt x="5234" y="1064"/>
                  </a:lnTo>
                  <a:lnTo>
                    <a:pt x="5231" y="1059"/>
                  </a:lnTo>
                  <a:lnTo>
                    <a:pt x="5228" y="1055"/>
                  </a:lnTo>
                  <a:lnTo>
                    <a:pt x="5223" y="1053"/>
                  </a:lnTo>
                  <a:lnTo>
                    <a:pt x="5218" y="1052"/>
                  </a:lnTo>
                  <a:lnTo>
                    <a:pt x="5213" y="1053"/>
                  </a:lnTo>
                  <a:lnTo>
                    <a:pt x="5209" y="1055"/>
                  </a:lnTo>
                  <a:lnTo>
                    <a:pt x="5205" y="1058"/>
                  </a:lnTo>
                  <a:lnTo>
                    <a:pt x="5203" y="1061"/>
                  </a:lnTo>
                  <a:lnTo>
                    <a:pt x="5199" y="1070"/>
                  </a:lnTo>
                  <a:lnTo>
                    <a:pt x="5195" y="1080"/>
                  </a:lnTo>
                  <a:lnTo>
                    <a:pt x="5184" y="1100"/>
                  </a:lnTo>
                  <a:lnTo>
                    <a:pt x="5173" y="1117"/>
                  </a:lnTo>
                  <a:lnTo>
                    <a:pt x="5168" y="1130"/>
                  </a:lnTo>
                  <a:lnTo>
                    <a:pt x="5167" y="1143"/>
                  </a:lnTo>
                  <a:lnTo>
                    <a:pt x="5165" y="1148"/>
                  </a:lnTo>
                  <a:lnTo>
                    <a:pt x="5164" y="1155"/>
                  </a:lnTo>
                  <a:lnTo>
                    <a:pt x="5162" y="1161"/>
                  </a:lnTo>
                  <a:lnTo>
                    <a:pt x="5158" y="1166"/>
                  </a:lnTo>
                  <a:lnTo>
                    <a:pt x="5154" y="1171"/>
                  </a:lnTo>
                  <a:lnTo>
                    <a:pt x="5149" y="1174"/>
                  </a:lnTo>
                  <a:lnTo>
                    <a:pt x="5144" y="1178"/>
                  </a:lnTo>
                  <a:lnTo>
                    <a:pt x="5139" y="1181"/>
                  </a:lnTo>
                  <a:lnTo>
                    <a:pt x="5129" y="1184"/>
                  </a:lnTo>
                  <a:lnTo>
                    <a:pt x="5118" y="1186"/>
                  </a:lnTo>
                  <a:lnTo>
                    <a:pt x="5096" y="1187"/>
                  </a:lnTo>
                  <a:lnTo>
                    <a:pt x="5070" y="1186"/>
                  </a:lnTo>
                  <a:lnTo>
                    <a:pt x="5059" y="1184"/>
                  </a:lnTo>
                  <a:lnTo>
                    <a:pt x="5049" y="1182"/>
                  </a:lnTo>
                  <a:lnTo>
                    <a:pt x="5039" y="1178"/>
                  </a:lnTo>
                  <a:lnTo>
                    <a:pt x="5031" y="1172"/>
                  </a:lnTo>
                  <a:lnTo>
                    <a:pt x="5025" y="1166"/>
                  </a:lnTo>
                  <a:lnTo>
                    <a:pt x="5019" y="1157"/>
                  </a:lnTo>
                  <a:lnTo>
                    <a:pt x="5014" y="1148"/>
                  </a:lnTo>
                  <a:lnTo>
                    <a:pt x="5009" y="1138"/>
                  </a:lnTo>
                  <a:lnTo>
                    <a:pt x="5000" y="1116"/>
                  </a:lnTo>
                  <a:lnTo>
                    <a:pt x="4992" y="1094"/>
                  </a:lnTo>
                  <a:lnTo>
                    <a:pt x="4982" y="1071"/>
                  </a:lnTo>
                  <a:lnTo>
                    <a:pt x="4970" y="1049"/>
                  </a:lnTo>
                  <a:lnTo>
                    <a:pt x="4964" y="1042"/>
                  </a:lnTo>
                  <a:lnTo>
                    <a:pt x="4958" y="1035"/>
                  </a:lnTo>
                  <a:lnTo>
                    <a:pt x="4951" y="1030"/>
                  </a:lnTo>
                  <a:lnTo>
                    <a:pt x="4943" y="1026"/>
                  </a:lnTo>
                  <a:lnTo>
                    <a:pt x="4936" y="1022"/>
                  </a:lnTo>
                  <a:lnTo>
                    <a:pt x="4929" y="1017"/>
                  </a:lnTo>
                  <a:lnTo>
                    <a:pt x="4922" y="1011"/>
                  </a:lnTo>
                  <a:lnTo>
                    <a:pt x="4916" y="1004"/>
                  </a:lnTo>
                  <a:lnTo>
                    <a:pt x="4906" y="990"/>
                  </a:lnTo>
                  <a:lnTo>
                    <a:pt x="4896" y="976"/>
                  </a:lnTo>
                  <a:lnTo>
                    <a:pt x="4886" y="963"/>
                  </a:lnTo>
                  <a:lnTo>
                    <a:pt x="4874" y="950"/>
                  </a:lnTo>
                  <a:lnTo>
                    <a:pt x="4846" y="924"/>
                  </a:lnTo>
                  <a:lnTo>
                    <a:pt x="4824" y="899"/>
                  </a:lnTo>
                  <a:lnTo>
                    <a:pt x="4818" y="894"/>
                  </a:lnTo>
                  <a:lnTo>
                    <a:pt x="4811" y="889"/>
                  </a:lnTo>
                  <a:lnTo>
                    <a:pt x="4805" y="884"/>
                  </a:lnTo>
                  <a:lnTo>
                    <a:pt x="4799" y="880"/>
                  </a:lnTo>
                  <a:lnTo>
                    <a:pt x="4792" y="878"/>
                  </a:lnTo>
                  <a:lnTo>
                    <a:pt x="4783" y="875"/>
                  </a:lnTo>
                  <a:lnTo>
                    <a:pt x="4774" y="874"/>
                  </a:lnTo>
                  <a:lnTo>
                    <a:pt x="4766" y="873"/>
                  </a:lnTo>
                  <a:lnTo>
                    <a:pt x="4751" y="874"/>
                  </a:lnTo>
                  <a:lnTo>
                    <a:pt x="4738" y="878"/>
                  </a:lnTo>
                  <a:lnTo>
                    <a:pt x="4727" y="883"/>
                  </a:lnTo>
                  <a:lnTo>
                    <a:pt x="4716" y="889"/>
                  </a:lnTo>
                  <a:lnTo>
                    <a:pt x="4705" y="894"/>
                  </a:lnTo>
                  <a:lnTo>
                    <a:pt x="4692" y="899"/>
                  </a:lnTo>
                  <a:lnTo>
                    <a:pt x="4680" y="903"/>
                  </a:lnTo>
                  <a:lnTo>
                    <a:pt x="4666" y="904"/>
                  </a:lnTo>
                  <a:lnTo>
                    <a:pt x="4640" y="905"/>
                  </a:lnTo>
                  <a:lnTo>
                    <a:pt x="4616" y="904"/>
                  </a:lnTo>
                  <a:lnTo>
                    <a:pt x="4607" y="901"/>
                  </a:lnTo>
                  <a:lnTo>
                    <a:pt x="4597" y="898"/>
                  </a:lnTo>
                  <a:lnTo>
                    <a:pt x="4592" y="894"/>
                  </a:lnTo>
                  <a:lnTo>
                    <a:pt x="4588" y="890"/>
                  </a:lnTo>
                  <a:lnTo>
                    <a:pt x="4584" y="887"/>
                  </a:lnTo>
                  <a:lnTo>
                    <a:pt x="4580" y="882"/>
                  </a:lnTo>
                  <a:lnTo>
                    <a:pt x="4574" y="864"/>
                  </a:lnTo>
                  <a:lnTo>
                    <a:pt x="4569" y="847"/>
                  </a:lnTo>
                  <a:lnTo>
                    <a:pt x="4562" y="841"/>
                  </a:lnTo>
                  <a:lnTo>
                    <a:pt x="4556" y="836"/>
                  </a:lnTo>
                  <a:lnTo>
                    <a:pt x="4548" y="832"/>
                  </a:lnTo>
                  <a:lnTo>
                    <a:pt x="4539" y="830"/>
                  </a:lnTo>
                  <a:lnTo>
                    <a:pt x="4522" y="828"/>
                  </a:lnTo>
                  <a:lnTo>
                    <a:pt x="4502" y="827"/>
                  </a:lnTo>
                  <a:lnTo>
                    <a:pt x="4495" y="828"/>
                  </a:lnTo>
                  <a:lnTo>
                    <a:pt x="4486" y="831"/>
                  </a:lnTo>
                  <a:lnTo>
                    <a:pt x="4489" y="847"/>
                  </a:lnTo>
                  <a:lnTo>
                    <a:pt x="4487" y="864"/>
                  </a:lnTo>
                  <a:lnTo>
                    <a:pt x="4477" y="866"/>
                  </a:lnTo>
                  <a:lnTo>
                    <a:pt x="4467" y="868"/>
                  </a:lnTo>
                  <a:lnTo>
                    <a:pt x="4459" y="872"/>
                  </a:lnTo>
                  <a:lnTo>
                    <a:pt x="4450" y="875"/>
                  </a:lnTo>
                  <a:lnTo>
                    <a:pt x="4441" y="880"/>
                  </a:lnTo>
                  <a:lnTo>
                    <a:pt x="4433" y="884"/>
                  </a:lnTo>
                  <a:lnTo>
                    <a:pt x="4423" y="887"/>
                  </a:lnTo>
                  <a:lnTo>
                    <a:pt x="4413" y="888"/>
                  </a:lnTo>
                  <a:lnTo>
                    <a:pt x="4408" y="887"/>
                  </a:lnTo>
                  <a:lnTo>
                    <a:pt x="4404" y="885"/>
                  </a:lnTo>
                  <a:lnTo>
                    <a:pt x="4400" y="884"/>
                  </a:lnTo>
                  <a:lnTo>
                    <a:pt x="4398" y="882"/>
                  </a:lnTo>
                  <a:lnTo>
                    <a:pt x="4393" y="877"/>
                  </a:lnTo>
                  <a:lnTo>
                    <a:pt x="4389" y="869"/>
                  </a:lnTo>
                  <a:lnTo>
                    <a:pt x="4383" y="852"/>
                  </a:lnTo>
                  <a:lnTo>
                    <a:pt x="4378" y="833"/>
                  </a:lnTo>
                  <a:lnTo>
                    <a:pt x="4369" y="806"/>
                  </a:lnTo>
                  <a:lnTo>
                    <a:pt x="4361" y="781"/>
                  </a:lnTo>
                  <a:lnTo>
                    <a:pt x="4351" y="758"/>
                  </a:lnTo>
                  <a:lnTo>
                    <a:pt x="4338" y="730"/>
                  </a:lnTo>
                  <a:lnTo>
                    <a:pt x="4325" y="705"/>
                  </a:lnTo>
                  <a:lnTo>
                    <a:pt x="4310" y="682"/>
                  </a:lnTo>
                  <a:lnTo>
                    <a:pt x="4295" y="662"/>
                  </a:lnTo>
                  <a:lnTo>
                    <a:pt x="4279" y="642"/>
                  </a:lnTo>
                  <a:lnTo>
                    <a:pt x="4264" y="624"/>
                  </a:lnTo>
                  <a:lnTo>
                    <a:pt x="4249" y="603"/>
                  </a:lnTo>
                  <a:lnTo>
                    <a:pt x="4234" y="580"/>
                  </a:lnTo>
                  <a:lnTo>
                    <a:pt x="4219" y="554"/>
                  </a:lnTo>
                  <a:lnTo>
                    <a:pt x="4193" y="507"/>
                  </a:lnTo>
                  <a:lnTo>
                    <a:pt x="4168" y="466"/>
                  </a:lnTo>
                  <a:lnTo>
                    <a:pt x="4156" y="446"/>
                  </a:lnTo>
                  <a:lnTo>
                    <a:pt x="4141" y="426"/>
                  </a:lnTo>
                  <a:lnTo>
                    <a:pt x="4126" y="407"/>
                  </a:lnTo>
                  <a:lnTo>
                    <a:pt x="4107" y="384"/>
                  </a:lnTo>
                  <a:lnTo>
                    <a:pt x="4085" y="357"/>
                  </a:lnTo>
                  <a:lnTo>
                    <a:pt x="4065" y="333"/>
                  </a:lnTo>
                  <a:lnTo>
                    <a:pt x="4054" y="322"/>
                  </a:lnTo>
                  <a:lnTo>
                    <a:pt x="4043" y="311"/>
                  </a:lnTo>
                  <a:lnTo>
                    <a:pt x="4029" y="301"/>
                  </a:lnTo>
                  <a:lnTo>
                    <a:pt x="4014" y="290"/>
                  </a:lnTo>
                  <a:lnTo>
                    <a:pt x="4000" y="283"/>
                  </a:lnTo>
                  <a:lnTo>
                    <a:pt x="3988" y="276"/>
                  </a:lnTo>
                  <a:lnTo>
                    <a:pt x="3982" y="273"/>
                  </a:lnTo>
                  <a:lnTo>
                    <a:pt x="3976" y="269"/>
                  </a:lnTo>
                  <a:lnTo>
                    <a:pt x="3971" y="265"/>
                  </a:lnTo>
                  <a:lnTo>
                    <a:pt x="3966" y="259"/>
                  </a:lnTo>
                  <a:lnTo>
                    <a:pt x="3958" y="256"/>
                  </a:lnTo>
                  <a:lnTo>
                    <a:pt x="3955" y="253"/>
                  </a:lnTo>
                  <a:lnTo>
                    <a:pt x="3955" y="248"/>
                  </a:lnTo>
                  <a:lnTo>
                    <a:pt x="3957" y="243"/>
                  </a:lnTo>
                  <a:lnTo>
                    <a:pt x="3959" y="238"/>
                  </a:lnTo>
                  <a:lnTo>
                    <a:pt x="3962" y="233"/>
                  </a:lnTo>
                  <a:lnTo>
                    <a:pt x="3966" y="229"/>
                  </a:lnTo>
                  <a:lnTo>
                    <a:pt x="3968" y="224"/>
                  </a:lnTo>
                  <a:lnTo>
                    <a:pt x="3971" y="219"/>
                  </a:lnTo>
                  <a:lnTo>
                    <a:pt x="3971" y="213"/>
                  </a:lnTo>
                  <a:lnTo>
                    <a:pt x="3969" y="199"/>
                  </a:lnTo>
                  <a:lnTo>
                    <a:pt x="3968" y="185"/>
                  </a:lnTo>
                  <a:lnTo>
                    <a:pt x="3951" y="182"/>
                  </a:lnTo>
                  <a:lnTo>
                    <a:pt x="3943" y="186"/>
                  </a:lnTo>
                  <a:lnTo>
                    <a:pt x="3936" y="191"/>
                  </a:lnTo>
                  <a:lnTo>
                    <a:pt x="3930" y="196"/>
                  </a:lnTo>
                  <a:lnTo>
                    <a:pt x="3925" y="201"/>
                  </a:lnTo>
                  <a:lnTo>
                    <a:pt x="3918" y="207"/>
                  </a:lnTo>
                  <a:lnTo>
                    <a:pt x="3912" y="212"/>
                  </a:lnTo>
                  <a:lnTo>
                    <a:pt x="3905" y="216"/>
                  </a:lnTo>
                  <a:lnTo>
                    <a:pt x="3897" y="219"/>
                  </a:lnTo>
                  <a:lnTo>
                    <a:pt x="3889" y="222"/>
                  </a:lnTo>
                  <a:lnTo>
                    <a:pt x="3879" y="222"/>
                  </a:lnTo>
                  <a:lnTo>
                    <a:pt x="3870" y="222"/>
                  </a:lnTo>
                  <a:lnTo>
                    <a:pt x="3861" y="222"/>
                  </a:lnTo>
                  <a:lnTo>
                    <a:pt x="3854" y="222"/>
                  </a:lnTo>
                  <a:lnTo>
                    <a:pt x="3846" y="223"/>
                  </a:lnTo>
                  <a:lnTo>
                    <a:pt x="3843" y="225"/>
                  </a:lnTo>
                  <a:lnTo>
                    <a:pt x="3840" y="227"/>
                  </a:lnTo>
                  <a:lnTo>
                    <a:pt x="3837" y="230"/>
                  </a:lnTo>
                  <a:lnTo>
                    <a:pt x="3834" y="233"/>
                  </a:lnTo>
                  <a:lnTo>
                    <a:pt x="3824" y="248"/>
                  </a:lnTo>
                  <a:lnTo>
                    <a:pt x="3814" y="261"/>
                  </a:lnTo>
                  <a:lnTo>
                    <a:pt x="3805" y="274"/>
                  </a:lnTo>
                  <a:lnTo>
                    <a:pt x="3796" y="285"/>
                  </a:lnTo>
                  <a:lnTo>
                    <a:pt x="3784" y="296"/>
                  </a:lnTo>
                  <a:lnTo>
                    <a:pt x="3772" y="306"/>
                  </a:lnTo>
                  <a:lnTo>
                    <a:pt x="3758" y="315"/>
                  </a:lnTo>
                  <a:lnTo>
                    <a:pt x="3743" y="325"/>
                  </a:lnTo>
                  <a:lnTo>
                    <a:pt x="3732" y="335"/>
                  </a:lnTo>
                  <a:lnTo>
                    <a:pt x="3721" y="345"/>
                  </a:lnTo>
                  <a:lnTo>
                    <a:pt x="3709" y="347"/>
                  </a:lnTo>
                  <a:lnTo>
                    <a:pt x="3697" y="348"/>
                  </a:lnTo>
                  <a:lnTo>
                    <a:pt x="3687" y="348"/>
                  </a:lnTo>
                  <a:lnTo>
                    <a:pt x="3678" y="348"/>
                  </a:lnTo>
                  <a:lnTo>
                    <a:pt x="3668" y="349"/>
                  </a:lnTo>
                  <a:lnTo>
                    <a:pt x="3656" y="349"/>
                  </a:lnTo>
                  <a:lnTo>
                    <a:pt x="3646" y="352"/>
                  </a:lnTo>
                  <a:lnTo>
                    <a:pt x="3635" y="356"/>
                  </a:lnTo>
                  <a:lnTo>
                    <a:pt x="3628" y="359"/>
                  </a:lnTo>
                  <a:lnTo>
                    <a:pt x="3623" y="364"/>
                  </a:lnTo>
                  <a:lnTo>
                    <a:pt x="3619" y="371"/>
                  </a:lnTo>
                  <a:lnTo>
                    <a:pt x="3614" y="377"/>
                  </a:lnTo>
                  <a:lnTo>
                    <a:pt x="3610" y="383"/>
                  </a:lnTo>
                  <a:lnTo>
                    <a:pt x="3605" y="388"/>
                  </a:lnTo>
                  <a:lnTo>
                    <a:pt x="3603" y="390"/>
                  </a:lnTo>
                  <a:lnTo>
                    <a:pt x="3599" y="392"/>
                  </a:lnTo>
                  <a:lnTo>
                    <a:pt x="3597" y="392"/>
                  </a:lnTo>
                  <a:lnTo>
                    <a:pt x="3592" y="393"/>
                  </a:lnTo>
                  <a:lnTo>
                    <a:pt x="3587" y="389"/>
                  </a:lnTo>
                  <a:lnTo>
                    <a:pt x="3581" y="387"/>
                  </a:lnTo>
                  <a:lnTo>
                    <a:pt x="3581" y="373"/>
                  </a:lnTo>
                  <a:lnTo>
                    <a:pt x="3591" y="352"/>
                  </a:lnTo>
                  <a:lnTo>
                    <a:pt x="3602" y="333"/>
                  </a:lnTo>
                  <a:lnTo>
                    <a:pt x="3605" y="325"/>
                  </a:lnTo>
                  <a:lnTo>
                    <a:pt x="3609" y="315"/>
                  </a:lnTo>
                  <a:lnTo>
                    <a:pt x="3612" y="305"/>
                  </a:lnTo>
                  <a:lnTo>
                    <a:pt x="3612" y="294"/>
                  </a:lnTo>
                  <a:lnTo>
                    <a:pt x="3610" y="284"/>
                  </a:lnTo>
                  <a:lnTo>
                    <a:pt x="3607" y="276"/>
                  </a:lnTo>
                  <a:lnTo>
                    <a:pt x="3591" y="278"/>
                  </a:lnTo>
                  <a:lnTo>
                    <a:pt x="3576" y="276"/>
                  </a:lnTo>
                  <a:lnTo>
                    <a:pt x="3562" y="275"/>
                  </a:lnTo>
                  <a:lnTo>
                    <a:pt x="3550" y="271"/>
                  </a:lnTo>
                  <a:lnTo>
                    <a:pt x="3536" y="268"/>
                  </a:lnTo>
                  <a:lnTo>
                    <a:pt x="3522" y="265"/>
                  </a:lnTo>
                  <a:lnTo>
                    <a:pt x="3507" y="263"/>
                  </a:lnTo>
                  <a:lnTo>
                    <a:pt x="3492" y="261"/>
                  </a:lnTo>
                  <a:lnTo>
                    <a:pt x="3478" y="263"/>
                  </a:lnTo>
                  <a:lnTo>
                    <a:pt x="3463" y="265"/>
                  </a:lnTo>
                  <a:lnTo>
                    <a:pt x="3463" y="281"/>
                  </a:lnTo>
                  <a:lnTo>
                    <a:pt x="3463" y="299"/>
                  </a:lnTo>
                  <a:lnTo>
                    <a:pt x="3439" y="299"/>
                  </a:lnTo>
                  <a:lnTo>
                    <a:pt x="3428" y="286"/>
                  </a:lnTo>
                  <a:lnTo>
                    <a:pt x="3419" y="271"/>
                  </a:lnTo>
                  <a:lnTo>
                    <a:pt x="3415" y="265"/>
                  </a:lnTo>
                  <a:lnTo>
                    <a:pt x="3411" y="260"/>
                  </a:lnTo>
                  <a:lnTo>
                    <a:pt x="3407" y="259"/>
                  </a:lnTo>
                  <a:lnTo>
                    <a:pt x="3404" y="258"/>
                  </a:lnTo>
                  <a:lnTo>
                    <a:pt x="3401" y="256"/>
                  </a:lnTo>
                  <a:lnTo>
                    <a:pt x="3396" y="256"/>
                  </a:lnTo>
                  <a:lnTo>
                    <a:pt x="3384" y="256"/>
                  </a:lnTo>
                  <a:lnTo>
                    <a:pt x="3373" y="259"/>
                  </a:lnTo>
                  <a:lnTo>
                    <a:pt x="3362" y="261"/>
                  </a:lnTo>
                  <a:lnTo>
                    <a:pt x="3351" y="261"/>
                  </a:lnTo>
                  <a:lnTo>
                    <a:pt x="3346" y="261"/>
                  </a:lnTo>
                  <a:lnTo>
                    <a:pt x="3341" y="260"/>
                  </a:lnTo>
                  <a:lnTo>
                    <a:pt x="3337" y="259"/>
                  </a:lnTo>
                  <a:lnTo>
                    <a:pt x="3334" y="255"/>
                  </a:lnTo>
                  <a:lnTo>
                    <a:pt x="3329" y="249"/>
                  </a:lnTo>
                  <a:lnTo>
                    <a:pt x="3325" y="240"/>
                  </a:lnTo>
                  <a:lnTo>
                    <a:pt x="3321" y="230"/>
                  </a:lnTo>
                  <a:lnTo>
                    <a:pt x="3320" y="220"/>
                  </a:lnTo>
                  <a:lnTo>
                    <a:pt x="3320" y="209"/>
                  </a:lnTo>
                  <a:lnTo>
                    <a:pt x="3319" y="198"/>
                  </a:lnTo>
                  <a:lnTo>
                    <a:pt x="3320" y="186"/>
                  </a:lnTo>
                  <a:lnTo>
                    <a:pt x="3321" y="175"/>
                  </a:lnTo>
                  <a:lnTo>
                    <a:pt x="3321" y="163"/>
                  </a:lnTo>
                  <a:lnTo>
                    <a:pt x="3322" y="150"/>
                  </a:lnTo>
                  <a:lnTo>
                    <a:pt x="3321" y="136"/>
                  </a:lnTo>
                  <a:lnTo>
                    <a:pt x="3319" y="124"/>
                  </a:lnTo>
                  <a:lnTo>
                    <a:pt x="3315" y="113"/>
                  </a:lnTo>
                  <a:lnTo>
                    <a:pt x="3310" y="101"/>
                  </a:lnTo>
                  <a:lnTo>
                    <a:pt x="3300" y="79"/>
                  </a:lnTo>
                  <a:lnTo>
                    <a:pt x="3290" y="54"/>
                  </a:lnTo>
                  <a:lnTo>
                    <a:pt x="3289" y="39"/>
                  </a:lnTo>
                  <a:lnTo>
                    <a:pt x="3288" y="23"/>
                  </a:lnTo>
                  <a:lnTo>
                    <a:pt x="3286" y="16"/>
                  </a:lnTo>
                  <a:lnTo>
                    <a:pt x="3284" y="11"/>
                  </a:lnTo>
                  <a:lnTo>
                    <a:pt x="3283" y="8"/>
                  </a:lnTo>
                  <a:lnTo>
                    <a:pt x="3280" y="7"/>
                  </a:lnTo>
                  <a:lnTo>
                    <a:pt x="3276" y="6"/>
                  </a:lnTo>
                  <a:lnTo>
                    <a:pt x="3274" y="6"/>
                  </a:lnTo>
                  <a:lnTo>
                    <a:pt x="3255" y="10"/>
                  </a:lnTo>
                  <a:lnTo>
                    <a:pt x="3238" y="15"/>
                  </a:lnTo>
                  <a:lnTo>
                    <a:pt x="3223" y="13"/>
                  </a:lnTo>
                  <a:lnTo>
                    <a:pt x="3211" y="12"/>
                  </a:lnTo>
                  <a:lnTo>
                    <a:pt x="3198" y="10"/>
                  </a:lnTo>
                  <a:lnTo>
                    <a:pt x="3186" y="7"/>
                  </a:lnTo>
                  <a:lnTo>
                    <a:pt x="3175" y="5"/>
                  </a:lnTo>
                  <a:lnTo>
                    <a:pt x="3162" y="2"/>
                  </a:lnTo>
                  <a:lnTo>
                    <a:pt x="3148" y="1"/>
                  </a:lnTo>
                  <a:lnTo>
                    <a:pt x="3134" y="0"/>
                  </a:lnTo>
                  <a:lnTo>
                    <a:pt x="3114" y="1"/>
                  </a:lnTo>
                  <a:lnTo>
                    <a:pt x="3095" y="5"/>
                  </a:lnTo>
                  <a:lnTo>
                    <a:pt x="3078" y="10"/>
                  </a:lnTo>
                  <a:lnTo>
                    <a:pt x="3062" y="16"/>
                  </a:lnTo>
                  <a:lnTo>
                    <a:pt x="3028" y="31"/>
                  </a:lnTo>
                  <a:lnTo>
                    <a:pt x="2992" y="48"/>
                  </a:lnTo>
                  <a:lnTo>
                    <a:pt x="2981" y="58"/>
                  </a:lnTo>
                  <a:lnTo>
                    <a:pt x="2968" y="65"/>
                  </a:lnTo>
                  <a:lnTo>
                    <a:pt x="2937" y="72"/>
                  </a:lnTo>
                  <a:lnTo>
                    <a:pt x="2907" y="77"/>
                  </a:lnTo>
                  <a:lnTo>
                    <a:pt x="2880" y="78"/>
                  </a:lnTo>
                  <a:lnTo>
                    <a:pt x="2853" y="78"/>
                  </a:lnTo>
                  <a:lnTo>
                    <a:pt x="2826" y="78"/>
                  </a:lnTo>
                  <a:lnTo>
                    <a:pt x="2798" y="78"/>
                  </a:lnTo>
                  <a:lnTo>
                    <a:pt x="2768" y="79"/>
                  </a:lnTo>
                  <a:lnTo>
                    <a:pt x="2736" y="83"/>
                  </a:lnTo>
                  <a:lnTo>
                    <a:pt x="2721" y="85"/>
                  </a:lnTo>
                  <a:lnTo>
                    <a:pt x="2709" y="90"/>
                  </a:lnTo>
                  <a:lnTo>
                    <a:pt x="2698" y="95"/>
                  </a:lnTo>
                  <a:lnTo>
                    <a:pt x="2686" y="101"/>
                  </a:lnTo>
                  <a:lnTo>
                    <a:pt x="2675" y="108"/>
                  </a:lnTo>
                  <a:lnTo>
                    <a:pt x="2664" y="113"/>
                  </a:lnTo>
                  <a:lnTo>
                    <a:pt x="2652" y="115"/>
                  </a:lnTo>
                  <a:lnTo>
                    <a:pt x="2637" y="116"/>
                  </a:lnTo>
                  <a:lnTo>
                    <a:pt x="2622" y="116"/>
                  </a:lnTo>
                  <a:lnTo>
                    <a:pt x="2607" y="114"/>
                  </a:lnTo>
                  <a:lnTo>
                    <a:pt x="2593" y="113"/>
                  </a:lnTo>
                  <a:lnTo>
                    <a:pt x="2577" y="111"/>
                  </a:lnTo>
                  <a:lnTo>
                    <a:pt x="2563" y="111"/>
                  </a:lnTo>
                  <a:lnTo>
                    <a:pt x="2550" y="114"/>
                  </a:lnTo>
                  <a:lnTo>
                    <a:pt x="2537" y="116"/>
                  </a:lnTo>
                  <a:lnTo>
                    <a:pt x="2525" y="119"/>
                  </a:lnTo>
                  <a:lnTo>
                    <a:pt x="2501" y="125"/>
                  </a:lnTo>
                  <a:lnTo>
                    <a:pt x="2474" y="131"/>
                  </a:lnTo>
                  <a:lnTo>
                    <a:pt x="2455" y="132"/>
                  </a:lnTo>
                  <a:lnTo>
                    <a:pt x="2439" y="134"/>
                  </a:lnTo>
                  <a:lnTo>
                    <a:pt x="2423" y="135"/>
                  </a:lnTo>
                  <a:lnTo>
                    <a:pt x="2406" y="140"/>
                  </a:lnTo>
                  <a:lnTo>
                    <a:pt x="2398" y="142"/>
                  </a:lnTo>
                  <a:lnTo>
                    <a:pt x="2391" y="147"/>
                  </a:lnTo>
                  <a:lnTo>
                    <a:pt x="2386" y="152"/>
                  </a:lnTo>
                  <a:lnTo>
                    <a:pt x="2380" y="158"/>
                  </a:lnTo>
                  <a:lnTo>
                    <a:pt x="2375" y="162"/>
                  </a:lnTo>
                  <a:lnTo>
                    <a:pt x="2368" y="167"/>
                  </a:lnTo>
                  <a:lnTo>
                    <a:pt x="2362" y="170"/>
                  </a:lnTo>
                  <a:lnTo>
                    <a:pt x="2354" y="171"/>
                  </a:lnTo>
                  <a:lnTo>
                    <a:pt x="2346" y="170"/>
                  </a:lnTo>
                  <a:lnTo>
                    <a:pt x="2339" y="168"/>
                  </a:lnTo>
                  <a:lnTo>
                    <a:pt x="2332" y="166"/>
                  </a:lnTo>
                  <a:lnTo>
                    <a:pt x="2325" y="162"/>
                  </a:lnTo>
                  <a:lnTo>
                    <a:pt x="2319" y="160"/>
                  </a:lnTo>
                  <a:lnTo>
                    <a:pt x="2313" y="156"/>
                  </a:lnTo>
                  <a:lnTo>
                    <a:pt x="2305" y="155"/>
                  </a:lnTo>
                  <a:lnTo>
                    <a:pt x="2298" y="153"/>
                  </a:lnTo>
                  <a:lnTo>
                    <a:pt x="2286" y="155"/>
                  </a:lnTo>
                  <a:lnTo>
                    <a:pt x="2278" y="156"/>
                  </a:lnTo>
                  <a:lnTo>
                    <a:pt x="2269" y="158"/>
                  </a:lnTo>
                  <a:lnTo>
                    <a:pt x="2260" y="161"/>
                  </a:lnTo>
                  <a:lnTo>
                    <a:pt x="2252" y="163"/>
                  </a:lnTo>
                  <a:lnTo>
                    <a:pt x="2243" y="166"/>
                  </a:lnTo>
                  <a:lnTo>
                    <a:pt x="2233" y="167"/>
                  </a:lnTo>
                  <a:lnTo>
                    <a:pt x="2223" y="168"/>
                  </a:lnTo>
                  <a:lnTo>
                    <a:pt x="2208" y="167"/>
                  </a:lnTo>
                  <a:lnTo>
                    <a:pt x="2195" y="165"/>
                  </a:lnTo>
                  <a:lnTo>
                    <a:pt x="2181" y="163"/>
                  </a:lnTo>
                  <a:lnTo>
                    <a:pt x="2166" y="162"/>
                  </a:lnTo>
                  <a:lnTo>
                    <a:pt x="2160" y="162"/>
                  </a:lnTo>
                  <a:lnTo>
                    <a:pt x="2154" y="163"/>
                  </a:lnTo>
                  <a:lnTo>
                    <a:pt x="2147" y="166"/>
                  </a:lnTo>
                  <a:lnTo>
                    <a:pt x="2141" y="168"/>
                  </a:lnTo>
                  <a:lnTo>
                    <a:pt x="2136" y="172"/>
                  </a:lnTo>
                  <a:lnTo>
                    <a:pt x="2132" y="176"/>
                  </a:lnTo>
                  <a:lnTo>
                    <a:pt x="2128" y="181"/>
                  </a:lnTo>
                  <a:lnTo>
                    <a:pt x="2124" y="186"/>
                  </a:lnTo>
                  <a:lnTo>
                    <a:pt x="2118" y="197"/>
                  </a:lnTo>
                  <a:lnTo>
                    <a:pt x="2113" y="211"/>
                  </a:lnTo>
                  <a:lnTo>
                    <a:pt x="2109" y="223"/>
                  </a:lnTo>
                  <a:lnTo>
                    <a:pt x="2106" y="238"/>
                  </a:lnTo>
                  <a:lnTo>
                    <a:pt x="2116" y="235"/>
                  </a:lnTo>
                  <a:lnTo>
                    <a:pt x="2125" y="234"/>
                  </a:lnTo>
                  <a:lnTo>
                    <a:pt x="2134" y="235"/>
                  </a:lnTo>
                  <a:lnTo>
                    <a:pt x="2144" y="238"/>
                  </a:lnTo>
                  <a:lnTo>
                    <a:pt x="2142" y="248"/>
                  </a:lnTo>
                  <a:lnTo>
                    <a:pt x="2141" y="258"/>
                  </a:lnTo>
                  <a:lnTo>
                    <a:pt x="2140" y="266"/>
                  </a:lnTo>
                  <a:lnTo>
                    <a:pt x="2137" y="276"/>
                  </a:lnTo>
                  <a:lnTo>
                    <a:pt x="2132" y="283"/>
                  </a:lnTo>
                  <a:lnTo>
                    <a:pt x="2126" y="289"/>
                  </a:lnTo>
                  <a:lnTo>
                    <a:pt x="2123" y="291"/>
                  </a:lnTo>
                  <a:lnTo>
                    <a:pt x="2120" y="294"/>
                  </a:lnTo>
                  <a:lnTo>
                    <a:pt x="2119" y="297"/>
                  </a:lnTo>
                  <a:lnTo>
                    <a:pt x="2118" y="301"/>
                  </a:lnTo>
                  <a:lnTo>
                    <a:pt x="2119" y="309"/>
                  </a:lnTo>
                  <a:lnTo>
                    <a:pt x="2120" y="315"/>
                  </a:lnTo>
                  <a:lnTo>
                    <a:pt x="2123" y="320"/>
                  </a:lnTo>
                  <a:lnTo>
                    <a:pt x="2126" y="323"/>
                  </a:lnTo>
                  <a:lnTo>
                    <a:pt x="2131" y="327"/>
                  </a:lnTo>
                  <a:lnTo>
                    <a:pt x="2136" y="331"/>
                  </a:lnTo>
                  <a:lnTo>
                    <a:pt x="2142" y="333"/>
                  </a:lnTo>
                  <a:lnTo>
                    <a:pt x="2149" y="336"/>
                  </a:lnTo>
                  <a:lnTo>
                    <a:pt x="2177" y="343"/>
                  </a:lnTo>
                  <a:lnTo>
                    <a:pt x="2206" y="353"/>
                  </a:lnTo>
                  <a:lnTo>
                    <a:pt x="2196" y="359"/>
                  </a:lnTo>
                  <a:lnTo>
                    <a:pt x="2186" y="366"/>
                  </a:lnTo>
                  <a:lnTo>
                    <a:pt x="2176" y="368"/>
                  </a:lnTo>
                  <a:lnTo>
                    <a:pt x="2164" y="369"/>
                  </a:lnTo>
                  <a:lnTo>
                    <a:pt x="2145" y="367"/>
                  </a:lnTo>
                  <a:lnTo>
                    <a:pt x="2126" y="364"/>
                  </a:lnTo>
                  <a:lnTo>
                    <a:pt x="2116" y="366"/>
                  </a:lnTo>
                  <a:lnTo>
                    <a:pt x="2108" y="368"/>
                  </a:lnTo>
                  <a:lnTo>
                    <a:pt x="2099" y="373"/>
                  </a:lnTo>
                  <a:lnTo>
                    <a:pt x="2093" y="378"/>
                  </a:lnTo>
                  <a:lnTo>
                    <a:pt x="2079" y="392"/>
                  </a:lnTo>
                  <a:lnTo>
                    <a:pt x="2064" y="407"/>
                  </a:lnTo>
                  <a:lnTo>
                    <a:pt x="2044" y="421"/>
                  </a:lnTo>
                  <a:lnTo>
                    <a:pt x="2027" y="435"/>
                  </a:lnTo>
                  <a:lnTo>
                    <a:pt x="2021" y="443"/>
                  </a:lnTo>
                  <a:lnTo>
                    <a:pt x="2014" y="451"/>
                  </a:lnTo>
                  <a:lnTo>
                    <a:pt x="2012" y="456"/>
                  </a:lnTo>
                  <a:lnTo>
                    <a:pt x="2011" y="461"/>
                  </a:lnTo>
                  <a:lnTo>
                    <a:pt x="2010" y="466"/>
                  </a:lnTo>
                  <a:lnTo>
                    <a:pt x="2010" y="472"/>
                  </a:lnTo>
                  <a:lnTo>
                    <a:pt x="2010" y="478"/>
                  </a:lnTo>
                  <a:lnTo>
                    <a:pt x="2011" y="485"/>
                  </a:lnTo>
                  <a:lnTo>
                    <a:pt x="2013" y="490"/>
                  </a:lnTo>
                  <a:lnTo>
                    <a:pt x="2014" y="496"/>
                  </a:lnTo>
                  <a:lnTo>
                    <a:pt x="2021" y="506"/>
                  </a:lnTo>
                  <a:lnTo>
                    <a:pt x="2027" y="514"/>
                  </a:lnTo>
                  <a:lnTo>
                    <a:pt x="2033" y="524"/>
                  </a:lnTo>
                  <a:lnTo>
                    <a:pt x="2038" y="534"/>
                  </a:lnTo>
                  <a:lnTo>
                    <a:pt x="2041" y="539"/>
                  </a:lnTo>
                  <a:lnTo>
                    <a:pt x="2042" y="545"/>
                  </a:lnTo>
                  <a:lnTo>
                    <a:pt x="2043" y="550"/>
                  </a:lnTo>
                  <a:lnTo>
                    <a:pt x="2044" y="558"/>
                  </a:lnTo>
                  <a:lnTo>
                    <a:pt x="2043" y="565"/>
                  </a:lnTo>
                  <a:lnTo>
                    <a:pt x="2039" y="573"/>
                  </a:lnTo>
                  <a:lnTo>
                    <a:pt x="2036" y="579"/>
                  </a:lnTo>
                  <a:lnTo>
                    <a:pt x="2029" y="584"/>
                  </a:lnTo>
                  <a:lnTo>
                    <a:pt x="2016" y="593"/>
                  </a:lnTo>
                  <a:lnTo>
                    <a:pt x="2000" y="600"/>
                  </a:lnTo>
                  <a:lnTo>
                    <a:pt x="1983" y="607"/>
                  </a:lnTo>
                  <a:lnTo>
                    <a:pt x="1970" y="616"/>
                  </a:lnTo>
                  <a:lnTo>
                    <a:pt x="1964" y="621"/>
                  </a:lnTo>
                  <a:lnTo>
                    <a:pt x="1960" y="627"/>
                  </a:lnTo>
                  <a:lnTo>
                    <a:pt x="1956" y="635"/>
                  </a:lnTo>
                  <a:lnTo>
                    <a:pt x="1955" y="642"/>
                  </a:lnTo>
                  <a:lnTo>
                    <a:pt x="1956" y="648"/>
                  </a:lnTo>
                  <a:lnTo>
                    <a:pt x="1957" y="653"/>
                  </a:lnTo>
                  <a:lnTo>
                    <a:pt x="1960" y="658"/>
                  </a:lnTo>
                  <a:lnTo>
                    <a:pt x="1964" y="662"/>
                  </a:lnTo>
                  <a:lnTo>
                    <a:pt x="1971" y="667"/>
                  </a:lnTo>
                  <a:lnTo>
                    <a:pt x="1982" y="671"/>
                  </a:lnTo>
                  <a:lnTo>
                    <a:pt x="1993" y="674"/>
                  </a:lnTo>
                  <a:lnTo>
                    <a:pt x="2006" y="677"/>
                  </a:lnTo>
                  <a:lnTo>
                    <a:pt x="2018" y="682"/>
                  </a:lnTo>
                  <a:lnTo>
                    <a:pt x="2029" y="688"/>
                  </a:lnTo>
                  <a:lnTo>
                    <a:pt x="2054" y="709"/>
                  </a:lnTo>
                  <a:lnTo>
                    <a:pt x="2075" y="730"/>
                  </a:lnTo>
                  <a:lnTo>
                    <a:pt x="2087" y="740"/>
                  </a:lnTo>
                  <a:lnTo>
                    <a:pt x="2099" y="748"/>
                  </a:lnTo>
                  <a:lnTo>
                    <a:pt x="2106" y="750"/>
                  </a:lnTo>
                  <a:lnTo>
                    <a:pt x="2113" y="751"/>
                  </a:lnTo>
                  <a:lnTo>
                    <a:pt x="2121" y="753"/>
                  </a:lnTo>
                  <a:lnTo>
                    <a:pt x="2129" y="754"/>
                  </a:lnTo>
                  <a:lnTo>
                    <a:pt x="2129" y="776"/>
                  </a:lnTo>
                  <a:lnTo>
                    <a:pt x="2129" y="781"/>
                  </a:lnTo>
                  <a:lnTo>
                    <a:pt x="2128" y="785"/>
                  </a:lnTo>
                  <a:lnTo>
                    <a:pt x="2125" y="789"/>
                  </a:lnTo>
                  <a:lnTo>
                    <a:pt x="2123" y="792"/>
                  </a:lnTo>
                  <a:lnTo>
                    <a:pt x="2115" y="797"/>
                  </a:lnTo>
                  <a:lnTo>
                    <a:pt x="2105" y="801"/>
                  </a:lnTo>
                  <a:lnTo>
                    <a:pt x="2084" y="805"/>
                  </a:lnTo>
                  <a:lnTo>
                    <a:pt x="2060" y="807"/>
                  </a:lnTo>
                  <a:lnTo>
                    <a:pt x="2049" y="811"/>
                  </a:lnTo>
                  <a:lnTo>
                    <a:pt x="2039" y="815"/>
                  </a:lnTo>
                  <a:lnTo>
                    <a:pt x="2029" y="817"/>
                  </a:lnTo>
                  <a:lnTo>
                    <a:pt x="2018" y="820"/>
                  </a:lnTo>
                  <a:lnTo>
                    <a:pt x="2010" y="818"/>
                  </a:lnTo>
                  <a:lnTo>
                    <a:pt x="2001" y="817"/>
                  </a:lnTo>
                  <a:lnTo>
                    <a:pt x="1993" y="815"/>
                  </a:lnTo>
                  <a:lnTo>
                    <a:pt x="1986" y="811"/>
                  </a:lnTo>
                  <a:lnTo>
                    <a:pt x="1971" y="803"/>
                  </a:lnTo>
                  <a:lnTo>
                    <a:pt x="1955" y="796"/>
                  </a:lnTo>
                  <a:lnTo>
                    <a:pt x="1949" y="785"/>
                  </a:lnTo>
                  <a:lnTo>
                    <a:pt x="1940" y="775"/>
                  </a:lnTo>
                  <a:lnTo>
                    <a:pt x="1936" y="771"/>
                  </a:lnTo>
                  <a:lnTo>
                    <a:pt x="1930" y="768"/>
                  </a:lnTo>
                  <a:lnTo>
                    <a:pt x="1925" y="766"/>
                  </a:lnTo>
                  <a:lnTo>
                    <a:pt x="1919" y="765"/>
                  </a:lnTo>
                  <a:lnTo>
                    <a:pt x="1905" y="766"/>
                  </a:lnTo>
                  <a:lnTo>
                    <a:pt x="1894" y="770"/>
                  </a:lnTo>
                  <a:lnTo>
                    <a:pt x="1884" y="775"/>
                  </a:lnTo>
                  <a:lnTo>
                    <a:pt x="1874" y="781"/>
                  </a:lnTo>
                  <a:lnTo>
                    <a:pt x="1867" y="790"/>
                  </a:lnTo>
                  <a:lnTo>
                    <a:pt x="1858" y="800"/>
                  </a:lnTo>
                  <a:lnTo>
                    <a:pt x="1852" y="811"/>
                  </a:lnTo>
                  <a:lnTo>
                    <a:pt x="1844" y="822"/>
                  </a:lnTo>
                  <a:lnTo>
                    <a:pt x="1834" y="817"/>
                  </a:lnTo>
                  <a:lnTo>
                    <a:pt x="1826" y="812"/>
                  </a:lnTo>
                  <a:lnTo>
                    <a:pt x="1818" y="807"/>
                  </a:lnTo>
                  <a:lnTo>
                    <a:pt x="1811" y="801"/>
                  </a:lnTo>
                  <a:lnTo>
                    <a:pt x="1805" y="794"/>
                  </a:lnTo>
                  <a:lnTo>
                    <a:pt x="1797" y="787"/>
                  </a:lnTo>
                  <a:lnTo>
                    <a:pt x="1788" y="782"/>
                  </a:lnTo>
                  <a:lnTo>
                    <a:pt x="1779" y="776"/>
                  </a:lnTo>
                  <a:lnTo>
                    <a:pt x="1766" y="770"/>
                  </a:lnTo>
                  <a:lnTo>
                    <a:pt x="1754" y="765"/>
                  </a:lnTo>
                  <a:lnTo>
                    <a:pt x="1749" y="761"/>
                  </a:lnTo>
                  <a:lnTo>
                    <a:pt x="1745" y="756"/>
                  </a:lnTo>
                  <a:lnTo>
                    <a:pt x="1741" y="751"/>
                  </a:lnTo>
                  <a:lnTo>
                    <a:pt x="1739" y="745"/>
                  </a:lnTo>
                  <a:lnTo>
                    <a:pt x="1734" y="718"/>
                  </a:lnTo>
                  <a:lnTo>
                    <a:pt x="1731" y="693"/>
                  </a:lnTo>
                  <a:lnTo>
                    <a:pt x="1729" y="681"/>
                  </a:lnTo>
                  <a:lnTo>
                    <a:pt x="1725" y="670"/>
                  </a:lnTo>
                  <a:lnTo>
                    <a:pt x="1723" y="665"/>
                  </a:lnTo>
                  <a:lnTo>
                    <a:pt x="1719" y="660"/>
                  </a:lnTo>
                  <a:lnTo>
                    <a:pt x="1715" y="653"/>
                  </a:lnTo>
                  <a:lnTo>
                    <a:pt x="1710" y="648"/>
                  </a:lnTo>
                  <a:lnTo>
                    <a:pt x="1703" y="641"/>
                  </a:lnTo>
                  <a:lnTo>
                    <a:pt x="1695" y="636"/>
                  </a:lnTo>
                  <a:lnTo>
                    <a:pt x="1687" y="632"/>
                  </a:lnTo>
                  <a:lnTo>
                    <a:pt x="1679" y="629"/>
                  </a:lnTo>
                  <a:lnTo>
                    <a:pt x="1662" y="622"/>
                  </a:lnTo>
                  <a:lnTo>
                    <a:pt x="1642" y="615"/>
                  </a:lnTo>
                  <a:lnTo>
                    <a:pt x="1631" y="606"/>
                  </a:lnTo>
                  <a:lnTo>
                    <a:pt x="1622" y="596"/>
                  </a:lnTo>
                  <a:lnTo>
                    <a:pt x="1617" y="593"/>
                  </a:lnTo>
                  <a:lnTo>
                    <a:pt x="1612" y="589"/>
                  </a:lnTo>
                  <a:lnTo>
                    <a:pt x="1606" y="586"/>
                  </a:lnTo>
                  <a:lnTo>
                    <a:pt x="1600" y="586"/>
                  </a:lnTo>
                  <a:lnTo>
                    <a:pt x="1593" y="586"/>
                  </a:lnTo>
                  <a:lnTo>
                    <a:pt x="1590" y="589"/>
                  </a:lnTo>
                  <a:lnTo>
                    <a:pt x="1585" y="593"/>
                  </a:lnTo>
                  <a:lnTo>
                    <a:pt x="1581" y="596"/>
                  </a:lnTo>
                  <a:lnTo>
                    <a:pt x="1577" y="600"/>
                  </a:lnTo>
                  <a:lnTo>
                    <a:pt x="1572" y="603"/>
                  </a:lnTo>
                  <a:lnTo>
                    <a:pt x="1567" y="605"/>
                  </a:lnTo>
                  <a:lnTo>
                    <a:pt x="1562" y="606"/>
                  </a:lnTo>
                  <a:lnTo>
                    <a:pt x="1524" y="606"/>
                  </a:lnTo>
                  <a:lnTo>
                    <a:pt x="1492" y="605"/>
                  </a:lnTo>
                  <a:lnTo>
                    <a:pt x="1458" y="605"/>
                  </a:lnTo>
                  <a:lnTo>
                    <a:pt x="1421" y="605"/>
                  </a:lnTo>
                  <a:lnTo>
                    <a:pt x="1416" y="600"/>
                  </a:lnTo>
                  <a:lnTo>
                    <a:pt x="1410" y="595"/>
                  </a:lnTo>
                  <a:lnTo>
                    <a:pt x="1405" y="591"/>
                  </a:lnTo>
                  <a:lnTo>
                    <a:pt x="1400" y="588"/>
                  </a:lnTo>
                  <a:lnTo>
                    <a:pt x="1389" y="583"/>
                  </a:lnTo>
                  <a:lnTo>
                    <a:pt x="1376" y="580"/>
                  </a:lnTo>
                  <a:lnTo>
                    <a:pt x="1365" y="576"/>
                  </a:lnTo>
                  <a:lnTo>
                    <a:pt x="1353" y="574"/>
                  </a:lnTo>
                  <a:lnTo>
                    <a:pt x="1339" y="569"/>
                  </a:lnTo>
                  <a:lnTo>
                    <a:pt x="1326" y="563"/>
                  </a:lnTo>
                  <a:lnTo>
                    <a:pt x="1312" y="553"/>
                  </a:lnTo>
                  <a:lnTo>
                    <a:pt x="1299" y="542"/>
                  </a:lnTo>
                  <a:lnTo>
                    <a:pt x="1293" y="537"/>
                  </a:lnTo>
                  <a:lnTo>
                    <a:pt x="1285" y="533"/>
                  </a:lnTo>
                  <a:lnTo>
                    <a:pt x="1278" y="531"/>
                  </a:lnTo>
                  <a:lnTo>
                    <a:pt x="1269" y="529"/>
                  </a:lnTo>
                  <a:lnTo>
                    <a:pt x="1263" y="531"/>
                  </a:lnTo>
                  <a:lnTo>
                    <a:pt x="1258" y="533"/>
                  </a:lnTo>
                  <a:lnTo>
                    <a:pt x="1254" y="538"/>
                  </a:lnTo>
                  <a:lnTo>
                    <a:pt x="1251" y="543"/>
                  </a:lnTo>
                  <a:lnTo>
                    <a:pt x="1246" y="557"/>
                  </a:lnTo>
                  <a:lnTo>
                    <a:pt x="1238" y="569"/>
                  </a:lnTo>
                  <a:lnTo>
                    <a:pt x="1233" y="564"/>
                  </a:lnTo>
                  <a:lnTo>
                    <a:pt x="1230" y="559"/>
                  </a:lnTo>
                  <a:lnTo>
                    <a:pt x="1227" y="554"/>
                  </a:lnTo>
                  <a:lnTo>
                    <a:pt x="1225" y="548"/>
                  </a:lnTo>
                  <a:lnTo>
                    <a:pt x="1220" y="537"/>
                  </a:lnTo>
                  <a:lnTo>
                    <a:pt x="1212" y="526"/>
                  </a:lnTo>
                  <a:lnTo>
                    <a:pt x="1195" y="514"/>
                  </a:lnTo>
                  <a:lnTo>
                    <a:pt x="1179" y="503"/>
                  </a:lnTo>
                  <a:lnTo>
                    <a:pt x="1174" y="495"/>
                  </a:lnTo>
                  <a:lnTo>
                    <a:pt x="1170" y="486"/>
                  </a:lnTo>
                  <a:lnTo>
                    <a:pt x="1167" y="477"/>
                  </a:lnTo>
                  <a:lnTo>
                    <a:pt x="1165" y="469"/>
                  </a:lnTo>
                  <a:lnTo>
                    <a:pt x="1161" y="460"/>
                  </a:lnTo>
                  <a:lnTo>
                    <a:pt x="1158" y="454"/>
                  </a:lnTo>
                  <a:lnTo>
                    <a:pt x="1155" y="450"/>
                  </a:lnTo>
                  <a:lnTo>
                    <a:pt x="1153" y="447"/>
                  </a:lnTo>
                  <a:lnTo>
                    <a:pt x="1149" y="445"/>
                  </a:lnTo>
                  <a:lnTo>
                    <a:pt x="1144" y="444"/>
                  </a:lnTo>
                  <a:lnTo>
                    <a:pt x="1135" y="441"/>
                  </a:lnTo>
                  <a:lnTo>
                    <a:pt x="1126" y="441"/>
                  </a:lnTo>
                  <a:lnTo>
                    <a:pt x="1117" y="441"/>
                  </a:lnTo>
                  <a:lnTo>
                    <a:pt x="1107" y="441"/>
                  </a:lnTo>
                  <a:lnTo>
                    <a:pt x="1093" y="441"/>
                  </a:lnTo>
                  <a:lnTo>
                    <a:pt x="1081" y="443"/>
                  </a:lnTo>
                  <a:lnTo>
                    <a:pt x="1074" y="443"/>
                  </a:lnTo>
                  <a:lnTo>
                    <a:pt x="1069" y="443"/>
                  </a:lnTo>
                  <a:lnTo>
                    <a:pt x="1063" y="440"/>
                  </a:lnTo>
                  <a:lnTo>
                    <a:pt x="1058" y="435"/>
                  </a:lnTo>
                  <a:lnTo>
                    <a:pt x="1038" y="407"/>
                  </a:lnTo>
                  <a:lnTo>
                    <a:pt x="1020" y="379"/>
                  </a:lnTo>
                  <a:lnTo>
                    <a:pt x="1015" y="373"/>
                  </a:lnTo>
                  <a:lnTo>
                    <a:pt x="1008" y="367"/>
                  </a:lnTo>
                  <a:lnTo>
                    <a:pt x="1004" y="362"/>
                  </a:lnTo>
                  <a:lnTo>
                    <a:pt x="997" y="358"/>
                  </a:lnTo>
                  <a:lnTo>
                    <a:pt x="990" y="354"/>
                  </a:lnTo>
                  <a:lnTo>
                    <a:pt x="984" y="352"/>
                  </a:lnTo>
                  <a:lnTo>
                    <a:pt x="975" y="351"/>
                  </a:lnTo>
                  <a:lnTo>
                    <a:pt x="966" y="349"/>
                  </a:lnTo>
                  <a:lnTo>
                    <a:pt x="955" y="351"/>
                  </a:lnTo>
                  <a:lnTo>
                    <a:pt x="944" y="353"/>
                  </a:lnTo>
                  <a:lnTo>
                    <a:pt x="934" y="356"/>
                  </a:lnTo>
                  <a:lnTo>
                    <a:pt x="924" y="358"/>
                  </a:lnTo>
                  <a:lnTo>
                    <a:pt x="915" y="362"/>
                  </a:lnTo>
                  <a:lnTo>
                    <a:pt x="905" y="364"/>
                  </a:lnTo>
                  <a:lnTo>
                    <a:pt x="894" y="367"/>
                  </a:lnTo>
                  <a:lnTo>
                    <a:pt x="883" y="367"/>
                  </a:lnTo>
                  <a:lnTo>
                    <a:pt x="874" y="366"/>
                  </a:lnTo>
                  <a:lnTo>
                    <a:pt x="866" y="364"/>
                  </a:lnTo>
                  <a:lnTo>
                    <a:pt x="868" y="354"/>
                  </a:lnTo>
                  <a:lnTo>
                    <a:pt x="872" y="346"/>
                  </a:lnTo>
                  <a:lnTo>
                    <a:pt x="876" y="337"/>
                  </a:lnTo>
                  <a:lnTo>
                    <a:pt x="877" y="327"/>
                  </a:lnTo>
                  <a:lnTo>
                    <a:pt x="876" y="322"/>
                  </a:lnTo>
                  <a:lnTo>
                    <a:pt x="873" y="320"/>
                  </a:lnTo>
                  <a:lnTo>
                    <a:pt x="869" y="317"/>
                  </a:lnTo>
                  <a:lnTo>
                    <a:pt x="864" y="316"/>
                  </a:lnTo>
                  <a:lnTo>
                    <a:pt x="853" y="316"/>
                  </a:lnTo>
                  <a:lnTo>
                    <a:pt x="842" y="316"/>
                  </a:lnTo>
                  <a:lnTo>
                    <a:pt x="828" y="317"/>
                  </a:lnTo>
                  <a:lnTo>
                    <a:pt x="816" y="320"/>
                  </a:lnTo>
                  <a:lnTo>
                    <a:pt x="805" y="323"/>
                  </a:lnTo>
                  <a:lnTo>
                    <a:pt x="794" y="327"/>
                  </a:lnTo>
                  <a:lnTo>
                    <a:pt x="772" y="338"/>
                  </a:lnTo>
                  <a:lnTo>
                    <a:pt x="749" y="349"/>
                  </a:lnTo>
                  <a:lnTo>
                    <a:pt x="736" y="354"/>
                  </a:lnTo>
                  <a:lnTo>
                    <a:pt x="724" y="358"/>
                  </a:lnTo>
                  <a:lnTo>
                    <a:pt x="713" y="361"/>
                  </a:lnTo>
                  <a:lnTo>
                    <a:pt x="702" y="362"/>
                  </a:lnTo>
                  <a:lnTo>
                    <a:pt x="679" y="364"/>
                  </a:lnTo>
                  <a:lnTo>
                    <a:pt x="655" y="367"/>
                  </a:lnTo>
                  <a:lnTo>
                    <a:pt x="641" y="369"/>
                  </a:lnTo>
                  <a:lnTo>
                    <a:pt x="630" y="373"/>
                  </a:lnTo>
                  <a:lnTo>
                    <a:pt x="618" y="378"/>
                  </a:lnTo>
                  <a:lnTo>
                    <a:pt x="609" y="382"/>
                  </a:lnTo>
                  <a:lnTo>
                    <a:pt x="587" y="393"/>
                  </a:lnTo>
                  <a:lnTo>
                    <a:pt x="564" y="404"/>
                  </a:lnTo>
                  <a:lnTo>
                    <a:pt x="551" y="407"/>
                  </a:lnTo>
                  <a:lnTo>
                    <a:pt x="539" y="408"/>
                  </a:lnTo>
                  <a:lnTo>
                    <a:pt x="534" y="409"/>
                  </a:lnTo>
                  <a:lnTo>
                    <a:pt x="528" y="410"/>
                  </a:lnTo>
                  <a:lnTo>
                    <a:pt x="523" y="412"/>
                  </a:lnTo>
                  <a:lnTo>
                    <a:pt x="518" y="415"/>
                  </a:lnTo>
                  <a:lnTo>
                    <a:pt x="514" y="420"/>
                  </a:lnTo>
                  <a:lnTo>
                    <a:pt x="512" y="425"/>
                  </a:lnTo>
                  <a:lnTo>
                    <a:pt x="510" y="430"/>
                  </a:lnTo>
                  <a:lnTo>
                    <a:pt x="509" y="436"/>
                  </a:lnTo>
                  <a:lnTo>
                    <a:pt x="509" y="449"/>
                  </a:lnTo>
                  <a:lnTo>
                    <a:pt x="507" y="461"/>
                  </a:lnTo>
                  <a:lnTo>
                    <a:pt x="503" y="466"/>
                  </a:lnTo>
                  <a:lnTo>
                    <a:pt x="498" y="471"/>
                  </a:lnTo>
                  <a:lnTo>
                    <a:pt x="496" y="475"/>
                  </a:lnTo>
                  <a:lnTo>
                    <a:pt x="494" y="477"/>
                  </a:lnTo>
                  <a:lnTo>
                    <a:pt x="493" y="480"/>
                  </a:lnTo>
                  <a:lnTo>
                    <a:pt x="492" y="483"/>
                  </a:lnTo>
                  <a:lnTo>
                    <a:pt x="493" y="495"/>
                  </a:lnTo>
                  <a:lnTo>
                    <a:pt x="497" y="505"/>
                  </a:lnTo>
                  <a:lnTo>
                    <a:pt x="499" y="514"/>
                  </a:lnTo>
                  <a:lnTo>
                    <a:pt x="500" y="526"/>
                  </a:lnTo>
                  <a:lnTo>
                    <a:pt x="499" y="536"/>
                  </a:lnTo>
                  <a:lnTo>
                    <a:pt x="497" y="544"/>
                  </a:lnTo>
                  <a:lnTo>
                    <a:pt x="492" y="552"/>
                  </a:lnTo>
                  <a:lnTo>
                    <a:pt x="487" y="559"/>
                  </a:lnTo>
                  <a:lnTo>
                    <a:pt x="481" y="565"/>
                  </a:lnTo>
                  <a:lnTo>
                    <a:pt x="474" y="573"/>
                  </a:lnTo>
                  <a:lnTo>
                    <a:pt x="468" y="580"/>
                  </a:lnTo>
                  <a:lnTo>
                    <a:pt x="463" y="589"/>
                  </a:lnTo>
                  <a:lnTo>
                    <a:pt x="452" y="575"/>
                  </a:lnTo>
                  <a:lnTo>
                    <a:pt x="443" y="562"/>
                  </a:lnTo>
                  <a:lnTo>
                    <a:pt x="436" y="549"/>
                  </a:lnTo>
                  <a:lnTo>
                    <a:pt x="428" y="536"/>
                  </a:lnTo>
                  <a:lnTo>
                    <a:pt x="416" y="508"/>
                  </a:lnTo>
                  <a:lnTo>
                    <a:pt x="401" y="478"/>
                  </a:lnTo>
                  <a:lnTo>
                    <a:pt x="394" y="462"/>
                  </a:lnTo>
                  <a:lnTo>
                    <a:pt x="387" y="447"/>
                  </a:lnTo>
                  <a:lnTo>
                    <a:pt x="383" y="441"/>
                  </a:lnTo>
                  <a:lnTo>
                    <a:pt x="378" y="436"/>
                  </a:lnTo>
                  <a:lnTo>
                    <a:pt x="371" y="434"/>
                  </a:lnTo>
                  <a:lnTo>
                    <a:pt x="364" y="433"/>
                  </a:lnTo>
                  <a:lnTo>
                    <a:pt x="359" y="433"/>
                  </a:lnTo>
                  <a:lnTo>
                    <a:pt x="354" y="435"/>
                  </a:lnTo>
                  <a:lnTo>
                    <a:pt x="350" y="438"/>
                  </a:lnTo>
                  <a:lnTo>
                    <a:pt x="346" y="440"/>
                  </a:lnTo>
                  <a:lnTo>
                    <a:pt x="339" y="447"/>
                  </a:lnTo>
                  <a:lnTo>
                    <a:pt x="330" y="455"/>
                  </a:lnTo>
                  <a:lnTo>
                    <a:pt x="318" y="462"/>
                  </a:lnTo>
                  <a:lnTo>
                    <a:pt x="306" y="469"/>
                  </a:lnTo>
                  <a:lnTo>
                    <a:pt x="293" y="475"/>
                  </a:lnTo>
                  <a:lnTo>
                    <a:pt x="282" y="483"/>
                  </a:lnTo>
                  <a:lnTo>
                    <a:pt x="276" y="488"/>
                  </a:lnTo>
                  <a:lnTo>
                    <a:pt x="272" y="495"/>
                  </a:lnTo>
                  <a:lnTo>
                    <a:pt x="269" y="501"/>
                  </a:lnTo>
                  <a:lnTo>
                    <a:pt x="267" y="507"/>
                  </a:lnTo>
                  <a:lnTo>
                    <a:pt x="265" y="514"/>
                  </a:lnTo>
                  <a:lnTo>
                    <a:pt x="261" y="519"/>
                  </a:lnTo>
                  <a:lnTo>
                    <a:pt x="256" y="524"/>
                  </a:lnTo>
                  <a:lnTo>
                    <a:pt x="251" y="529"/>
                  </a:lnTo>
                  <a:lnTo>
                    <a:pt x="241" y="533"/>
                  </a:lnTo>
                  <a:lnTo>
                    <a:pt x="232" y="536"/>
                  </a:lnTo>
                  <a:lnTo>
                    <a:pt x="224" y="538"/>
                  </a:lnTo>
                  <a:lnTo>
                    <a:pt x="216" y="539"/>
                  </a:lnTo>
                  <a:lnTo>
                    <a:pt x="199" y="542"/>
                  </a:lnTo>
                  <a:lnTo>
                    <a:pt x="179" y="547"/>
                  </a:lnTo>
                  <a:lnTo>
                    <a:pt x="184" y="558"/>
                  </a:lnTo>
                  <a:lnTo>
                    <a:pt x="186" y="570"/>
                  </a:lnTo>
                  <a:lnTo>
                    <a:pt x="188" y="581"/>
                  </a:lnTo>
                  <a:lnTo>
                    <a:pt x="188" y="594"/>
                  </a:lnTo>
                  <a:lnTo>
                    <a:pt x="188" y="603"/>
                  </a:lnTo>
                  <a:lnTo>
                    <a:pt x="186" y="609"/>
                  </a:lnTo>
                  <a:lnTo>
                    <a:pt x="185" y="616"/>
                  </a:lnTo>
                  <a:lnTo>
                    <a:pt x="183" y="622"/>
                  </a:lnTo>
                  <a:lnTo>
                    <a:pt x="180" y="629"/>
                  </a:lnTo>
                  <a:lnTo>
                    <a:pt x="176" y="634"/>
                  </a:lnTo>
                  <a:lnTo>
                    <a:pt x="171" y="639"/>
                  </a:lnTo>
                  <a:lnTo>
                    <a:pt x="165" y="642"/>
                  </a:lnTo>
                  <a:lnTo>
                    <a:pt x="143" y="653"/>
                  </a:lnTo>
                  <a:lnTo>
                    <a:pt x="123" y="661"/>
                  </a:lnTo>
                  <a:lnTo>
                    <a:pt x="103" y="667"/>
                  </a:lnTo>
                  <a:lnTo>
                    <a:pt x="84" y="672"/>
                  </a:lnTo>
                  <a:lnTo>
                    <a:pt x="46" y="679"/>
                  </a:lnTo>
                  <a:lnTo>
                    <a:pt x="0" y="686"/>
                  </a:lnTo>
                  <a:lnTo>
                    <a:pt x="0" y="710"/>
                  </a:lnTo>
                  <a:lnTo>
                    <a:pt x="0" y="723"/>
                  </a:lnTo>
                  <a:lnTo>
                    <a:pt x="2" y="734"/>
                  </a:lnTo>
                  <a:lnTo>
                    <a:pt x="5" y="744"/>
                  </a:lnTo>
                  <a:lnTo>
                    <a:pt x="9" y="754"/>
                  </a:lnTo>
                  <a:lnTo>
                    <a:pt x="19" y="772"/>
                  </a:lnTo>
                  <a:lnTo>
                    <a:pt x="30" y="790"/>
                  </a:lnTo>
                  <a:lnTo>
                    <a:pt x="41" y="808"/>
                  </a:lnTo>
                  <a:lnTo>
                    <a:pt x="50" y="827"/>
                  </a:lnTo>
                  <a:lnTo>
                    <a:pt x="55" y="837"/>
                  </a:lnTo>
                  <a:lnTo>
                    <a:pt x="57" y="847"/>
                  </a:lnTo>
                  <a:lnTo>
                    <a:pt x="58" y="858"/>
                  </a:lnTo>
                  <a:lnTo>
                    <a:pt x="60" y="870"/>
                  </a:lnTo>
                  <a:lnTo>
                    <a:pt x="57" y="885"/>
                  </a:lnTo>
                  <a:lnTo>
                    <a:pt x="53" y="899"/>
                  </a:lnTo>
                  <a:lnTo>
                    <a:pt x="56" y="905"/>
                  </a:lnTo>
                  <a:lnTo>
                    <a:pt x="57" y="910"/>
                  </a:lnTo>
                  <a:lnTo>
                    <a:pt x="115" y="910"/>
                  </a:lnTo>
                  <a:lnTo>
                    <a:pt x="122" y="910"/>
                  </a:lnTo>
                  <a:lnTo>
                    <a:pt x="128" y="911"/>
                  </a:lnTo>
                  <a:lnTo>
                    <a:pt x="133" y="913"/>
                  </a:lnTo>
                  <a:lnTo>
                    <a:pt x="138" y="915"/>
                  </a:lnTo>
                  <a:lnTo>
                    <a:pt x="147" y="921"/>
                  </a:lnTo>
                  <a:lnTo>
                    <a:pt x="154" y="930"/>
                  </a:lnTo>
                  <a:lnTo>
                    <a:pt x="160" y="940"/>
                  </a:lnTo>
                  <a:lnTo>
                    <a:pt x="166" y="950"/>
                  </a:lnTo>
                  <a:lnTo>
                    <a:pt x="171" y="961"/>
                  </a:lnTo>
                  <a:lnTo>
                    <a:pt x="176" y="972"/>
                  </a:lnTo>
                  <a:lnTo>
                    <a:pt x="186" y="997"/>
                  </a:lnTo>
                  <a:lnTo>
                    <a:pt x="195" y="1021"/>
                  </a:lnTo>
                  <a:lnTo>
                    <a:pt x="197" y="1032"/>
                  </a:lnTo>
                  <a:lnTo>
                    <a:pt x="200" y="1044"/>
                  </a:lnTo>
                  <a:lnTo>
                    <a:pt x="201" y="1057"/>
                  </a:lnTo>
                  <a:lnTo>
                    <a:pt x="202" y="1070"/>
                  </a:lnTo>
                  <a:lnTo>
                    <a:pt x="201" y="1076"/>
                  </a:lnTo>
                  <a:lnTo>
                    <a:pt x="199" y="1083"/>
                  </a:lnTo>
                  <a:lnTo>
                    <a:pt x="195" y="1086"/>
                  </a:lnTo>
                  <a:lnTo>
                    <a:pt x="192" y="1091"/>
                  </a:lnTo>
                  <a:lnTo>
                    <a:pt x="189" y="1096"/>
                  </a:lnTo>
                  <a:lnTo>
                    <a:pt x="185" y="1100"/>
                  </a:lnTo>
                  <a:lnTo>
                    <a:pt x="183" y="1106"/>
                  </a:lnTo>
                  <a:lnTo>
                    <a:pt x="183" y="1112"/>
                  </a:lnTo>
                  <a:lnTo>
                    <a:pt x="188" y="1124"/>
                  </a:lnTo>
                  <a:lnTo>
                    <a:pt x="196" y="1135"/>
                  </a:lnTo>
                  <a:lnTo>
                    <a:pt x="199" y="1143"/>
                  </a:lnTo>
                  <a:lnTo>
                    <a:pt x="200" y="1151"/>
                  </a:lnTo>
                  <a:lnTo>
                    <a:pt x="201" y="1158"/>
                  </a:lnTo>
                  <a:lnTo>
                    <a:pt x="201" y="1166"/>
                  </a:lnTo>
                  <a:lnTo>
                    <a:pt x="200" y="1181"/>
                  </a:lnTo>
                  <a:lnTo>
                    <a:pt x="200" y="1198"/>
                  </a:lnTo>
                  <a:lnTo>
                    <a:pt x="200" y="1198"/>
                  </a:lnTo>
                  <a:close/>
                </a:path>
              </a:pathLst>
            </a:custGeom>
            <a:solidFill>
              <a:srgbClr val="44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63" name="Freeform 178">
              <a:extLst>
                <a:ext uri="{FF2B5EF4-FFF2-40B4-BE49-F238E27FC236}">
                  <a16:creationId xmlns:a16="http://schemas.microsoft.com/office/drawing/2014/main" id="{35FE4B07-B47E-4D4F-8B99-D3166CA62094}"/>
                </a:ext>
              </a:extLst>
            </p:cNvPr>
            <p:cNvSpPr>
              <a:spLocks/>
            </p:cNvSpPr>
            <p:nvPr/>
          </p:nvSpPr>
          <p:spPr bwMode="auto">
            <a:xfrm>
              <a:off x="7321032" y="1070631"/>
              <a:ext cx="4835412" cy="2513842"/>
            </a:xfrm>
            <a:custGeom>
              <a:avLst/>
              <a:gdLst>
                <a:gd name="T0" fmla="*/ 478 w 5383"/>
                <a:gd name="T1" fmla="*/ 1151 h 2710"/>
                <a:gd name="T2" fmla="*/ 768 w 5383"/>
                <a:gd name="T3" fmla="*/ 1290 h 2710"/>
                <a:gd name="T4" fmla="*/ 717 w 5383"/>
                <a:gd name="T5" fmla="*/ 1492 h 2710"/>
                <a:gd name="T6" fmla="*/ 642 w 5383"/>
                <a:gd name="T7" fmla="*/ 1564 h 2710"/>
                <a:gd name="T8" fmla="*/ 420 w 5383"/>
                <a:gd name="T9" fmla="*/ 1522 h 2710"/>
                <a:gd name="T10" fmla="*/ 324 w 5383"/>
                <a:gd name="T11" fmla="*/ 1626 h 2710"/>
                <a:gd name="T12" fmla="*/ 277 w 5383"/>
                <a:gd name="T13" fmla="*/ 1711 h 2710"/>
                <a:gd name="T14" fmla="*/ 330 w 5383"/>
                <a:gd name="T15" fmla="*/ 1947 h 2710"/>
                <a:gd name="T16" fmla="*/ 385 w 5383"/>
                <a:gd name="T17" fmla="*/ 2147 h 2710"/>
                <a:gd name="T18" fmla="*/ 1438 w 5383"/>
                <a:gd name="T19" fmla="*/ 1663 h 2710"/>
                <a:gd name="T20" fmla="*/ 1550 w 5383"/>
                <a:gd name="T21" fmla="*/ 1613 h 2710"/>
                <a:gd name="T22" fmla="*/ 1715 w 5383"/>
                <a:gd name="T23" fmla="*/ 1607 h 2710"/>
                <a:gd name="T24" fmla="*/ 1598 w 5383"/>
                <a:gd name="T25" fmla="*/ 1760 h 2710"/>
                <a:gd name="T26" fmla="*/ 1723 w 5383"/>
                <a:gd name="T27" fmla="*/ 2004 h 2710"/>
                <a:gd name="T28" fmla="*/ 1967 w 5383"/>
                <a:gd name="T29" fmla="*/ 2120 h 2710"/>
                <a:gd name="T30" fmla="*/ 2303 w 5383"/>
                <a:gd name="T31" fmla="*/ 2260 h 2710"/>
                <a:gd name="T32" fmla="*/ 2310 w 5383"/>
                <a:gd name="T33" fmla="*/ 2451 h 2710"/>
                <a:gd name="T34" fmla="*/ 2397 w 5383"/>
                <a:gd name="T35" fmla="*/ 2641 h 2710"/>
                <a:gd name="T36" fmla="*/ 2665 w 5383"/>
                <a:gd name="T37" fmla="*/ 2685 h 2710"/>
                <a:gd name="T38" fmla="*/ 2976 w 5383"/>
                <a:gd name="T39" fmla="*/ 2498 h 2710"/>
                <a:gd name="T40" fmla="*/ 3336 w 5383"/>
                <a:gd name="T41" fmla="*/ 2416 h 2710"/>
                <a:gd name="T42" fmla="*/ 3581 w 5383"/>
                <a:gd name="T43" fmla="*/ 2328 h 2710"/>
                <a:gd name="T44" fmla="*/ 3895 w 5383"/>
                <a:gd name="T45" fmla="*/ 2401 h 2710"/>
                <a:gd name="T46" fmla="*/ 4304 w 5383"/>
                <a:gd name="T47" fmla="*/ 2457 h 2710"/>
                <a:gd name="T48" fmla="*/ 4507 w 5383"/>
                <a:gd name="T49" fmla="*/ 2347 h 2710"/>
                <a:gd name="T50" fmla="*/ 4513 w 5383"/>
                <a:gd name="T51" fmla="*/ 2096 h 2710"/>
                <a:gd name="T52" fmla="*/ 4482 w 5383"/>
                <a:gd name="T53" fmla="*/ 2008 h 2710"/>
                <a:gd name="T54" fmla="*/ 4722 w 5383"/>
                <a:gd name="T55" fmla="*/ 1967 h 2710"/>
                <a:gd name="T56" fmla="*/ 4763 w 5383"/>
                <a:gd name="T57" fmla="*/ 1865 h 2710"/>
                <a:gd name="T58" fmla="*/ 4977 w 5383"/>
                <a:gd name="T59" fmla="*/ 1698 h 2710"/>
                <a:gd name="T60" fmla="*/ 5136 w 5383"/>
                <a:gd name="T61" fmla="*/ 1600 h 2710"/>
                <a:gd name="T62" fmla="*/ 5116 w 5383"/>
                <a:gd name="T63" fmla="*/ 1364 h 2710"/>
                <a:gd name="T64" fmla="*/ 5275 w 5383"/>
                <a:gd name="T65" fmla="*/ 1183 h 2710"/>
                <a:gd name="T66" fmla="*/ 5231 w 5383"/>
                <a:gd name="T67" fmla="*/ 1059 h 2710"/>
                <a:gd name="T68" fmla="*/ 5070 w 5383"/>
                <a:gd name="T69" fmla="*/ 1186 h 2710"/>
                <a:gd name="T70" fmla="*/ 4846 w 5383"/>
                <a:gd name="T71" fmla="*/ 924 h 2710"/>
                <a:gd name="T72" fmla="*/ 4580 w 5383"/>
                <a:gd name="T73" fmla="*/ 882 h 2710"/>
                <a:gd name="T74" fmla="*/ 4393 w 5383"/>
                <a:gd name="T75" fmla="*/ 877 h 2710"/>
                <a:gd name="T76" fmla="*/ 4043 w 5383"/>
                <a:gd name="T77" fmla="*/ 311 h 2710"/>
                <a:gd name="T78" fmla="*/ 3925 w 5383"/>
                <a:gd name="T79" fmla="*/ 201 h 2710"/>
                <a:gd name="T80" fmla="*/ 3709 w 5383"/>
                <a:gd name="T81" fmla="*/ 347 h 2710"/>
                <a:gd name="T82" fmla="*/ 3612 w 5383"/>
                <a:gd name="T83" fmla="*/ 305 h 2710"/>
                <a:gd name="T84" fmla="*/ 3384 w 5383"/>
                <a:gd name="T85" fmla="*/ 256 h 2710"/>
                <a:gd name="T86" fmla="*/ 3288 w 5383"/>
                <a:gd name="T87" fmla="*/ 23 h 2710"/>
                <a:gd name="T88" fmla="*/ 2937 w 5383"/>
                <a:gd name="T89" fmla="*/ 72 h 2710"/>
                <a:gd name="T90" fmla="*/ 2474 w 5383"/>
                <a:gd name="T91" fmla="*/ 131 h 2710"/>
                <a:gd name="T92" fmla="*/ 2252 w 5383"/>
                <a:gd name="T93" fmla="*/ 163 h 2710"/>
                <a:gd name="T94" fmla="*/ 2141 w 5383"/>
                <a:gd name="T95" fmla="*/ 258 h 2710"/>
                <a:gd name="T96" fmla="*/ 2116 w 5383"/>
                <a:gd name="T97" fmla="*/ 366 h 2710"/>
                <a:gd name="T98" fmla="*/ 2044 w 5383"/>
                <a:gd name="T99" fmla="*/ 558 h 2710"/>
                <a:gd name="T100" fmla="*/ 2087 w 5383"/>
                <a:gd name="T101" fmla="*/ 740 h 2710"/>
                <a:gd name="T102" fmla="*/ 1949 w 5383"/>
                <a:gd name="T103" fmla="*/ 785 h 2710"/>
                <a:gd name="T104" fmla="*/ 1745 w 5383"/>
                <a:gd name="T105" fmla="*/ 756 h 2710"/>
                <a:gd name="T106" fmla="*/ 1585 w 5383"/>
                <a:gd name="T107" fmla="*/ 593 h 2710"/>
                <a:gd name="T108" fmla="*/ 1269 w 5383"/>
                <a:gd name="T109" fmla="*/ 529 h 2710"/>
                <a:gd name="T110" fmla="*/ 1135 w 5383"/>
                <a:gd name="T111" fmla="*/ 441 h 2710"/>
                <a:gd name="T112" fmla="*/ 905 w 5383"/>
                <a:gd name="T113" fmla="*/ 364 h 2710"/>
                <a:gd name="T114" fmla="*/ 679 w 5383"/>
                <a:gd name="T115" fmla="*/ 364 h 2710"/>
                <a:gd name="T116" fmla="*/ 492 w 5383"/>
                <a:gd name="T117" fmla="*/ 483 h 2710"/>
                <a:gd name="T118" fmla="*/ 359 w 5383"/>
                <a:gd name="T119" fmla="*/ 433 h 2710"/>
                <a:gd name="T120" fmla="*/ 186 w 5383"/>
                <a:gd name="T121" fmla="*/ 570 h 2710"/>
                <a:gd name="T122" fmla="*/ 50 w 5383"/>
                <a:gd name="T123" fmla="*/ 827 h 2710"/>
                <a:gd name="T124" fmla="*/ 202 w 5383"/>
                <a:gd name="T125" fmla="*/ 1070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83" h="2710">
                  <a:moveTo>
                    <a:pt x="200" y="1198"/>
                  </a:moveTo>
                  <a:lnTo>
                    <a:pt x="206" y="1199"/>
                  </a:lnTo>
                  <a:lnTo>
                    <a:pt x="214" y="1200"/>
                  </a:lnTo>
                  <a:lnTo>
                    <a:pt x="232" y="1197"/>
                  </a:lnTo>
                  <a:lnTo>
                    <a:pt x="251" y="1194"/>
                  </a:lnTo>
                  <a:lnTo>
                    <a:pt x="267" y="1205"/>
                  </a:lnTo>
                  <a:lnTo>
                    <a:pt x="283" y="1217"/>
                  </a:lnTo>
                  <a:lnTo>
                    <a:pt x="289" y="1215"/>
                  </a:lnTo>
                  <a:lnTo>
                    <a:pt x="296" y="1213"/>
                  </a:lnTo>
                  <a:lnTo>
                    <a:pt x="333" y="1213"/>
                  </a:lnTo>
                  <a:lnTo>
                    <a:pt x="345" y="1212"/>
                  </a:lnTo>
                  <a:lnTo>
                    <a:pt x="356" y="1209"/>
                  </a:lnTo>
                  <a:lnTo>
                    <a:pt x="366" y="1204"/>
                  </a:lnTo>
                  <a:lnTo>
                    <a:pt x="379" y="1200"/>
                  </a:lnTo>
                  <a:lnTo>
                    <a:pt x="394" y="1195"/>
                  </a:lnTo>
                  <a:lnTo>
                    <a:pt x="407" y="1189"/>
                  </a:lnTo>
                  <a:lnTo>
                    <a:pt x="420" y="1184"/>
                  </a:lnTo>
                  <a:lnTo>
                    <a:pt x="433" y="1176"/>
                  </a:lnTo>
                  <a:lnTo>
                    <a:pt x="442" y="1168"/>
                  </a:lnTo>
                  <a:lnTo>
                    <a:pt x="450" y="1159"/>
                  </a:lnTo>
                  <a:lnTo>
                    <a:pt x="453" y="1156"/>
                  </a:lnTo>
                  <a:lnTo>
                    <a:pt x="457" y="1153"/>
                  </a:lnTo>
                  <a:lnTo>
                    <a:pt x="462" y="1151"/>
                  </a:lnTo>
                  <a:lnTo>
                    <a:pt x="467" y="1151"/>
                  </a:lnTo>
                  <a:lnTo>
                    <a:pt x="478" y="1151"/>
                  </a:lnTo>
                  <a:lnTo>
                    <a:pt x="487" y="1153"/>
                  </a:lnTo>
                  <a:lnTo>
                    <a:pt x="496" y="1156"/>
                  </a:lnTo>
                  <a:lnTo>
                    <a:pt x="504" y="1159"/>
                  </a:lnTo>
                  <a:lnTo>
                    <a:pt x="522" y="1168"/>
                  </a:lnTo>
                  <a:lnTo>
                    <a:pt x="540" y="1174"/>
                  </a:lnTo>
                  <a:lnTo>
                    <a:pt x="549" y="1176"/>
                  </a:lnTo>
                  <a:lnTo>
                    <a:pt x="556" y="1178"/>
                  </a:lnTo>
                  <a:lnTo>
                    <a:pt x="563" y="1181"/>
                  </a:lnTo>
                  <a:lnTo>
                    <a:pt x="568" y="1184"/>
                  </a:lnTo>
                  <a:lnTo>
                    <a:pt x="579" y="1193"/>
                  </a:lnTo>
                  <a:lnTo>
                    <a:pt x="589" y="1204"/>
                  </a:lnTo>
                  <a:lnTo>
                    <a:pt x="597" y="1212"/>
                  </a:lnTo>
                  <a:lnTo>
                    <a:pt x="605" y="1218"/>
                  </a:lnTo>
                  <a:lnTo>
                    <a:pt x="614" y="1222"/>
                  </a:lnTo>
                  <a:lnTo>
                    <a:pt x="622" y="1225"/>
                  </a:lnTo>
                  <a:lnTo>
                    <a:pt x="642" y="1230"/>
                  </a:lnTo>
                  <a:lnTo>
                    <a:pt x="663" y="1235"/>
                  </a:lnTo>
                  <a:lnTo>
                    <a:pt x="681" y="1243"/>
                  </a:lnTo>
                  <a:lnTo>
                    <a:pt x="697" y="1250"/>
                  </a:lnTo>
                  <a:lnTo>
                    <a:pt x="712" y="1259"/>
                  </a:lnTo>
                  <a:lnTo>
                    <a:pt x="729" y="1267"/>
                  </a:lnTo>
                  <a:lnTo>
                    <a:pt x="744" y="1272"/>
                  </a:lnTo>
                  <a:lnTo>
                    <a:pt x="758" y="1280"/>
                  </a:lnTo>
                  <a:lnTo>
                    <a:pt x="763" y="1285"/>
                  </a:lnTo>
                  <a:lnTo>
                    <a:pt x="768" y="1290"/>
                  </a:lnTo>
                  <a:lnTo>
                    <a:pt x="770" y="1296"/>
                  </a:lnTo>
                  <a:lnTo>
                    <a:pt x="771" y="1303"/>
                  </a:lnTo>
                  <a:lnTo>
                    <a:pt x="771" y="1307"/>
                  </a:lnTo>
                  <a:lnTo>
                    <a:pt x="769" y="1311"/>
                  </a:lnTo>
                  <a:lnTo>
                    <a:pt x="768" y="1313"/>
                  </a:lnTo>
                  <a:lnTo>
                    <a:pt x="764" y="1316"/>
                  </a:lnTo>
                  <a:lnTo>
                    <a:pt x="759" y="1321"/>
                  </a:lnTo>
                  <a:lnTo>
                    <a:pt x="754" y="1327"/>
                  </a:lnTo>
                  <a:lnTo>
                    <a:pt x="750" y="1336"/>
                  </a:lnTo>
                  <a:lnTo>
                    <a:pt x="748" y="1344"/>
                  </a:lnTo>
                  <a:lnTo>
                    <a:pt x="746" y="1353"/>
                  </a:lnTo>
                  <a:lnTo>
                    <a:pt x="745" y="1363"/>
                  </a:lnTo>
                  <a:lnTo>
                    <a:pt x="751" y="1406"/>
                  </a:lnTo>
                  <a:lnTo>
                    <a:pt x="750" y="1414"/>
                  </a:lnTo>
                  <a:lnTo>
                    <a:pt x="749" y="1421"/>
                  </a:lnTo>
                  <a:lnTo>
                    <a:pt x="746" y="1429"/>
                  </a:lnTo>
                  <a:lnTo>
                    <a:pt x="743" y="1435"/>
                  </a:lnTo>
                  <a:lnTo>
                    <a:pt x="735" y="1446"/>
                  </a:lnTo>
                  <a:lnTo>
                    <a:pt x="724" y="1457"/>
                  </a:lnTo>
                  <a:lnTo>
                    <a:pt x="720" y="1462"/>
                  </a:lnTo>
                  <a:lnTo>
                    <a:pt x="718" y="1468"/>
                  </a:lnTo>
                  <a:lnTo>
                    <a:pt x="717" y="1473"/>
                  </a:lnTo>
                  <a:lnTo>
                    <a:pt x="717" y="1480"/>
                  </a:lnTo>
                  <a:lnTo>
                    <a:pt x="717" y="1486"/>
                  </a:lnTo>
                  <a:lnTo>
                    <a:pt x="717" y="1492"/>
                  </a:lnTo>
                  <a:lnTo>
                    <a:pt x="715" y="1498"/>
                  </a:lnTo>
                  <a:lnTo>
                    <a:pt x="713" y="1504"/>
                  </a:lnTo>
                  <a:lnTo>
                    <a:pt x="707" y="1509"/>
                  </a:lnTo>
                  <a:lnTo>
                    <a:pt x="700" y="1513"/>
                  </a:lnTo>
                  <a:lnTo>
                    <a:pt x="689" y="1523"/>
                  </a:lnTo>
                  <a:lnTo>
                    <a:pt x="682" y="1534"/>
                  </a:lnTo>
                  <a:lnTo>
                    <a:pt x="678" y="1539"/>
                  </a:lnTo>
                  <a:lnTo>
                    <a:pt x="674" y="1544"/>
                  </a:lnTo>
                  <a:lnTo>
                    <a:pt x="672" y="1551"/>
                  </a:lnTo>
                  <a:lnTo>
                    <a:pt x="671" y="1558"/>
                  </a:lnTo>
                  <a:lnTo>
                    <a:pt x="676" y="1561"/>
                  </a:lnTo>
                  <a:lnTo>
                    <a:pt x="681" y="1566"/>
                  </a:lnTo>
                  <a:lnTo>
                    <a:pt x="683" y="1571"/>
                  </a:lnTo>
                  <a:lnTo>
                    <a:pt x="686" y="1578"/>
                  </a:lnTo>
                  <a:lnTo>
                    <a:pt x="687" y="1591"/>
                  </a:lnTo>
                  <a:lnTo>
                    <a:pt x="687" y="1606"/>
                  </a:lnTo>
                  <a:lnTo>
                    <a:pt x="688" y="1616"/>
                  </a:lnTo>
                  <a:lnTo>
                    <a:pt x="687" y="1626"/>
                  </a:lnTo>
                  <a:lnTo>
                    <a:pt x="681" y="1628"/>
                  </a:lnTo>
                  <a:lnTo>
                    <a:pt x="673" y="1605"/>
                  </a:lnTo>
                  <a:lnTo>
                    <a:pt x="664" y="1584"/>
                  </a:lnTo>
                  <a:lnTo>
                    <a:pt x="658" y="1575"/>
                  </a:lnTo>
                  <a:lnTo>
                    <a:pt x="651" y="1569"/>
                  </a:lnTo>
                  <a:lnTo>
                    <a:pt x="647" y="1566"/>
                  </a:lnTo>
                  <a:lnTo>
                    <a:pt x="642" y="1564"/>
                  </a:lnTo>
                  <a:lnTo>
                    <a:pt x="637" y="1563"/>
                  </a:lnTo>
                  <a:lnTo>
                    <a:pt x="631" y="1563"/>
                  </a:lnTo>
                  <a:lnTo>
                    <a:pt x="585" y="1563"/>
                  </a:lnTo>
                  <a:lnTo>
                    <a:pt x="569" y="1563"/>
                  </a:lnTo>
                  <a:lnTo>
                    <a:pt x="554" y="1561"/>
                  </a:lnTo>
                  <a:lnTo>
                    <a:pt x="546" y="1560"/>
                  </a:lnTo>
                  <a:lnTo>
                    <a:pt x="539" y="1559"/>
                  </a:lnTo>
                  <a:lnTo>
                    <a:pt x="532" y="1556"/>
                  </a:lnTo>
                  <a:lnTo>
                    <a:pt x="524" y="1553"/>
                  </a:lnTo>
                  <a:lnTo>
                    <a:pt x="517" y="1548"/>
                  </a:lnTo>
                  <a:lnTo>
                    <a:pt x="513" y="1542"/>
                  </a:lnTo>
                  <a:lnTo>
                    <a:pt x="509" y="1535"/>
                  </a:lnTo>
                  <a:lnTo>
                    <a:pt x="505" y="1528"/>
                  </a:lnTo>
                  <a:lnTo>
                    <a:pt x="502" y="1522"/>
                  </a:lnTo>
                  <a:lnTo>
                    <a:pt x="498" y="1517"/>
                  </a:lnTo>
                  <a:lnTo>
                    <a:pt x="496" y="1514"/>
                  </a:lnTo>
                  <a:lnTo>
                    <a:pt x="493" y="1513"/>
                  </a:lnTo>
                  <a:lnTo>
                    <a:pt x="489" y="1512"/>
                  </a:lnTo>
                  <a:lnTo>
                    <a:pt x="486" y="1512"/>
                  </a:lnTo>
                  <a:lnTo>
                    <a:pt x="468" y="1514"/>
                  </a:lnTo>
                  <a:lnTo>
                    <a:pt x="451" y="1518"/>
                  </a:lnTo>
                  <a:lnTo>
                    <a:pt x="440" y="1519"/>
                  </a:lnTo>
                  <a:lnTo>
                    <a:pt x="428" y="1519"/>
                  </a:lnTo>
                  <a:lnTo>
                    <a:pt x="423" y="1519"/>
                  </a:lnTo>
                  <a:lnTo>
                    <a:pt x="420" y="1522"/>
                  </a:lnTo>
                  <a:lnTo>
                    <a:pt x="417" y="1524"/>
                  </a:lnTo>
                  <a:lnTo>
                    <a:pt x="417" y="1528"/>
                  </a:lnTo>
                  <a:lnTo>
                    <a:pt x="420" y="1540"/>
                  </a:lnTo>
                  <a:lnTo>
                    <a:pt x="422" y="1553"/>
                  </a:lnTo>
                  <a:lnTo>
                    <a:pt x="422" y="1584"/>
                  </a:lnTo>
                  <a:lnTo>
                    <a:pt x="419" y="1586"/>
                  </a:lnTo>
                  <a:lnTo>
                    <a:pt x="415" y="1589"/>
                  </a:lnTo>
                  <a:lnTo>
                    <a:pt x="410" y="1584"/>
                  </a:lnTo>
                  <a:lnTo>
                    <a:pt x="404" y="1580"/>
                  </a:lnTo>
                  <a:lnTo>
                    <a:pt x="394" y="1580"/>
                  </a:lnTo>
                  <a:lnTo>
                    <a:pt x="394" y="1601"/>
                  </a:lnTo>
                  <a:lnTo>
                    <a:pt x="396" y="1606"/>
                  </a:lnTo>
                  <a:lnTo>
                    <a:pt x="399" y="1612"/>
                  </a:lnTo>
                  <a:lnTo>
                    <a:pt x="399" y="1662"/>
                  </a:lnTo>
                  <a:lnTo>
                    <a:pt x="395" y="1664"/>
                  </a:lnTo>
                  <a:lnTo>
                    <a:pt x="390" y="1664"/>
                  </a:lnTo>
                  <a:lnTo>
                    <a:pt x="381" y="1664"/>
                  </a:lnTo>
                  <a:lnTo>
                    <a:pt x="375" y="1664"/>
                  </a:lnTo>
                  <a:lnTo>
                    <a:pt x="368" y="1663"/>
                  </a:lnTo>
                  <a:lnTo>
                    <a:pt x="361" y="1659"/>
                  </a:lnTo>
                  <a:lnTo>
                    <a:pt x="350" y="1648"/>
                  </a:lnTo>
                  <a:lnTo>
                    <a:pt x="340" y="1637"/>
                  </a:lnTo>
                  <a:lnTo>
                    <a:pt x="335" y="1632"/>
                  </a:lnTo>
                  <a:lnTo>
                    <a:pt x="330" y="1628"/>
                  </a:lnTo>
                  <a:lnTo>
                    <a:pt x="324" y="1626"/>
                  </a:lnTo>
                  <a:lnTo>
                    <a:pt x="317" y="1625"/>
                  </a:lnTo>
                  <a:lnTo>
                    <a:pt x="302" y="1627"/>
                  </a:lnTo>
                  <a:lnTo>
                    <a:pt x="286" y="1630"/>
                  </a:lnTo>
                  <a:lnTo>
                    <a:pt x="276" y="1628"/>
                  </a:lnTo>
                  <a:lnTo>
                    <a:pt x="266" y="1628"/>
                  </a:lnTo>
                  <a:lnTo>
                    <a:pt x="257" y="1627"/>
                  </a:lnTo>
                  <a:lnTo>
                    <a:pt x="247" y="1626"/>
                  </a:lnTo>
                  <a:lnTo>
                    <a:pt x="238" y="1627"/>
                  </a:lnTo>
                  <a:lnTo>
                    <a:pt x="230" y="1628"/>
                  </a:lnTo>
                  <a:lnTo>
                    <a:pt x="226" y="1630"/>
                  </a:lnTo>
                  <a:lnTo>
                    <a:pt x="224" y="1632"/>
                  </a:lnTo>
                  <a:lnTo>
                    <a:pt x="221" y="1636"/>
                  </a:lnTo>
                  <a:lnTo>
                    <a:pt x="220" y="1640"/>
                  </a:lnTo>
                  <a:lnTo>
                    <a:pt x="221" y="1643"/>
                  </a:lnTo>
                  <a:lnTo>
                    <a:pt x="222" y="1647"/>
                  </a:lnTo>
                  <a:lnTo>
                    <a:pt x="225" y="1649"/>
                  </a:lnTo>
                  <a:lnTo>
                    <a:pt x="227" y="1652"/>
                  </a:lnTo>
                  <a:lnTo>
                    <a:pt x="233" y="1657"/>
                  </a:lnTo>
                  <a:lnTo>
                    <a:pt x="238" y="1662"/>
                  </a:lnTo>
                  <a:lnTo>
                    <a:pt x="246" y="1678"/>
                  </a:lnTo>
                  <a:lnTo>
                    <a:pt x="252" y="1693"/>
                  </a:lnTo>
                  <a:lnTo>
                    <a:pt x="262" y="1700"/>
                  </a:lnTo>
                  <a:lnTo>
                    <a:pt x="273" y="1707"/>
                  </a:lnTo>
                  <a:lnTo>
                    <a:pt x="276" y="1709"/>
                  </a:lnTo>
                  <a:lnTo>
                    <a:pt x="277" y="1711"/>
                  </a:lnTo>
                  <a:lnTo>
                    <a:pt x="278" y="1715"/>
                  </a:lnTo>
                  <a:lnTo>
                    <a:pt x="279" y="1719"/>
                  </a:lnTo>
                  <a:lnTo>
                    <a:pt x="279" y="1726"/>
                  </a:lnTo>
                  <a:lnTo>
                    <a:pt x="278" y="1734"/>
                  </a:lnTo>
                  <a:lnTo>
                    <a:pt x="277" y="1749"/>
                  </a:lnTo>
                  <a:lnTo>
                    <a:pt x="274" y="1764"/>
                  </a:lnTo>
                  <a:lnTo>
                    <a:pt x="282" y="1781"/>
                  </a:lnTo>
                  <a:lnTo>
                    <a:pt x="291" y="1798"/>
                  </a:lnTo>
                  <a:lnTo>
                    <a:pt x="286" y="1812"/>
                  </a:lnTo>
                  <a:lnTo>
                    <a:pt x="282" y="1826"/>
                  </a:lnTo>
                  <a:lnTo>
                    <a:pt x="282" y="1883"/>
                  </a:lnTo>
                  <a:lnTo>
                    <a:pt x="278" y="1896"/>
                  </a:lnTo>
                  <a:lnTo>
                    <a:pt x="274" y="1911"/>
                  </a:lnTo>
                  <a:lnTo>
                    <a:pt x="274" y="1914"/>
                  </a:lnTo>
                  <a:lnTo>
                    <a:pt x="276" y="1916"/>
                  </a:lnTo>
                  <a:lnTo>
                    <a:pt x="277" y="1919"/>
                  </a:lnTo>
                  <a:lnTo>
                    <a:pt x="278" y="1921"/>
                  </a:lnTo>
                  <a:lnTo>
                    <a:pt x="283" y="1924"/>
                  </a:lnTo>
                  <a:lnTo>
                    <a:pt x="289" y="1925"/>
                  </a:lnTo>
                  <a:lnTo>
                    <a:pt x="303" y="1927"/>
                  </a:lnTo>
                  <a:lnTo>
                    <a:pt x="317" y="1930"/>
                  </a:lnTo>
                  <a:lnTo>
                    <a:pt x="323" y="1932"/>
                  </a:lnTo>
                  <a:lnTo>
                    <a:pt x="327" y="1936"/>
                  </a:lnTo>
                  <a:lnTo>
                    <a:pt x="329" y="1941"/>
                  </a:lnTo>
                  <a:lnTo>
                    <a:pt x="330" y="1947"/>
                  </a:lnTo>
                  <a:lnTo>
                    <a:pt x="332" y="1961"/>
                  </a:lnTo>
                  <a:lnTo>
                    <a:pt x="335" y="1973"/>
                  </a:lnTo>
                  <a:lnTo>
                    <a:pt x="339" y="1977"/>
                  </a:lnTo>
                  <a:lnTo>
                    <a:pt x="342" y="1981"/>
                  </a:lnTo>
                  <a:lnTo>
                    <a:pt x="346" y="1983"/>
                  </a:lnTo>
                  <a:lnTo>
                    <a:pt x="350" y="1984"/>
                  </a:lnTo>
                  <a:lnTo>
                    <a:pt x="359" y="1988"/>
                  </a:lnTo>
                  <a:lnTo>
                    <a:pt x="369" y="1992"/>
                  </a:lnTo>
                  <a:lnTo>
                    <a:pt x="383" y="2005"/>
                  </a:lnTo>
                  <a:lnTo>
                    <a:pt x="399" y="2018"/>
                  </a:lnTo>
                  <a:lnTo>
                    <a:pt x="406" y="2019"/>
                  </a:lnTo>
                  <a:lnTo>
                    <a:pt x="414" y="2020"/>
                  </a:lnTo>
                  <a:lnTo>
                    <a:pt x="416" y="2022"/>
                  </a:lnTo>
                  <a:lnTo>
                    <a:pt x="419" y="2023"/>
                  </a:lnTo>
                  <a:lnTo>
                    <a:pt x="421" y="2025"/>
                  </a:lnTo>
                  <a:lnTo>
                    <a:pt x="421" y="2029"/>
                  </a:lnTo>
                  <a:lnTo>
                    <a:pt x="420" y="2035"/>
                  </a:lnTo>
                  <a:lnTo>
                    <a:pt x="419" y="2043"/>
                  </a:lnTo>
                  <a:lnTo>
                    <a:pt x="419" y="2092"/>
                  </a:lnTo>
                  <a:lnTo>
                    <a:pt x="419" y="2101"/>
                  </a:lnTo>
                  <a:lnTo>
                    <a:pt x="415" y="2108"/>
                  </a:lnTo>
                  <a:lnTo>
                    <a:pt x="411" y="2115"/>
                  </a:lnTo>
                  <a:lnTo>
                    <a:pt x="406" y="2121"/>
                  </a:lnTo>
                  <a:lnTo>
                    <a:pt x="395" y="2133"/>
                  </a:lnTo>
                  <a:lnTo>
                    <a:pt x="385" y="2147"/>
                  </a:lnTo>
                  <a:lnTo>
                    <a:pt x="385" y="2147"/>
                  </a:lnTo>
                  <a:lnTo>
                    <a:pt x="621" y="2136"/>
                  </a:lnTo>
                  <a:lnTo>
                    <a:pt x="632" y="2153"/>
                  </a:lnTo>
                  <a:lnTo>
                    <a:pt x="642" y="2170"/>
                  </a:lnTo>
                  <a:lnTo>
                    <a:pt x="650" y="2187"/>
                  </a:lnTo>
                  <a:lnTo>
                    <a:pt x="657" y="2204"/>
                  </a:lnTo>
                  <a:lnTo>
                    <a:pt x="668" y="2240"/>
                  </a:lnTo>
                  <a:lnTo>
                    <a:pt x="681" y="2281"/>
                  </a:lnTo>
                  <a:lnTo>
                    <a:pt x="686" y="2293"/>
                  </a:lnTo>
                  <a:lnTo>
                    <a:pt x="692" y="2306"/>
                  </a:lnTo>
                  <a:lnTo>
                    <a:pt x="698" y="2317"/>
                  </a:lnTo>
                  <a:lnTo>
                    <a:pt x="704" y="2327"/>
                  </a:lnTo>
                  <a:lnTo>
                    <a:pt x="710" y="2338"/>
                  </a:lnTo>
                  <a:lnTo>
                    <a:pt x="717" y="2349"/>
                  </a:lnTo>
                  <a:lnTo>
                    <a:pt x="722" y="2360"/>
                  </a:lnTo>
                  <a:lnTo>
                    <a:pt x="725" y="2374"/>
                  </a:lnTo>
                  <a:lnTo>
                    <a:pt x="732" y="2375"/>
                  </a:lnTo>
                  <a:lnTo>
                    <a:pt x="736" y="2378"/>
                  </a:lnTo>
                  <a:lnTo>
                    <a:pt x="754" y="2371"/>
                  </a:lnTo>
                  <a:lnTo>
                    <a:pt x="771" y="2364"/>
                  </a:lnTo>
                  <a:lnTo>
                    <a:pt x="771" y="2364"/>
                  </a:lnTo>
                  <a:lnTo>
                    <a:pt x="939" y="1729"/>
                  </a:lnTo>
                  <a:lnTo>
                    <a:pt x="1438" y="1664"/>
                  </a:lnTo>
                  <a:lnTo>
                    <a:pt x="1438" y="1664"/>
                  </a:lnTo>
                  <a:lnTo>
                    <a:pt x="1438" y="1663"/>
                  </a:lnTo>
                  <a:lnTo>
                    <a:pt x="1438" y="1662"/>
                  </a:lnTo>
                  <a:lnTo>
                    <a:pt x="1442" y="1653"/>
                  </a:lnTo>
                  <a:lnTo>
                    <a:pt x="1444" y="1646"/>
                  </a:lnTo>
                  <a:lnTo>
                    <a:pt x="1447" y="1642"/>
                  </a:lnTo>
                  <a:lnTo>
                    <a:pt x="1449" y="1640"/>
                  </a:lnTo>
                  <a:lnTo>
                    <a:pt x="1453" y="1638"/>
                  </a:lnTo>
                  <a:lnTo>
                    <a:pt x="1457" y="1638"/>
                  </a:lnTo>
                  <a:lnTo>
                    <a:pt x="1466" y="1640"/>
                  </a:lnTo>
                  <a:lnTo>
                    <a:pt x="1473" y="1642"/>
                  </a:lnTo>
                  <a:lnTo>
                    <a:pt x="1480" y="1647"/>
                  </a:lnTo>
                  <a:lnTo>
                    <a:pt x="1487" y="1652"/>
                  </a:lnTo>
                  <a:lnTo>
                    <a:pt x="1493" y="1657"/>
                  </a:lnTo>
                  <a:lnTo>
                    <a:pt x="1499" y="1662"/>
                  </a:lnTo>
                  <a:lnTo>
                    <a:pt x="1507" y="1666"/>
                  </a:lnTo>
                  <a:lnTo>
                    <a:pt x="1515" y="1667"/>
                  </a:lnTo>
                  <a:lnTo>
                    <a:pt x="1520" y="1666"/>
                  </a:lnTo>
                  <a:lnTo>
                    <a:pt x="1524" y="1666"/>
                  </a:lnTo>
                  <a:lnTo>
                    <a:pt x="1528" y="1663"/>
                  </a:lnTo>
                  <a:lnTo>
                    <a:pt x="1531" y="1662"/>
                  </a:lnTo>
                  <a:lnTo>
                    <a:pt x="1536" y="1656"/>
                  </a:lnTo>
                  <a:lnTo>
                    <a:pt x="1540" y="1649"/>
                  </a:lnTo>
                  <a:lnTo>
                    <a:pt x="1544" y="1641"/>
                  </a:lnTo>
                  <a:lnTo>
                    <a:pt x="1546" y="1632"/>
                  </a:lnTo>
                  <a:lnTo>
                    <a:pt x="1549" y="1623"/>
                  </a:lnTo>
                  <a:lnTo>
                    <a:pt x="1550" y="1613"/>
                  </a:lnTo>
                  <a:lnTo>
                    <a:pt x="1550" y="1604"/>
                  </a:lnTo>
                  <a:lnTo>
                    <a:pt x="1551" y="1594"/>
                  </a:lnTo>
                  <a:lnTo>
                    <a:pt x="1552" y="1590"/>
                  </a:lnTo>
                  <a:lnTo>
                    <a:pt x="1555" y="1586"/>
                  </a:lnTo>
                  <a:lnTo>
                    <a:pt x="1557" y="1585"/>
                  </a:lnTo>
                  <a:lnTo>
                    <a:pt x="1561" y="1584"/>
                  </a:lnTo>
                  <a:lnTo>
                    <a:pt x="1565" y="1584"/>
                  </a:lnTo>
                  <a:lnTo>
                    <a:pt x="1569" y="1585"/>
                  </a:lnTo>
                  <a:lnTo>
                    <a:pt x="1571" y="1587"/>
                  </a:lnTo>
                  <a:lnTo>
                    <a:pt x="1575" y="1589"/>
                  </a:lnTo>
                  <a:lnTo>
                    <a:pt x="1580" y="1595"/>
                  </a:lnTo>
                  <a:lnTo>
                    <a:pt x="1584" y="1601"/>
                  </a:lnTo>
                  <a:lnTo>
                    <a:pt x="1588" y="1607"/>
                  </a:lnTo>
                  <a:lnTo>
                    <a:pt x="1593" y="1612"/>
                  </a:lnTo>
                  <a:lnTo>
                    <a:pt x="1596" y="1615"/>
                  </a:lnTo>
                  <a:lnTo>
                    <a:pt x="1600" y="1616"/>
                  </a:lnTo>
                  <a:lnTo>
                    <a:pt x="1603" y="1617"/>
                  </a:lnTo>
                  <a:lnTo>
                    <a:pt x="1607" y="1618"/>
                  </a:lnTo>
                  <a:lnTo>
                    <a:pt x="1623" y="1615"/>
                  </a:lnTo>
                  <a:lnTo>
                    <a:pt x="1641" y="1611"/>
                  </a:lnTo>
                  <a:lnTo>
                    <a:pt x="1664" y="1611"/>
                  </a:lnTo>
                  <a:lnTo>
                    <a:pt x="1684" y="1611"/>
                  </a:lnTo>
                  <a:lnTo>
                    <a:pt x="1694" y="1611"/>
                  </a:lnTo>
                  <a:lnTo>
                    <a:pt x="1705" y="1610"/>
                  </a:lnTo>
                  <a:lnTo>
                    <a:pt x="1715" y="1607"/>
                  </a:lnTo>
                  <a:lnTo>
                    <a:pt x="1726" y="1604"/>
                  </a:lnTo>
                  <a:lnTo>
                    <a:pt x="1730" y="1610"/>
                  </a:lnTo>
                  <a:lnTo>
                    <a:pt x="1733" y="1616"/>
                  </a:lnTo>
                  <a:lnTo>
                    <a:pt x="1731" y="1625"/>
                  </a:lnTo>
                  <a:lnTo>
                    <a:pt x="1728" y="1632"/>
                  </a:lnTo>
                  <a:lnTo>
                    <a:pt x="1724" y="1640"/>
                  </a:lnTo>
                  <a:lnTo>
                    <a:pt x="1718" y="1644"/>
                  </a:lnTo>
                  <a:lnTo>
                    <a:pt x="1704" y="1654"/>
                  </a:lnTo>
                  <a:lnTo>
                    <a:pt x="1689" y="1664"/>
                  </a:lnTo>
                  <a:lnTo>
                    <a:pt x="1674" y="1678"/>
                  </a:lnTo>
                  <a:lnTo>
                    <a:pt x="1662" y="1690"/>
                  </a:lnTo>
                  <a:lnTo>
                    <a:pt x="1656" y="1697"/>
                  </a:lnTo>
                  <a:lnTo>
                    <a:pt x="1648" y="1700"/>
                  </a:lnTo>
                  <a:lnTo>
                    <a:pt x="1639" y="1704"/>
                  </a:lnTo>
                  <a:lnTo>
                    <a:pt x="1631" y="1705"/>
                  </a:lnTo>
                  <a:lnTo>
                    <a:pt x="1612" y="1702"/>
                  </a:lnTo>
                  <a:lnTo>
                    <a:pt x="1595" y="1699"/>
                  </a:lnTo>
                  <a:lnTo>
                    <a:pt x="1586" y="1699"/>
                  </a:lnTo>
                  <a:lnTo>
                    <a:pt x="1579" y="1700"/>
                  </a:lnTo>
                  <a:lnTo>
                    <a:pt x="1581" y="1711"/>
                  </a:lnTo>
                  <a:lnTo>
                    <a:pt x="1582" y="1721"/>
                  </a:lnTo>
                  <a:lnTo>
                    <a:pt x="1585" y="1731"/>
                  </a:lnTo>
                  <a:lnTo>
                    <a:pt x="1588" y="1741"/>
                  </a:lnTo>
                  <a:lnTo>
                    <a:pt x="1593" y="1751"/>
                  </a:lnTo>
                  <a:lnTo>
                    <a:pt x="1598" y="1760"/>
                  </a:lnTo>
                  <a:lnTo>
                    <a:pt x="1601" y="1765"/>
                  </a:lnTo>
                  <a:lnTo>
                    <a:pt x="1602" y="1769"/>
                  </a:lnTo>
                  <a:lnTo>
                    <a:pt x="1603" y="1773"/>
                  </a:lnTo>
                  <a:lnTo>
                    <a:pt x="1603" y="1780"/>
                  </a:lnTo>
                  <a:lnTo>
                    <a:pt x="1603" y="1787"/>
                  </a:lnTo>
                  <a:lnTo>
                    <a:pt x="1602" y="1793"/>
                  </a:lnTo>
                  <a:lnTo>
                    <a:pt x="1601" y="1800"/>
                  </a:lnTo>
                  <a:lnTo>
                    <a:pt x="1598" y="1806"/>
                  </a:lnTo>
                  <a:lnTo>
                    <a:pt x="1598" y="1806"/>
                  </a:lnTo>
                  <a:lnTo>
                    <a:pt x="1606" y="1818"/>
                  </a:lnTo>
                  <a:lnTo>
                    <a:pt x="1613" y="1828"/>
                  </a:lnTo>
                  <a:lnTo>
                    <a:pt x="1621" y="1837"/>
                  </a:lnTo>
                  <a:lnTo>
                    <a:pt x="1629" y="1845"/>
                  </a:lnTo>
                  <a:lnTo>
                    <a:pt x="1647" y="1860"/>
                  </a:lnTo>
                  <a:lnTo>
                    <a:pt x="1665" y="1879"/>
                  </a:lnTo>
                  <a:lnTo>
                    <a:pt x="1673" y="1890"/>
                  </a:lnTo>
                  <a:lnTo>
                    <a:pt x="1678" y="1900"/>
                  </a:lnTo>
                  <a:lnTo>
                    <a:pt x="1682" y="1910"/>
                  </a:lnTo>
                  <a:lnTo>
                    <a:pt x="1684" y="1921"/>
                  </a:lnTo>
                  <a:lnTo>
                    <a:pt x="1688" y="1931"/>
                  </a:lnTo>
                  <a:lnTo>
                    <a:pt x="1690" y="1942"/>
                  </a:lnTo>
                  <a:lnTo>
                    <a:pt x="1694" y="1953"/>
                  </a:lnTo>
                  <a:lnTo>
                    <a:pt x="1699" y="1965"/>
                  </a:lnTo>
                  <a:lnTo>
                    <a:pt x="1711" y="1986"/>
                  </a:lnTo>
                  <a:lnTo>
                    <a:pt x="1723" y="2004"/>
                  </a:lnTo>
                  <a:lnTo>
                    <a:pt x="1734" y="2023"/>
                  </a:lnTo>
                  <a:lnTo>
                    <a:pt x="1745" y="2044"/>
                  </a:lnTo>
                  <a:lnTo>
                    <a:pt x="1750" y="2056"/>
                  </a:lnTo>
                  <a:lnTo>
                    <a:pt x="1755" y="2067"/>
                  </a:lnTo>
                  <a:lnTo>
                    <a:pt x="1760" y="2080"/>
                  </a:lnTo>
                  <a:lnTo>
                    <a:pt x="1762" y="2092"/>
                  </a:lnTo>
                  <a:lnTo>
                    <a:pt x="1764" y="2102"/>
                  </a:lnTo>
                  <a:lnTo>
                    <a:pt x="1765" y="2111"/>
                  </a:lnTo>
                  <a:lnTo>
                    <a:pt x="1766" y="2116"/>
                  </a:lnTo>
                  <a:lnTo>
                    <a:pt x="1769" y="2118"/>
                  </a:lnTo>
                  <a:lnTo>
                    <a:pt x="1772" y="2121"/>
                  </a:lnTo>
                  <a:lnTo>
                    <a:pt x="1776" y="2121"/>
                  </a:lnTo>
                  <a:lnTo>
                    <a:pt x="1793" y="2120"/>
                  </a:lnTo>
                  <a:lnTo>
                    <a:pt x="1810" y="2117"/>
                  </a:lnTo>
                  <a:lnTo>
                    <a:pt x="1826" y="2113"/>
                  </a:lnTo>
                  <a:lnTo>
                    <a:pt x="1839" y="2108"/>
                  </a:lnTo>
                  <a:lnTo>
                    <a:pt x="1854" y="2103"/>
                  </a:lnTo>
                  <a:lnTo>
                    <a:pt x="1869" y="2100"/>
                  </a:lnTo>
                  <a:lnTo>
                    <a:pt x="1885" y="2097"/>
                  </a:lnTo>
                  <a:lnTo>
                    <a:pt x="1903" y="2096"/>
                  </a:lnTo>
                  <a:lnTo>
                    <a:pt x="1915" y="2096"/>
                  </a:lnTo>
                  <a:lnTo>
                    <a:pt x="1928" y="2100"/>
                  </a:lnTo>
                  <a:lnTo>
                    <a:pt x="1937" y="2103"/>
                  </a:lnTo>
                  <a:lnTo>
                    <a:pt x="1947" y="2108"/>
                  </a:lnTo>
                  <a:lnTo>
                    <a:pt x="1967" y="2120"/>
                  </a:lnTo>
                  <a:lnTo>
                    <a:pt x="1990" y="2132"/>
                  </a:lnTo>
                  <a:lnTo>
                    <a:pt x="2008" y="2141"/>
                  </a:lnTo>
                  <a:lnTo>
                    <a:pt x="2024" y="2149"/>
                  </a:lnTo>
                  <a:lnTo>
                    <a:pt x="2041" y="2156"/>
                  </a:lnTo>
                  <a:lnTo>
                    <a:pt x="2057" y="2161"/>
                  </a:lnTo>
                  <a:lnTo>
                    <a:pt x="2074" y="2164"/>
                  </a:lnTo>
                  <a:lnTo>
                    <a:pt x="2090" y="2167"/>
                  </a:lnTo>
                  <a:lnTo>
                    <a:pt x="2109" y="2169"/>
                  </a:lnTo>
                  <a:lnTo>
                    <a:pt x="2129" y="2169"/>
                  </a:lnTo>
                  <a:lnTo>
                    <a:pt x="2144" y="2169"/>
                  </a:lnTo>
                  <a:lnTo>
                    <a:pt x="2156" y="2167"/>
                  </a:lnTo>
                  <a:lnTo>
                    <a:pt x="2169" y="2163"/>
                  </a:lnTo>
                  <a:lnTo>
                    <a:pt x="2181" y="2159"/>
                  </a:lnTo>
                  <a:lnTo>
                    <a:pt x="2192" y="2156"/>
                  </a:lnTo>
                  <a:lnTo>
                    <a:pt x="2205" y="2153"/>
                  </a:lnTo>
                  <a:lnTo>
                    <a:pt x="2218" y="2151"/>
                  </a:lnTo>
                  <a:lnTo>
                    <a:pt x="2232" y="2149"/>
                  </a:lnTo>
                  <a:lnTo>
                    <a:pt x="2277" y="2149"/>
                  </a:lnTo>
                  <a:lnTo>
                    <a:pt x="2280" y="2168"/>
                  </a:lnTo>
                  <a:lnTo>
                    <a:pt x="2284" y="2184"/>
                  </a:lnTo>
                  <a:lnTo>
                    <a:pt x="2288" y="2199"/>
                  </a:lnTo>
                  <a:lnTo>
                    <a:pt x="2291" y="2214"/>
                  </a:lnTo>
                  <a:lnTo>
                    <a:pt x="2295" y="2227"/>
                  </a:lnTo>
                  <a:lnTo>
                    <a:pt x="2299" y="2244"/>
                  </a:lnTo>
                  <a:lnTo>
                    <a:pt x="2303" y="2260"/>
                  </a:lnTo>
                  <a:lnTo>
                    <a:pt x="2305" y="2277"/>
                  </a:lnTo>
                  <a:lnTo>
                    <a:pt x="2305" y="2296"/>
                  </a:lnTo>
                  <a:lnTo>
                    <a:pt x="2304" y="2313"/>
                  </a:lnTo>
                  <a:lnTo>
                    <a:pt x="2304" y="2322"/>
                  </a:lnTo>
                  <a:lnTo>
                    <a:pt x="2305" y="2329"/>
                  </a:lnTo>
                  <a:lnTo>
                    <a:pt x="2306" y="2338"/>
                  </a:lnTo>
                  <a:lnTo>
                    <a:pt x="2311" y="2345"/>
                  </a:lnTo>
                  <a:lnTo>
                    <a:pt x="2318" y="2352"/>
                  </a:lnTo>
                  <a:lnTo>
                    <a:pt x="2324" y="2356"/>
                  </a:lnTo>
                  <a:lnTo>
                    <a:pt x="2331" y="2360"/>
                  </a:lnTo>
                  <a:lnTo>
                    <a:pt x="2339" y="2364"/>
                  </a:lnTo>
                  <a:lnTo>
                    <a:pt x="2346" y="2368"/>
                  </a:lnTo>
                  <a:lnTo>
                    <a:pt x="2351" y="2371"/>
                  </a:lnTo>
                  <a:lnTo>
                    <a:pt x="2354" y="2374"/>
                  </a:lnTo>
                  <a:lnTo>
                    <a:pt x="2356" y="2378"/>
                  </a:lnTo>
                  <a:lnTo>
                    <a:pt x="2356" y="2381"/>
                  </a:lnTo>
                  <a:lnTo>
                    <a:pt x="2357" y="2385"/>
                  </a:lnTo>
                  <a:lnTo>
                    <a:pt x="2357" y="2420"/>
                  </a:lnTo>
                  <a:lnTo>
                    <a:pt x="2344" y="2422"/>
                  </a:lnTo>
                  <a:lnTo>
                    <a:pt x="2331" y="2425"/>
                  </a:lnTo>
                  <a:lnTo>
                    <a:pt x="2326" y="2427"/>
                  </a:lnTo>
                  <a:lnTo>
                    <a:pt x="2321" y="2430"/>
                  </a:lnTo>
                  <a:lnTo>
                    <a:pt x="2318" y="2435"/>
                  </a:lnTo>
                  <a:lnTo>
                    <a:pt x="2314" y="2440"/>
                  </a:lnTo>
                  <a:lnTo>
                    <a:pt x="2310" y="2451"/>
                  </a:lnTo>
                  <a:lnTo>
                    <a:pt x="2308" y="2461"/>
                  </a:lnTo>
                  <a:lnTo>
                    <a:pt x="2308" y="2472"/>
                  </a:lnTo>
                  <a:lnTo>
                    <a:pt x="2308" y="2482"/>
                  </a:lnTo>
                  <a:lnTo>
                    <a:pt x="2308" y="2492"/>
                  </a:lnTo>
                  <a:lnTo>
                    <a:pt x="2308" y="2502"/>
                  </a:lnTo>
                  <a:lnTo>
                    <a:pt x="2308" y="2513"/>
                  </a:lnTo>
                  <a:lnTo>
                    <a:pt x="2305" y="2525"/>
                  </a:lnTo>
                  <a:lnTo>
                    <a:pt x="2329" y="2529"/>
                  </a:lnTo>
                  <a:lnTo>
                    <a:pt x="2351" y="2531"/>
                  </a:lnTo>
                  <a:lnTo>
                    <a:pt x="2361" y="2533"/>
                  </a:lnTo>
                  <a:lnTo>
                    <a:pt x="2370" y="2536"/>
                  </a:lnTo>
                  <a:lnTo>
                    <a:pt x="2375" y="2539"/>
                  </a:lnTo>
                  <a:lnTo>
                    <a:pt x="2378" y="2543"/>
                  </a:lnTo>
                  <a:lnTo>
                    <a:pt x="2382" y="2546"/>
                  </a:lnTo>
                  <a:lnTo>
                    <a:pt x="2386" y="2550"/>
                  </a:lnTo>
                  <a:lnTo>
                    <a:pt x="2388" y="2556"/>
                  </a:lnTo>
                  <a:lnTo>
                    <a:pt x="2390" y="2562"/>
                  </a:lnTo>
                  <a:lnTo>
                    <a:pt x="2390" y="2567"/>
                  </a:lnTo>
                  <a:lnTo>
                    <a:pt x="2388" y="2574"/>
                  </a:lnTo>
                  <a:lnTo>
                    <a:pt x="2386" y="2586"/>
                  </a:lnTo>
                  <a:lnTo>
                    <a:pt x="2386" y="2598"/>
                  </a:lnTo>
                  <a:lnTo>
                    <a:pt x="2387" y="2610"/>
                  </a:lnTo>
                  <a:lnTo>
                    <a:pt x="2390" y="2621"/>
                  </a:lnTo>
                  <a:lnTo>
                    <a:pt x="2393" y="2631"/>
                  </a:lnTo>
                  <a:lnTo>
                    <a:pt x="2397" y="2641"/>
                  </a:lnTo>
                  <a:lnTo>
                    <a:pt x="2402" y="2648"/>
                  </a:lnTo>
                  <a:lnTo>
                    <a:pt x="2408" y="2657"/>
                  </a:lnTo>
                  <a:lnTo>
                    <a:pt x="2416" y="2664"/>
                  </a:lnTo>
                  <a:lnTo>
                    <a:pt x="2426" y="2670"/>
                  </a:lnTo>
                  <a:lnTo>
                    <a:pt x="2434" y="2674"/>
                  </a:lnTo>
                  <a:lnTo>
                    <a:pt x="2442" y="2677"/>
                  </a:lnTo>
                  <a:lnTo>
                    <a:pt x="2450" y="2678"/>
                  </a:lnTo>
                  <a:lnTo>
                    <a:pt x="2459" y="2678"/>
                  </a:lnTo>
                  <a:lnTo>
                    <a:pt x="2477" y="2678"/>
                  </a:lnTo>
                  <a:lnTo>
                    <a:pt x="2496" y="2679"/>
                  </a:lnTo>
                  <a:lnTo>
                    <a:pt x="2514" y="2681"/>
                  </a:lnTo>
                  <a:lnTo>
                    <a:pt x="2530" y="2685"/>
                  </a:lnTo>
                  <a:lnTo>
                    <a:pt x="2545" y="2690"/>
                  </a:lnTo>
                  <a:lnTo>
                    <a:pt x="2558" y="2696"/>
                  </a:lnTo>
                  <a:lnTo>
                    <a:pt x="2573" y="2701"/>
                  </a:lnTo>
                  <a:lnTo>
                    <a:pt x="2588" y="2705"/>
                  </a:lnTo>
                  <a:lnTo>
                    <a:pt x="2603" y="2709"/>
                  </a:lnTo>
                  <a:lnTo>
                    <a:pt x="2622" y="2710"/>
                  </a:lnTo>
                  <a:lnTo>
                    <a:pt x="2631" y="2709"/>
                  </a:lnTo>
                  <a:lnTo>
                    <a:pt x="2638" y="2708"/>
                  </a:lnTo>
                  <a:lnTo>
                    <a:pt x="2644" y="2705"/>
                  </a:lnTo>
                  <a:lnTo>
                    <a:pt x="2650" y="2701"/>
                  </a:lnTo>
                  <a:lnTo>
                    <a:pt x="2655" y="2696"/>
                  </a:lnTo>
                  <a:lnTo>
                    <a:pt x="2660" y="2691"/>
                  </a:lnTo>
                  <a:lnTo>
                    <a:pt x="2665" y="2685"/>
                  </a:lnTo>
                  <a:lnTo>
                    <a:pt x="2669" y="2679"/>
                  </a:lnTo>
                  <a:lnTo>
                    <a:pt x="2678" y="2665"/>
                  </a:lnTo>
                  <a:lnTo>
                    <a:pt x="2688" y="2652"/>
                  </a:lnTo>
                  <a:lnTo>
                    <a:pt x="2693" y="2646"/>
                  </a:lnTo>
                  <a:lnTo>
                    <a:pt x="2698" y="2639"/>
                  </a:lnTo>
                  <a:lnTo>
                    <a:pt x="2704" y="2633"/>
                  </a:lnTo>
                  <a:lnTo>
                    <a:pt x="2710" y="2627"/>
                  </a:lnTo>
                  <a:lnTo>
                    <a:pt x="2726" y="2616"/>
                  </a:lnTo>
                  <a:lnTo>
                    <a:pt x="2741" y="2607"/>
                  </a:lnTo>
                  <a:lnTo>
                    <a:pt x="2756" y="2598"/>
                  </a:lnTo>
                  <a:lnTo>
                    <a:pt x="2771" y="2592"/>
                  </a:lnTo>
                  <a:lnTo>
                    <a:pt x="2787" y="2586"/>
                  </a:lnTo>
                  <a:lnTo>
                    <a:pt x="2803" y="2580"/>
                  </a:lnTo>
                  <a:lnTo>
                    <a:pt x="2821" y="2575"/>
                  </a:lnTo>
                  <a:lnTo>
                    <a:pt x="2840" y="2570"/>
                  </a:lnTo>
                  <a:lnTo>
                    <a:pt x="2857" y="2566"/>
                  </a:lnTo>
                  <a:lnTo>
                    <a:pt x="2869" y="2559"/>
                  </a:lnTo>
                  <a:lnTo>
                    <a:pt x="2881" y="2551"/>
                  </a:lnTo>
                  <a:lnTo>
                    <a:pt x="2891" y="2544"/>
                  </a:lnTo>
                  <a:lnTo>
                    <a:pt x="2903" y="2535"/>
                  </a:lnTo>
                  <a:lnTo>
                    <a:pt x="2914" y="2528"/>
                  </a:lnTo>
                  <a:lnTo>
                    <a:pt x="2926" y="2520"/>
                  </a:lnTo>
                  <a:lnTo>
                    <a:pt x="2941" y="2514"/>
                  </a:lnTo>
                  <a:lnTo>
                    <a:pt x="2960" y="2505"/>
                  </a:lnTo>
                  <a:lnTo>
                    <a:pt x="2976" y="2498"/>
                  </a:lnTo>
                  <a:lnTo>
                    <a:pt x="2992" y="2489"/>
                  </a:lnTo>
                  <a:lnTo>
                    <a:pt x="3006" y="2481"/>
                  </a:lnTo>
                  <a:lnTo>
                    <a:pt x="3034" y="2462"/>
                  </a:lnTo>
                  <a:lnTo>
                    <a:pt x="3069" y="2442"/>
                  </a:lnTo>
                  <a:lnTo>
                    <a:pt x="3069" y="2442"/>
                  </a:lnTo>
                  <a:lnTo>
                    <a:pt x="3085" y="2423"/>
                  </a:lnTo>
                  <a:lnTo>
                    <a:pt x="3099" y="2406"/>
                  </a:lnTo>
                  <a:lnTo>
                    <a:pt x="3106" y="2399"/>
                  </a:lnTo>
                  <a:lnTo>
                    <a:pt x="3115" y="2394"/>
                  </a:lnTo>
                  <a:lnTo>
                    <a:pt x="3120" y="2391"/>
                  </a:lnTo>
                  <a:lnTo>
                    <a:pt x="3125" y="2390"/>
                  </a:lnTo>
                  <a:lnTo>
                    <a:pt x="3131" y="2389"/>
                  </a:lnTo>
                  <a:lnTo>
                    <a:pt x="3137" y="2389"/>
                  </a:lnTo>
                  <a:lnTo>
                    <a:pt x="3150" y="2389"/>
                  </a:lnTo>
                  <a:lnTo>
                    <a:pt x="3161" y="2391"/>
                  </a:lnTo>
                  <a:lnTo>
                    <a:pt x="3171" y="2395"/>
                  </a:lnTo>
                  <a:lnTo>
                    <a:pt x="3182" y="2399"/>
                  </a:lnTo>
                  <a:lnTo>
                    <a:pt x="3192" y="2402"/>
                  </a:lnTo>
                  <a:lnTo>
                    <a:pt x="3202" y="2405"/>
                  </a:lnTo>
                  <a:lnTo>
                    <a:pt x="3213" y="2407"/>
                  </a:lnTo>
                  <a:lnTo>
                    <a:pt x="3225" y="2409"/>
                  </a:lnTo>
                  <a:lnTo>
                    <a:pt x="3295" y="2409"/>
                  </a:lnTo>
                  <a:lnTo>
                    <a:pt x="3311" y="2410"/>
                  </a:lnTo>
                  <a:lnTo>
                    <a:pt x="3324" y="2412"/>
                  </a:lnTo>
                  <a:lnTo>
                    <a:pt x="3336" y="2416"/>
                  </a:lnTo>
                  <a:lnTo>
                    <a:pt x="3347" y="2422"/>
                  </a:lnTo>
                  <a:lnTo>
                    <a:pt x="3370" y="2436"/>
                  </a:lnTo>
                  <a:lnTo>
                    <a:pt x="3396" y="2451"/>
                  </a:lnTo>
                  <a:lnTo>
                    <a:pt x="3396" y="2395"/>
                  </a:lnTo>
                  <a:lnTo>
                    <a:pt x="3396" y="2378"/>
                  </a:lnTo>
                  <a:lnTo>
                    <a:pt x="3397" y="2363"/>
                  </a:lnTo>
                  <a:lnTo>
                    <a:pt x="3398" y="2356"/>
                  </a:lnTo>
                  <a:lnTo>
                    <a:pt x="3401" y="2349"/>
                  </a:lnTo>
                  <a:lnTo>
                    <a:pt x="3403" y="2342"/>
                  </a:lnTo>
                  <a:lnTo>
                    <a:pt x="3407" y="2334"/>
                  </a:lnTo>
                  <a:lnTo>
                    <a:pt x="3412" y="2329"/>
                  </a:lnTo>
                  <a:lnTo>
                    <a:pt x="3415" y="2324"/>
                  </a:lnTo>
                  <a:lnTo>
                    <a:pt x="3420" y="2321"/>
                  </a:lnTo>
                  <a:lnTo>
                    <a:pt x="3427" y="2318"/>
                  </a:lnTo>
                  <a:lnTo>
                    <a:pt x="3438" y="2314"/>
                  </a:lnTo>
                  <a:lnTo>
                    <a:pt x="3450" y="2313"/>
                  </a:lnTo>
                  <a:lnTo>
                    <a:pt x="3476" y="2316"/>
                  </a:lnTo>
                  <a:lnTo>
                    <a:pt x="3506" y="2317"/>
                  </a:lnTo>
                  <a:lnTo>
                    <a:pt x="3524" y="2317"/>
                  </a:lnTo>
                  <a:lnTo>
                    <a:pt x="3538" y="2314"/>
                  </a:lnTo>
                  <a:lnTo>
                    <a:pt x="3546" y="2314"/>
                  </a:lnTo>
                  <a:lnTo>
                    <a:pt x="3553" y="2316"/>
                  </a:lnTo>
                  <a:lnTo>
                    <a:pt x="3562" y="2317"/>
                  </a:lnTo>
                  <a:lnTo>
                    <a:pt x="3569" y="2321"/>
                  </a:lnTo>
                  <a:lnTo>
                    <a:pt x="3581" y="2328"/>
                  </a:lnTo>
                  <a:lnTo>
                    <a:pt x="3591" y="2335"/>
                  </a:lnTo>
                  <a:lnTo>
                    <a:pt x="3598" y="2344"/>
                  </a:lnTo>
                  <a:lnTo>
                    <a:pt x="3605" y="2354"/>
                  </a:lnTo>
                  <a:lnTo>
                    <a:pt x="3612" y="2364"/>
                  </a:lnTo>
                  <a:lnTo>
                    <a:pt x="3619" y="2373"/>
                  </a:lnTo>
                  <a:lnTo>
                    <a:pt x="3628" y="2383"/>
                  </a:lnTo>
                  <a:lnTo>
                    <a:pt x="3638" y="2391"/>
                  </a:lnTo>
                  <a:lnTo>
                    <a:pt x="3655" y="2404"/>
                  </a:lnTo>
                  <a:lnTo>
                    <a:pt x="3671" y="2414"/>
                  </a:lnTo>
                  <a:lnTo>
                    <a:pt x="3687" y="2421"/>
                  </a:lnTo>
                  <a:lnTo>
                    <a:pt x="3704" y="2428"/>
                  </a:lnTo>
                  <a:lnTo>
                    <a:pt x="3720" y="2433"/>
                  </a:lnTo>
                  <a:lnTo>
                    <a:pt x="3737" y="2437"/>
                  </a:lnTo>
                  <a:lnTo>
                    <a:pt x="3757" y="2438"/>
                  </a:lnTo>
                  <a:lnTo>
                    <a:pt x="3777" y="2440"/>
                  </a:lnTo>
                  <a:lnTo>
                    <a:pt x="3788" y="2440"/>
                  </a:lnTo>
                  <a:lnTo>
                    <a:pt x="3797" y="2438"/>
                  </a:lnTo>
                  <a:lnTo>
                    <a:pt x="3805" y="2436"/>
                  </a:lnTo>
                  <a:lnTo>
                    <a:pt x="3814" y="2433"/>
                  </a:lnTo>
                  <a:lnTo>
                    <a:pt x="3830" y="2427"/>
                  </a:lnTo>
                  <a:lnTo>
                    <a:pt x="3846" y="2420"/>
                  </a:lnTo>
                  <a:lnTo>
                    <a:pt x="3861" y="2412"/>
                  </a:lnTo>
                  <a:lnTo>
                    <a:pt x="3877" y="2406"/>
                  </a:lnTo>
                  <a:lnTo>
                    <a:pt x="3886" y="2404"/>
                  </a:lnTo>
                  <a:lnTo>
                    <a:pt x="3895" y="2401"/>
                  </a:lnTo>
                  <a:lnTo>
                    <a:pt x="3905" y="2400"/>
                  </a:lnTo>
                  <a:lnTo>
                    <a:pt x="3915" y="2400"/>
                  </a:lnTo>
                  <a:lnTo>
                    <a:pt x="4028" y="2400"/>
                  </a:lnTo>
                  <a:lnTo>
                    <a:pt x="4048" y="2399"/>
                  </a:lnTo>
                  <a:lnTo>
                    <a:pt x="4066" y="2397"/>
                  </a:lnTo>
                  <a:lnTo>
                    <a:pt x="4085" y="2395"/>
                  </a:lnTo>
                  <a:lnTo>
                    <a:pt x="4106" y="2394"/>
                  </a:lnTo>
                  <a:lnTo>
                    <a:pt x="4121" y="2394"/>
                  </a:lnTo>
                  <a:lnTo>
                    <a:pt x="4135" y="2392"/>
                  </a:lnTo>
                  <a:lnTo>
                    <a:pt x="4147" y="2392"/>
                  </a:lnTo>
                  <a:lnTo>
                    <a:pt x="4162" y="2394"/>
                  </a:lnTo>
                  <a:lnTo>
                    <a:pt x="4167" y="2396"/>
                  </a:lnTo>
                  <a:lnTo>
                    <a:pt x="4172" y="2399"/>
                  </a:lnTo>
                  <a:lnTo>
                    <a:pt x="4177" y="2402"/>
                  </a:lnTo>
                  <a:lnTo>
                    <a:pt x="4181" y="2407"/>
                  </a:lnTo>
                  <a:lnTo>
                    <a:pt x="4184" y="2411"/>
                  </a:lnTo>
                  <a:lnTo>
                    <a:pt x="4189" y="2414"/>
                  </a:lnTo>
                  <a:lnTo>
                    <a:pt x="4194" y="2416"/>
                  </a:lnTo>
                  <a:lnTo>
                    <a:pt x="4199" y="2417"/>
                  </a:lnTo>
                  <a:lnTo>
                    <a:pt x="4287" y="2417"/>
                  </a:lnTo>
                  <a:lnTo>
                    <a:pt x="4292" y="2425"/>
                  </a:lnTo>
                  <a:lnTo>
                    <a:pt x="4295" y="2433"/>
                  </a:lnTo>
                  <a:lnTo>
                    <a:pt x="4299" y="2441"/>
                  </a:lnTo>
                  <a:lnTo>
                    <a:pt x="4301" y="2448"/>
                  </a:lnTo>
                  <a:lnTo>
                    <a:pt x="4304" y="2457"/>
                  </a:lnTo>
                  <a:lnTo>
                    <a:pt x="4307" y="2464"/>
                  </a:lnTo>
                  <a:lnTo>
                    <a:pt x="4312" y="2471"/>
                  </a:lnTo>
                  <a:lnTo>
                    <a:pt x="4318" y="2477"/>
                  </a:lnTo>
                  <a:lnTo>
                    <a:pt x="4335" y="2487"/>
                  </a:lnTo>
                  <a:lnTo>
                    <a:pt x="4349" y="2495"/>
                  </a:lnTo>
                  <a:lnTo>
                    <a:pt x="4366" y="2502"/>
                  </a:lnTo>
                  <a:lnTo>
                    <a:pt x="4381" y="2507"/>
                  </a:lnTo>
                  <a:lnTo>
                    <a:pt x="4413" y="2515"/>
                  </a:lnTo>
                  <a:lnTo>
                    <a:pt x="4449" y="2528"/>
                  </a:lnTo>
                  <a:lnTo>
                    <a:pt x="4449" y="2528"/>
                  </a:lnTo>
                  <a:lnTo>
                    <a:pt x="4450" y="2518"/>
                  </a:lnTo>
                  <a:lnTo>
                    <a:pt x="4453" y="2510"/>
                  </a:lnTo>
                  <a:lnTo>
                    <a:pt x="4456" y="2503"/>
                  </a:lnTo>
                  <a:lnTo>
                    <a:pt x="4461" y="2495"/>
                  </a:lnTo>
                  <a:lnTo>
                    <a:pt x="4470" y="2483"/>
                  </a:lnTo>
                  <a:lnTo>
                    <a:pt x="4480" y="2471"/>
                  </a:lnTo>
                  <a:lnTo>
                    <a:pt x="4490" y="2459"/>
                  </a:lnTo>
                  <a:lnTo>
                    <a:pt x="4498" y="2446"/>
                  </a:lnTo>
                  <a:lnTo>
                    <a:pt x="4501" y="2440"/>
                  </a:lnTo>
                  <a:lnTo>
                    <a:pt x="4503" y="2432"/>
                  </a:lnTo>
                  <a:lnTo>
                    <a:pt x="4506" y="2423"/>
                  </a:lnTo>
                  <a:lnTo>
                    <a:pt x="4506" y="2415"/>
                  </a:lnTo>
                  <a:lnTo>
                    <a:pt x="4506" y="2354"/>
                  </a:lnTo>
                  <a:lnTo>
                    <a:pt x="4507" y="2350"/>
                  </a:lnTo>
                  <a:lnTo>
                    <a:pt x="4507" y="2347"/>
                  </a:lnTo>
                  <a:lnTo>
                    <a:pt x="4510" y="2344"/>
                  </a:lnTo>
                  <a:lnTo>
                    <a:pt x="4511" y="2342"/>
                  </a:lnTo>
                  <a:lnTo>
                    <a:pt x="4517" y="2338"/>
                  </a:lnTo>
                  <a:lnTo>
                    <a:pt x="4523" y="2334"/>
                  </a:lnTo>
                  <a:lnTo>
                    <a:pt x="4530" y="2330"/>
                  </a:lnTo>
                  <a:lnTo>
                    <a:pt x="4535" y="2327"/>
                  </a:lnTo>
                  <a:lnTo>
                    <a:pt x="4537" y="2324"/>
                  </a:lnTo>
                  <a:lnTo>
                    <a:pt x="4539" y="2321"/>
                  </a:lnTo>
                  <a:lnTo>
                    <a:pt x="4539" y="2318"/>
                  </a:lnTo>
                  <a:lnTo>
                    <a:pt x="4541" y="2314"/>
                  </a:lnTo>
                  <a:lnTo>
                    <a:pt x="4539" y="2307"/>
                  </a:lnTo>
                  <a:lnTo>
                    <a:pt x="4537" y="2299"/>
                  </a:lnTo>
                  <a:lnTo>
                    <a:pt x="4535" y="2293"/>
                  </a:lnTo>
                  <a:lnTo>
                    <a:pt x="4531" y="2287"/>
                  </a:lnTo>
                  <a:lnTo>
                    <a:pt x="4522" y="2275"/>
                  </a:lnTo>
                  <a:lnTo>
                    <a:pt x="4515" y="2261"/>
                  </a:lnTo>
                  <a:lnTo>
                    <a:pt x="4511" y="2249"/>
                  </a:lnTo>
                  <a:lnTo>
                    <a:pt x="4508" y="2237"/>
                  </a:lnTo>
                  <a:lnTo>
                    <a:pt x="4507" y="2226"/>
                  </a:lnTo>
                  <a:lnTo>
                    <a:pt x="4506" y="2216"/>
                  </a:lnTo>
                  <a:lnTo>
                    <a:pt x="4506" y="2194"/>
                  </a:lnTo>
                  <a:lnTo>
                    <a:pt x="4506" y="2169"/>
                  </a:lnTo>
                  <a:lnTo>
                    <a:pt x="4507" y="2143"/>
                  </a:lnTo>
                  <a:lnTo>
                    <a:pt x="4511" y="2120"/>
                  </a:lnTo>
                  <a:lnTo>
                    <a:pt x="4513" y="2096"/>
                  </a:lnTo>
                  <a:lnTo>
                    <a:pt x="4515" y="2070"/>
                  </a:lnTo>
                  <a:lnTo>
                    <a:pt x="4515" y="2065"/>
                  </a:lnTo>
                  <a:lnTo>
                    <a:pt x="4512" y="2060"/>
                  </a:lnTo>
                  <a:lnTo>
                    <a:pt x="4510" y="2056"/>
                  </a:lnTo>
                  <a:lnTo>
                    <a:pt x="4506" y="2054"/>
                  </a:lnTo>
                  <a:lnTo>
                    <a:pt x="4501" y="2050"/>
                  </a:lnTo>
                  <a:lnTo>
                    <a:pt x="4496" y="2049"/>
                  </a:lnTo>
                  <a:lnTo>
                    <a:pt x="4491" y="2048"/>
                  </a:lnTo>
                  <a:lnTo>
                    <a:pt x="4486" y="2048"/>
                  </a:lnTo>
                  <a:lnTo>
                    <a:pt x="4426" y="2048"/>
                  </a:lnTo>
                  <a:lnTo>
                    <a:pt x="4423" y="2044"/>
                  </a:lnTo>
                  <a:lnTo>
                    <a:pt x="4418" y="2041"/>
                  </a:lnTo>
                  <a:lnTo>
                    <a:pt x="4415" y="2040"/>
                  </a:lnTo>
                  <a:lnTo>
                    <a:pt x="4414" y="2038"/>
                  </a:lnTo>
                  <a:lnTo>
                    <a:pt x="4413" y="2035"/>
                  </a:lnTo>
                  <a:lnTo>
                    <a:pt x="4413" y="2033"/>
                  </a:lnTo>
                  <a:lnTo>
                    <a:pt x="4413" y="2029"/>
                  </a:lnTo>
                  <a:lnTo>
                    <a:pt x="4414" y="2025"/>
                  </a:lnTo>
                  <a:lnTo>
                    <a:pt x="4415" y="2023"/>
                  </a:lnTo>
                  <a:lnTo>
                    <a:pt x="4418" y="2020"/>
                  </a:lnTo>
                  <a:lnTo>
                    <a:pt x="4423" y="2017"/>
                  </a:lnTo>
                  <a:lnTo>
                    <a:pt x="4430" y="2014"/>
                  </a:lnTo>
                  <a:lnTo>
                    <a:pt x="4449" y="2012"/>
                  </a:lnTo>
                  <a:lnTo>
                    <a:pt x="4466" y="2010"/>
                  </a:lnTo>
                  <a:lnTo>
                    <a:pt x="4482" y="2008"/>
                  </a:lnTo>
                  <a:lnTo>
                    <a:pt x="4495" y="2007"/>
                  </a:lnTo>
                  <a:lnTo>
                    <a:pt x="4508" y="2003"/>
                  </a:lnTo>
                  <a:lnTo>
                    <a:pt x="4523" y="1999"/>
                  </a:lnTo>
                  <a:lnTo>
                    <a:pt x="4548" y="1992"/>
                  </a:lnTo>
                  <a:lnTo>
                    <a:pt x="4571" y="1987"/>
                  </a:lnTo>
                  <a:lnTo>
                    <a:pt x="4593" y="1983"/>
                  </a:lnTo>
                  <a:lnTo>
                    <a:pt x="4618" y="1976"/>
                  </a:lnTo>
                  <a:lnTo>
                    <a:pt x="4628" y="1971"/>
                  </a:lnTo>
                  <a:lnTo>
                    <a:pt x="4636" y="1965"/>
                  </a:lnTo>
                  <a:lnTo>
                    <a:pt x="4641" y="1961"/>
                  </a:lnTo>
                  <a:lnTo>
                    <a:pt x="4646" y="1958"/>
                  </a:lnTo>
                  <a:lnTo>
                    <a:pt x="4651" y="1957"/>
                  </a:lnTo>
                  <a:lnTo>
                    <a:pt x="4657" y="1956"/>
                  </a:lnTo>
                  <a:lnTo>
                    <a:pt x="4664" y="1957"/>
                  </a:lnTo>
                  <a:lnTo>
                    <a:pt x="4670" y="1960"/>
                  </a:lnTo>
                  <a:lnTo>
                    <a:pt x="4676" y="1962"/>
                  </a:lnTo>
                  <a:lnTo>
                    <a:pt x="4681" y="1965"/>
                  </a:lnTo>
                  <a:lnTo>
                    <a:pt x="4686" y="1968"/>
                  </a:lnTo>
                  <a:lnTo>
                    <a:pt x="4692" y="1971"/>
                  </a:lnTo>
                  <a:lnTo>
                    <a:pt x="4698" y="1973"/>
                  </a:lnTo>
                  <a:lnTo>
                    <a:pt x="4706" y="1973"/>
                  </a:lnTo>
                  <a:lnTo>
                    <a:pt x="4711" y="1973"/>
                  </a:lnTo>
                  <a:lnTo>
                    <a:pt x="4715" y="1972"/>
                  </a:lnTo>
                  <a:lnTo>
                    <a:pt x="4718" y="1969"/>
                  </a:lnTo>
                  <a:lnTo>
                    <a:pt x="4722" y="1967"/>
                  </a:lnTo>
                  <a:lnTo>
                    <a:pt x="4730" y="1961"/>
                  </a:lnTo>
                  <a:lnTo>
                    <a:pt x="4736" y="1953"/>
                  </a:lnTo>
                  <a:lnTo>
                    <a:pt x="4742" y="1946"/>
                  </a:lnTo>
                  <a:lnTo>
                    <a:pt x="4748" y="1940"/>
                  </a:lnTo>
                  <a:lnTo>
                    <a:pt x="4752" y="1937"/>
                  </a:lnTo>
                  <a:lnTo>
                    <a:pt x="4756" y="1935"/>
                  </a:lnTo>
                  <a:lnTo>
                    <a:pt x="4761" y="1934"/>
                  </a:lnTo>
                  <a:lnTo>
                    <a:pt x="4766" y="1934"/>
                  </a:lnTo>
                  <a:lnTo>
                    <a:pt x="4768" y="1934"/>
                  </a:lnTo>
                  <a:lnTo>
                    <a:pt x="4772" y="1935"/>
                  </a:lnTo>
                  <a:lnTo>
                    <a:pt x="4773" y="1937"/>
                  </a:lnTo>
                  <a:lnTo>
                    <a:pt x="4775" y="1938"/>
                  </a:lnTo>
                  <a:lnTo>
                    <a:pt x="4780" y="1943"/>
                  </a:lnTo>
                  <a:lnTo>
                    <a:pt x="4785" y="1947"/>
                  </a:lnTo>
                  <a:lnTo>
                    <a:pt x="4808" y="1931"/>
                  </a:lnTo>
                  <a:lnTo>
                    <a:pt x="4808" y="1894"/>
                  </a:lnTo>
                  <a:lnTo>
                    <a:pt x="4793" y="1894"/>
                  </a:lnTo>
                  <a:lnTo>
                    <a:pt x="4778" y="1891"/>
                  </a:lnTo>
                  <a:lnTo>
                    <a:pt x="4772" y="1889"/>
                  </a:lnTo>
                  <a:lnTo>
                    <a:pt x="4767" y="1885"/>
                  </a:lnTo>
                  <a:lnTo>
                    <a:pt x="4766" y="1883"/>
                  </a:lnTo>
                  <a:lnTo>
                    <a:pt x="4763" y="1880"/>
                  </a:lnTo>
                  <a:lnTo>
                    <a:pt x="4763" y="1878"/>
                  </a:lnTo>
                  <a:lnTo>
                    <a:pt x="4762" y="1874"/>
                  </a:lnTo>
                  <a:lnTo>
                    <a:pt x="4763" y="1865"/>
                  </a:lnTo>
                  <a:lnTo>
                    <a:pt x="4764" y="1858"/>
                  </a:lnTo>
                  <a:lnTo>
                    <a:pt x="4767" y="1850"/>
                  </a:lnTo>
                  <a:lnTo>
                    <a:pt x="4769" y="1843"/>
                  </a:lnTo>
                  <a:lnTo>
                    <a:pt x="4777" y="1829"/>
                  </a:lnTo>
                  <a:lnTo>
                    <a:pt x="4783" y="1814"/>
                  </a:lnTo>
                  <a:lnTo>
                    <a:pt x="4789" y="1787"/>
                  </a:lnTo>
                  <a:lnTo>
                    <a:pt x="4794" y="1762"/>
                  </a:lnTo>
                  <a:lnTo>
                    <a:pt x="4797" y="1738"/>
                  </a:lnTo>
                  <a:lnTo>
                    <a:pt x="4797" y="1709"/>
                  </a:lnTo>
                  <a:lnTo>
                    <a:pt x="4847" y="1709"/>
                  </a:lnTo>
                  <a:lnTo>
                    <a:pt x="4856" y="1713"/>
                  </a:lnTo>
                  <a:lnTo>
                    <a:pt x="4865" y="1715"/>
                  </a:lnTo>
                  <a:lnTo>
                    <a:pt x="4876" y="1714"/>
                  </a:lnTo>
                  <a:lnTo>
                    <a:pt x="4886" y="1710"/>
                  </a:lnTo>
                  <a:lnTo>
                    <a:pt x="4896" y="1705"/>
                  </a:lnTo>
                  <a:lnTo>
                    <a:pt x="4905" y="1700"/>
                  </a:lnTo>
                  <a:lnTo>
                    <a:pt x="4913" y="1695"/>
                  </a:lnTo>
                  <a:lnTo>
                    <a:pt x="4923" y="1690"/>
                  </a:lnTo>
                  <a:lnTo>
                    <a:pt x="4933" y="1688"/>
                  </a:lnTo>
                  <a:lnTo>
                    <a:pt x="4944" y="1687"/>
                  </a:lnTo>
                  <a:lnTo>
                    <a:pt x="4951" y="1687"/>
                  </a:lnTo>
                  <a:lnTo>
                    <a:pt x="4957" y="1688"/>
                  </a:lnTo>
                  <a:lnTo>
                    <a:pt x="4963" y="1689"/>
                  </a:lnTo>
                  <a:lnTo>
                    <a:pt x="4968" y="1692"/>
                  </a:lnTo>
                  <a:lnTo>
                    <a:pt x="4977" y="1698"/>
                  </a:lnTo>
                  <a:lnTo>
                    <a:pt x="4987" y="1705"/>
                  </a:lnTo>
                  <a:lnTo>
                    <a:pt x="4995" y="1711"/>
                  </a:lnTo>
                  <a:lnTo>
                    <a:pt x="5005" y="1718"/>
                  </a:lnTo>
                  <a:lnTo>
                    <a:pt x="5010" y="1720"/>
                  </a:lnTo>
                  <a:lnTo>
                    <a:pt x="5015" y="1721"/>
                  </a:lnTo>
                  <a:lnTo>
                    <a:pt x="5021" y="1723"/>
                  </a:lnTo>
                  <a:lnTo>
                    <a:pt x="5028" y="1723"/>
                  </a:lnTo>
                  <a:lnTo>
                    <a:pt x="5040" y="1721"/>
                  </a:lnTo>
                  <a:lnTo>
                    <a:pt x="5052" y="1720"/>
                  </a:lnTo>
                  <a:lnTo>
                    <a:pt x="5052" y="1702"/>
                  </a:lnTo>
                  <a:lnTo>
                    <a:pt x="5052" y="1684"/>
                  </a:lnTo>
                  <a:lnTo>
                    <a:pt x="5052" y="1675"/>
                  </a:lnTo>
                  <a:lnTo>
                    <a:pt x="5055" y="1668"/>
                  </a:lnTo>
                  <a:lnTo>
                    <a:pt x="5059" y="1659"/>
                  </a:lnTo>
                  <a:lnTo>
                    <a:pt x="5064" y="1652"/>
                  </a:lnTo>
                  <a:lnTo>
                    <a:pt x="5069" y="1647"/>
                  </a:lnTo>
                  <a:lnTo>
                    <a:pt x="5075" y="1642"/>
                  </a:lnTo>
                  <a:lnTo>
                    <a:pt x="5080" y="1638"/>
                  </a:lnTo>
                  <a:lnTo>
                    <a:pt x="5086" y="1635"/>
                  </a:lnTo>
                  <a:lnTo>
                    <a:pt x="5098" y="1628"/>
                  </a:lnTo>
                  <a:lnTo>
                    <a:pt x="5111" y="1623"/>
                  </a:lnTo>
                  <a:lnTo>
                    <a:pt x="5121" y="1616"/>
                  </a:lnTo>
                  <a:lnTo>
                    <a:pt x="5129" y="1609"/>
                  </a:lnTo>
                  <a:lnTo>
                    <a:pt x="5133" y="1605"/>
                  </a:lnTo>
                  <a:lnTo>
                    <a:pt x="5136" y="1600"/>
                  </a:lnTo>
                  <a:lnTo>
                    <a:pt x="5138" y="1594"/>
                  </a:lnTo>
                  <a:lnTo>
                    <a:pt x="5138" y="1586"/>
                  </a:lnTo>
                  <a:lnTo>
                    <a:pt x="5138" y="1579"/>
                  </a:lnTo>
                  <a:lnTo>
                    <a:pt x="5137" y="1571"/>
                  </a:lnTo>
                  <a:lnTo>
                    <a:pt x="5134" y="1565"/>
                  </a:lnTo>
                  <a:lnTo>
                    <a:pt x="5132" y="1559"/>
                  </a:lnTo>
                  <a:lnTo>
                    <a:pt x="5126" y="1546"/>
                  </a:lnTo>
                  <a:lnTo>
                    <a:pt x="5118" y="1535"/>
                  </a:lnTo>
                  <a:lnTo>
                    <a:pt x="5111" y="1524"/>
                  </a:lnTo>
                  <a:lnTo>
                    <a:pt x="5105" y="1512"/>
                  </a:lnTo>
                  <a:lnTo>
                    <a:pt x="5102" y="1506"/>
                  </a:lnTo>
                  <a:lnTo>
                    <a:pt x="5100" y="1499"/>
                  </a:lnTo>
                  <a:lnTo>
                    <a:pt x="5098" y="1492"/>
                  </a:lnTo>
                  <a:lnTo>
                    <a:pt x="5098" y="1484"/>
                  </a:lnTo>
                  <a:lnTo>
                    <a:pt x="5098" y="1472"/>
                  </a:lnTo>
                  <a:lnTo>
                    <a:pt x="5100" y="1461"/>
                  </a:lnTo>
                  <a:lnTo>
                    <a:pt x="5102" y="1451"/>
                  </a:lnTo>
                  <a:lnTo>
                    <a:pt x="5103" y="1441"/>
                  </a:lnTo>
                  <a:lnTo>
                    <a:pt x="5108" y="1421"/>
                  </a:lnTo>
                  <a:lnTo>
                    <a:pt x="5112" y="1399"/>
                  </a:lnTo>
                  <a:lnTo>
                    <a:pt x="5113" y="1388"/>
                  </a:lnTo>
                  <a:lnTo>
                    <a:pt x="5112" y="1378"/>
                  </a:lnTo>
                  <a:lnTo>
                    <a:pt x="5112" y="1373"/>
                  </a:lnTo>
                  <a:lnTo>
                    <a:pt x="5113" y="1368"/>
                  </a:lnTo>
                  <a:lnTo>
                    <a:pt x="5116" y="1364"/>
                  </a:lnTo>
                  <a:lnTo>
                    <a:pt x="5118" y="1359"/>
                  </a:lnTo>
                  <a:lnTo>
                    <a:pt x="5123" y="1354"/>
                  </a:lnTo>
                  <a:lnTo>
                    <a:pt x="5129" y="1349"/>
                  </a:lnTo>
                  <a:lnTo>
                    <a:pt x="5134" y="1346"/>
                  </a:lnTo>
                  <a:lnTo>
                    <a:pt x="5141" y="1343"/>
                  </a:lnTo>
                  <a:lnTo>
                    <a:pt x="5153" y="1339"/>
                  </a:lnTo>
                  <a:lnTo>
                    <a:pt x="5165" y="1337"/>
                  </a:lnTo>
                  <a:lnTo>
                    <a:pt x="5179" y="1334"/>
                  </a:lnTo>
                  <a:lnTo>
                    <a:pt x="5192" y="1332"/>
                  </a:lnTo>
                  <a:lnTo>
                    <a:pt x="5199" y="1329"/>
                  </a:lnTo>
                  <a:lnTo>
                    <a:pt x="5205" y="1327"/>
                  </a:lnTo>
                  <a:lnTo>
                    <a:pt x="5211" y="1323"/>
                  </a:lnTo>
                  <a:lnTo>
                    <a:pt x="5218" y="1319"/>
                  </a:lnTo>
                  <a:lnTo>
                    <a:pt x="5226" y="1313"/>
                  </a:lnTo>
                  <a:lnTo>
                    <a:pt x="5234" y="1306"/>
                  </a:lnTo>
                  <a:lnTo>
                    <a:pt x="5240" y="1300"/>
                  </a:lnTo>
                  <a:lnTo>
                    <a:pt x="5245" y="1292"/>
                  </a:lnTo>
                  <a:lnTo>
                    <a:pt x="5250" y="1285"/>
                  </a:lnTo>
                  <a:lnTo>
                    <a:pt x="5255" y="1276"/>
                  </a:lnTo>
                  <a:lnTo>
                    <a:pt x="5259" y="1269"/>
                  </a:lnTo>
                  <a:lnTo>
                    <a:pt x="5262" y="1260"/>
                  </a:lnTo>
                  <a:lnTo>
                    <a:pt x="5267" y="1243"/>
                  </a:lnTo>
                  <a:lnTo>
                    <a:pt x="5271" y="1224"/>
                  </a:lnTo>
                  <a:lnTo>
                    <a:pt x="5274" y="1204"/>
                  </a:lnTo>
                  <a:lnTo>
                    <a:pt x="5275" y="1183"/>
                  </a:lnTo>
                  <a:lnTo>
                    <a:pt x="5329" y="1183"/>
                  </a:lnTo>
                  <a:lnTo>
                    <a:pt x="5343" y="1169"/>
                  </a:lnTo>
                  <a:lnTo>
                    <a:pt x="5355" y="1159"/>
                  </a:lnTo>
                  <a:lnTo>
                    <a:pt x="5368" y="1148"/>
                  </a:lnTo>
                  <a:lnTo>
                    <a:pt x="5383" y="1136"/>
                  </a:lnTo>
                  <a:lnTo>
                    <a:pt x="5383" y="1136"/>
                  </a:lnTo>
                  <a:lnTo>
                    <a:pt x="5377" y="1135"/>
                  </a:lnTo>
                  <a:lnTo>
                    <a:pt x="5373" y="1133"/>
                  </a:lnTo>
                  <a:lnTo>
                    <a:pt x="5368" y="1132"/>
                  </a:lnTo>
                  <a:lnTo>
                    <a:pt x="5364" y="1130"/>
                  </a:lnTo>
                  <a:lnTo>
                    <a:pt x="5358" y="1124"/>
                  </a:lnTo>
                  <a:lnTo>
                    <a:pt x="5352" y="1117"/>
                  </a:lnTo>
                  <a:lnTo>
                    <a:pt x="5346" y="1110"/>
                  </a:lnTo>
                  <a:lnTo>
                    <a:pt x="5339" y="1102"/>
                  </a:lnTo>
                  <a:lnTo>
                    <a:pt x="5332" y="1096"/>
                  </a:lnTo>
                  <a:lnTo>
                    <a:pt x="5323" y="1092"/>
                  </a:lnTo>
                  <a:lnTo>
                    <a:pt x="5305" y="1086"/>
                  </a:lnTo>
                  <a:lnTo>
                    <a:pt x="5286" y="1084"/>
                  </a:lnTo>
                  <a:lnTo>
                    <a:pt x="5269" y="1083"/>
                  </a:lnTo>
                  <a:lnTo>
                    <a:pt x="5249" y="1078"/>
                  </a:lnTo>
                  <a:lnTo>
                    <a:pt x="5245" y="1075"/>
                  </a:lnTo>
                  <a:lnTo>
                    <a:pt x="5240" y="1071"/>
                  </a:lnTo>
                  <a:lnTo>
                    <a:pt x="5237" y="1068"/>
                  </a:lnTo>
                  <a:lnTo>
                    <a:pt x="5234" y="1064"/>
                  </a:lnTo>
                  <a:lnTo>
                    <a:pt x="5231" y="1059"/>
                  </a:lnTo>
                  <a:lnTo>
                    <a:pt x="5228" y="1055"/>
                  </a:lnTo>
                  <a:lnTo>
                    <a:pt x="5223" y="1053"/>
                  </a:lnTo>
                  <a:lnTo>
                    <a:pt x="5218" y="1052"/>
                  </a:lnTo>
                  <a:lnTo>
                    <a:pt x="5213" y="1053"/>
                  </a:lnTo>
                  <a:lnTo>
                    <a:pt x="5209" y="1055"/>
                  </a:lnTo>
                  <a:lnTo>
                    <a:pt x="5205" y="1058"/>
                  </a:lnTo>
                  <a:lnTo>
                    <a:pt x="5203" y="1061"/>
                  </a:lnTo>
                  <a:lnTo>
                    <a:pt x="5199" y="1070"/>
                  </a:lnTo>
                  <a:lnTo>
                    <a:pt x="5195" y="1080"/>
                  </a:lnTo>
                  <a:lnTo>
                    <a:pt x="5184" y="1100"/>
                  </a:lnTo>
                  <a:lnTo>
                    <a:pt x="5173" y="1117"/>
                  </a:lnTo>
                  <a:lnTo>
                    <a:pt x="5168" y="1130"/>
                  </a:lnTo>
                  <a:lnTo>
                    <a:pt x="5167" y="1143"/>
                  </a:lnTo>
                  <a:lnTo>
                    <a:pt x="5165" y="1148"/>
                  </a:lnTo>
                  <a:lnTo>
                    <a:pt x="5164" y="1155"/>
                  </a:lnTo>
                  <a:lnTo>
                    <a:pt x="5162" y="1161"/>
                  </a:lnTo>
                  <a:lnTo>
                    <a:pt x="5158" y="1166"/>
                  </a:lnTo>
                  <a:lnTo>
                    <a:pt x="5154" y="1171"/>
                  </a:lnTo>
                  <a:lnTo>
                    <a:pt x="5149" y="1174"/>
                  </a:lnTo>
                  <a:lnTo>
                    <a:pt x="5144" y="1178"/>
                  </a:lnTo>
                  <a:lnTo>
                    <a:pt x="5139" y="1181"/>
                  </a:lnTo>
                  <a:lnTo>
                    <a:pt x="5129" y="1184"/>
                  </a:lnTo>
                  <a:lnTo>
                    <a:pt x="5118" y="1186"/>
                  </a:lnTo>
                  <a:lnTo>
                    <a:pt x="5096" y="1187"/>
                  </a:lnTo>
                  <a:lnTo>
                    <a:pt x="5070" y="1186"/>
                  </a:lnTo>
                  <a:lnTo>
                    <a:pt x="5059" y="1184"/>
                  </a:lnTo>
                  <a:lnTo>
                    <a:pt x="5049" y="1182"/>
                  </a:lnTo>
                  <a:lnTo>
                    <a:pt x="5039" y="1178"/>
                  </a:lnTo>
                  <a:lnTo>
                    <a:pt x="5031" y="1172"/>
                  </a:lnTo>
                  <a:lnTo>
                    <a:pt x="5025" y="1166"/>
                  </a:lnTo>
                  <a:lnTo>
                    <a:pt x="5019" y="1157"/>
                  </a:lnTo>
                  <a:lnTo>
                    <a:pt x="5014" y="1148"/>
                  </a:lnTo>
                  <a:lnTo>
                    <a:pt x="5009" y="1138"/>
                  </a:lnTo>
                  <a:lnTo>
                    <a:pt x="5000" y="1116"/>
                  </a:lnTo>
                  <a:lnTo>
                    <a:pt x="4992" y="1094"/>
                  </a:lnTo>
                  <a:lnTo>
                    <a:pt x="4982" y="1071"/>
                  </a:lnTo>
                  <a:lnTo>
                    <a:pt x="4970" y="1049"/>
                  </a:lnTo>
                  <a:lnTo>
                    <a:pt x="4964" y="1042"/>
                  </a:lnTo>
                  <a:lnTo>
                    <a:pt x="4958" y="1035"/>
                  </a:lnTo>
                  <a:lnTo>
                    <a:pt x="4951" y="1030"/>
                  </a:lnTo>
                  <a:lnTo>
                    <a:pt x="4943" y="1026"/>
                  </a:lnTo>
                  <a:lnTo>
                    <a:pt x="4936" y="1022"/>
                  </a:lnTo>
                  <a:lnTo>
                    <a:pt x="4929" y="1017"/>
                  </a:lnTo>
                  <a:lnTo>
                    <a:pt x="4922" y="1011"/>
                  </a:lnTo>
                  <a:lnTo>
                    <a:pt x="4916" y="1004"/>
                  </a:lnTo>
                  <a:lnTo>
                    <a:pt x="4906" y="990"/>
                  </a:lnTo>
                  <a:lnTo>
                    <a:pt x="4896" y="976"/>
                  </a:lnTo>
                  <a:lnTo>
                    <a:pt x="4886" y="963"/>
                  </a:lnTo>
                  <a:lnTo>
                    <a:pt x="4874" y="950"/>
                  </a:lnTo>
                  <a:lnTo>
                    <a:pt x="4846" y="924"/>
                  </a:lnTo>
                  <a:lnTo>
                    <a:pt x="4824" y="899"/>
                  </a:lnTo>
                  <a:lnTo>
                    <a:pt x="4818" y="894"/>
                  </a:lnTo>
                  <a:lnTo>
                    <a:pt x="4811" y="889"/>
                  </a:lnTo>
                  <a:lnTo>
                    <a:pt x="4805" y="884"/>
                  </a:lnTo>
                  <a:lnTo>
                    <a:pt x="4799" y="880"/>
                  </a:lnTo>
                  <a:lnTo>
                    <a:pt x="4792" y="878"/>
                  </a:lnTo>
                  <a:lnTo>
                    <a:pt x="4783" y="875"/>
                  </a:lnTo>
                  <a:lnTo>
                    <a:pt x="4774" y="874"/>
                  </a:lnTo>
                  <a:lnTo>
                    <a:pt x="4766" y="873"/>
                  </a:lnTo>
                  <a:lnTo>
                    <a:pt x="4751" y="874"/>
                  </a:lnTo>
                  <a:lnTo>
                    <a:pt x="4738" y="878"/>
                  </a:lnTo>
                  <a:lnTo>
                    <a:pt x="4727" y="883"/>
                  </a:lnTo>
                  <a:lnTo>
                    <a:pt x="4716" y="889"/>
                  </a:lnTo>
                  <a:lnTo>
                    <a:pt x="4705" y="894"/>
                  </a:lnTo>
                  <a:lnTo>
                    <a:pt x="4692" y="899"/>
                  </a:lnTo>
                  <a:lnTo>
                    <a:pt x="4680" y="903"/>
                  </a:lnTo>
                  <a:lnTo>
                    <a:pt x="4666" y="904"/>
                  </a:lnTo>
                  <a:lnTo>
                    <a:pt x="4640" y="905"/>
                  </a:lnTo>
                  <a:lnTo>
                    <a:pt x="4616" y="904"/>
                  </a:lnTo>
                  <a:lnTo>
                    <a:pt x="4607" y="901"/>
                  </a:lnTo>
                  <a:lnTo>
                    <a:pt x="4597" y="898"/>
                  </a:lnTo>
                  <a:lnTo>
                    <a:pt x="4592" y="894"/>
                  </a:lnTo>
                  <a:lnTo>
                    <a:pt x="4588" y="890"/>
                  </a:lnTo>
                  <a:lnTo>
                    <a:pt x="4584" y="887"/>
                  </a:lnTo>
                  <a:lnTo>
                    <a:pt x="4580" y="882"/>
                  </a:lnTo>
                  <a:lnTo>
                    <a:pt x="4574" y="864"/>
                  </a:lnTo>
                  <a:lnTo>
                    <a:pt x="4569" y="847"/>
                  </a:lnTo>
                  <a:lnTo>
                    <a:pt x="4562" y="841"/>
                  </a:lnTo>
                  <a:lnTo>
                    <a:pt x="4556" y="836"/>
                  </a:lnTo>
                  <a:lnTo>
                    <a:pt x="4548" y="832"/>
                  </a:lnTo>
                  <a:lnTo>
                    <a:pt x="4539" y="830"/>
                  </a:lnTo>
                  <a:lnTo>
                    <a:pt x="4522" y="828"/>
                  </a:lnTo>
                  <a:lnTo>
                    <a:pt x="4502" y="827"/>
                  </a:lnTo>
                  <a:lnTo>
                    <a:pt x="4495" y="828"/>
                  </a:lnTo>
                  <a:lnTo>
                    <a:pt x="4486" y="831"/>
                  </a:lnTo>
                  <a:lnTo>
                    <a:pt x="4489" y="847"/>
                  </a:lnTo>
                  <a:lnTo>
                    <a:pt x="4487" y="864"/>
                  </a:lnTo>
                  <a:lnTo>
                    <a:pt x="4477" y="866"/>
                  </a:lnTo>
                  <a:lnTo>
                    <a:pt x="4467" y="868"/>
                  </a:lnTo>
                  <a:lnTo>
                    <a:pt x="4459" y="872"/>
                  </a:lnTo>
                  <a:lnTo>
                    <a:pt x="4450" y="875"/>
                  </a:lnTo>
                  <a:lnTo>
                    <a:pt x="4441" y="880"/>
                  </a:lnTo>
                  <a:lnTo>
                    <a:pt x="4433" y="884"/>
                  </a:lnTo>
                  <a:lnTo>
                    <a:pt x="4423" y="887"/>
                  </a:lnTo>
                  <a:lnTo>
                    <a:pt x="4413" y="888"/>
                  </a:lnTo>
                  <a:lnTo>
                    <a:pt x="4408" y="887"/>
                  </a:lnTo>
                  <a:lnTo>
                    <a:pt x="4404" y="885"/>
                  </a:lnTo>
                  <a:lnTo>
                    <a:pt x="4400" y="884"/>
                  </a:lnTo>
                  <a:lnTo>
                    <a:pt x="4398" y="882"/>
                  </a:lnTo>
                  <a:lnTo>
                    <a:pt x="4393" y="877"/>
                  </a:lnTo>
                  <a:lnTo>
                    <a:pt x="4389" y="869"/>
                  </a:lnTo>
                  <a:lnTo>
                    <a:pt x="4383" y="852"/>
                  </a:lnTo>
                  <a:lnTo>
                    <a:pt x="4378" y="833"/>
                  </a:lnTo>
                  <a:lnTo>
                    <a:pt x="4369" y="806"/>
                  </a:lnTo>
                  <a:lnTo>
                    <a:pt x="4361" y="781"/>
                  </a:lnTo>
                  <a:lnTo>
                    <a:pt x="4351" y="758"/>
                  </a:lnTo>
                  <a:lnTo>
                    <a:pt x="4338" y="730"/>
                  </a:lnTo>
                  <a:lnTo>
                    <a:pt x="4325" y="705"/>
                  </a:lnTo>
                  <a:lnTo>
                    <a:pt x="4310" y="682"/>
                  </a:lnTo>
                  <a:lnTo>
                    <a:pt x="4295" y="662"/>
                  </a:lnTo>
                  <a:lnTo>
                    <a:pt x="4279" y="642"/>
                  </a:lnTo>
                  <a:lnTo>
                    <a:pt x="4264" y="624"/>
                  </a:lnTo>
                  <a:lnTo>
                    <a:pt x="4249" y="603"/>
                  </a:lnTo>
                  <a:lnTo>
                    <a:pt x="4234" y="580"/>
                  </a:lnTo>
                  <a:lnTo>
                    <a:pt x="4219" y="554"/>
                  </a:lnTo>
                  <a:lnTo>
                    <a:pt x="4193" y="507"/>
                  </a:lnTo>
                  <a:lnTo>
                    <a:pt x="4168" y="466"/>
                  </a:lnTo>
                  <a:lnTo>
                    <a:pt x="4156" y="446"/>
                  </a:lnTo>
                  <a:lnTo>
                    <a:pt x="4141" y="426"/>
                  </a:lnTo>
                  <a:lnTo>
                    <a:pt x="4126" y="407"/>
                  </a:lnTo>
                  <a:lnTo>
                    <a:pt x="4107" y="384"/>
                  </a:lnTo>
                  <a:lnTo>
                    <a:pt x="4085" y="357"/>
                  </a:lnTo>
                  <a:lnTo>
                    <a:pt x="4065" y="333"/>
                  </a:lnTo>
                  <a:lnTo>
                    <a:pt x="4054" y="322"/>
                  </a:lnTo>
                  <a:lnTo>
                    <a:pt x="4043" y="311"/>
                  </a:lnTo>
                  <a:lnTo>
                    <a:pt x="4029" y="301"/>
                  </a:lnTo>
                  <a:lnTo>
                    <a:pt x="4014" y="290"/>
                  </a:lnTo>
                  <a:lnTo>
                    <a:pt x="4000" y="283"/>
                  </a:lnTo>
                  <a:lnTo>
                    <a:pt x="3988" y="276"/>
                  </a:lnTo>
                  <a:lnTo>
                    <a:pt x="3982" y="273"/>
                  </a:lnTo>
                  <a:lnTo>
                    <a:pt x="3976" y="269"/>
                  </a:lnTo>
                  <a:lnTo>
                    <a:pt x="3971" y="265"/>
                  </a:lnTo>
                  <a:lnTo>
                    <a:pt x="3966" y="259"/>
                  </a:lnTo>
                  <a:lnTo>
                    <a:pt x="3958" y="256"/>
                  </a:lnTo>
                  <a:lnTo>
                    <a:pt x="3955" y="253"/>
                  </a:lnTo>
                  <a:lnTo>
                    <a:pt x="3955" y="248"/>
                  </a:lnTo>
                  <a:lnTo>
                    <a:pt x="3957" y="243"/>
                  </a:lnTo>
                  <a:lnTo>
                    <a:pt x="3959" y="238"/>
                  </a:lnTo>
                  <a:lnTo>
                    <a:pt x="3962" y="233"/>
                  </a:lnTo>
                  <a:lnTo>
                    <a:pt x="3966" y="229"/>
                  </a:lnTo>
                  <a:lnTo>
                    <a:pt x="3968" y="224"/>
                  </a:lnTo>
                  <a:lnTo>
                    <a:pt x="3971" y="219"/>
                  </a:lnTo>
                  <a:lnTo>
                    <a:pt x="3971" y="213"/>
                  </a:lnTo>
                  <a:lnTo>
                    <a:pt x="3969" y="199"/>
                  </a:lnTo>
                  <a:lnTo>
                    <a:pt x="3968" y="185"/>
                  </a:lnTo>
                  <a:lnTo>
                    <a:pt x="3951" y="182"/>
                  </a:lnTo>
                  <a:lnTo>
                    <a:pt x="3943" y="186"/>
                  </a:lnTo>
                  <a:lnTo>
                    <a:pt x="3936" y="191"/>
                  </a:lnTo>
                  <a:lnTo>
                    <a:pt x="3930" y="196"/>
                  </a:lnTo>
                  <a:lnTo>
                    <a:pt x="3925" y="201"/>
                  </a:lnTo>
                  <a:lnTo>
                    <a:pt x="3918" y="207"/>
                  </a:lnTo>
                  <a:lnTo>
                    <a:pt x="3912" y="212"/>
                  </a:lnTo>
                  <a:lnTo>
                    <a:pt x="3905" y="216"/>
                  </a:lnTo>
                  <a:lnTo>
                    <a:pt x="3897" y="219"/>
                  </a:lnTo>
                  <a:lnTo>
                    <a:pt x="3889" y="222"/>
                  </a:lnTo>
                  <a:lnTo>
                    <a:pt x="3879" y="222"/>
                  </a:lnTo>
                  <a:lnTo>
                    <a:pt x="3870" y="222"/>
                  </a:lnTo>
                  <a:lnTo>
                    <a:pt x="3861" y="222"/>
                  </a:lnTo>
                  <a:lnTo>
                    <a:pt x="3854" y="222"/>
                  </a:lnTo>
                  <a:lnTo>
                    <a:pt x="3846" y="223"/>
                  </a:lnTo>
                  <a:lnTo>
                    <a:pt x="3843" y="225"/>
                  </a:lnTo>
                  <a:lnTo>
                    <a:pt x="3840" y="227"/>
                  </a:lnTo>
                  <a:lnTo>
                    <a:pt x="3837" y="230"/>
                  </a:lnTo>
                  <a:lnTo>
                    <a:pt x="3834" y="233"/>
                  </a:lnTo>
                  <a:lnTo>
                    <a:pt x="3824" y="248"/>
                  </a:lnTo>
                  <a:lnTo>
                    <a:pt x="3814" y="261"/>
                  </a:lnTo>
                  <a:lnTo>
                    <a:pt x="3805" y="274"/>
                  </a:lnTo>
                  <a:lnTo>
                    <a:pt x="3796" y="285"/>
                  </a:lnTo>
                  <a:lnTo>
                    <a:pt x="3784" y="296"/>
                  </a:lnTo>
                  <a:lnTo>
                    <a:pt x="3772" y="306"/>
                  </a:lnTo>
                  <a:lnTo>
                    <a:pt x="3758" y="315"/>
                  </a:lnTo>
                  <a:lnTo>
                    <a:pt x="3743" y="325"/>
                  </a:lnTo>
                  <a:lnTo>
                    <a:pt x="3732" y="335"/>
                  </a:lnTo>
                  <a:lnTo>
                    <a:pt x="3721" y="345"/>
                  </a:lnTo>
                  <a:lnTo>
                    <a:pt x="3709" y="347"/>
                  </a:lnTo>
                  <a:lnTo>
                    <a:pt x="3697" y="348"/>
                  </a:lnTo>
                  <a:lnTo>
                    <a:pt x="3687" y="348"/>
                  </a:lnTo>
                  <a:lnTo>
                    <a:pt x="3678" y="348"/>
                  </a:lnTo>
                  <a:lnTo>
                    <a:pt x="3668" y="349"/>
                  </a:lnTo>
                  <a:lnTo>
                    <a:pt x="3656" y="349"/>
                  </a:lnTo>
                  <a:lnTo>
                    <a:pt x="3646" y="352"/>
                  </a:lnTo>
                  <a:lnTo>
                    <a:pt x="3635" y="356"/>
                  </a:lnTo>
                  <a:lnTo>
                    <a:pt x="3628" y="359"/>
                  </a:lnTo>
                  <a:lnTo>
                    <a:pt x="3623" y="364"/>
                  </a:lnTo>
                  <a:lnTo>
                    <a:pt x="3619" y="371"/>
                  </a:lnTo>
                  <a:lnTo>
                    <a:pt x="3614" y="377"/>
                  </a:lnTo>
                  <a:lnTo>
                    <a:pt x="3610" y="383"/>
                  </a:lnTo>
                  <a:lnTo>
                    <a:pt x="3605" y="388"/>
                  </a:lnTo>
                  <a:lnTo>
                    <a:pt x="3603" y="390"/>
                  </a:lnTo>
                  <a:lnTo>
                    <a:pt x="3599" y="392"/>
                  </a:lnTo>
                  <a:lnTo>
                    <a:pt x="3597" y="392"/>
                  </a:lnTo>
                  <a:lnTo>
                    <a:pt x="3592" y="393"/>
                  </a:lnTo>
                  <a:lnTo>
                    <a:pt x="3587" y="389"/>
                  </a:lnTo>
                  <a:lnTo>
                    <a:pt x="3581" y="387"/>
                  </a:lnTo>
                  <a:lnTo>
                    <a:pt x="3581" y="373"/>
                  </a:lnTo>
                  <a:lnTo>
                    <a:pt x="3591" y="352"/>
                  </a:lnTo>
                  <a:lnTo>
                    <a:pt x="3602" y="333"/>
                  </a:lnTo>
                  <a:lnTo>
                    <a:pt x="3605" y="325"/>
                  </a:lnTo>
                  <a:lnTo>
                    <a:pt x="3609" y="315"/>
                  </a:lnTo>
                  <a:lnTo>
                    <a:pt x="3612" y="305"/>
                  </a:lnTo>
                  <a:lnTo>
                    <a:pt x="3612" y="294"/>
                  </a:lnTo>
                  <a:lnTo>
                    <a:pt x="3610" y="284"/>
                  </a:lnTo>
                  <a:lnTo>
                    <a:pt x="3607" y="276"/>
                  </a:lnTo>
                  <a:lnTo>
                    <a:pt x="3591" y="278"/>
                  </a:lnTo>
                  <a:lnTo>
                    <a:pt x="3576" y="276"/>
                  </a:lnTo>
                  <a:lnTo>
                    <a:pt x="3562" y="275"/>
                  </a:lnTo>
                  <a:lnTo>
                    <a:pt x="3550" y="271"/>
                  </a:lnTo>
                  <a:lnTo>
                    <a:pt x="3536" y="268"/>
                  </a:lnTo>
                  <a:lnTo>
                    <a:pt x="3522" y="265"/>
                  </a:lnTo>
                  <a:lnTo>
                    <a:pt x="3507" y="263"/>
                  </a:lnTo>
                  <a:lnTo>
                    <a:pt x="3492" y="261"/>
                  </a:lnTo>
                  <a:lnTo>
                    <a:pt x="3478" y="263"/>
                  </a:lnTo>
                  <a:lnTo>
                    <a:pt x="3463" y="265"/>
                  </a:lnTo>
                  <a:lnTo>
                    <a:pt x="3463" y="281"/>
                  </a:lnTo>
                  <a:lnTo>
                    <a:pt x="3463" y="299"/>
                  </a:lnTo>
                  <a:lnTo>
                    <a:pt x="3439" y="299"/>
                  </a:lnTo>
                  <a:lnTo>
                    <a:pt x="3428" y="286"/>
                  </a:lnTo>
                  <a:lnTo>
                    <a:pt x="3419" y="271"/>
                  </a:lnTo>
                  <a:lnTo>
                    <a:pt x="3415" y="265"/>
                  </a:lnTo>
                  <a:lnTo>
                    <a:pt x="3411" y="260"/>
                  </a:lnTo>
                  <a:lnTo>
                    <a:pt x="3407" y="259"/>
                  </a:lnTo>
                  <a:lnTo>
                    <a:pt x="3404" y="258"/>
                  </a:lnTo>
                  <a:lnTo>
                    <a:pt x="3401" y="256"/>
                  </a:lnTo>
                  <a:lnTo>
                    <a:pt x="3396" y="256"/>
                  </a:lnTo>
                  <a:lnTo>
                    <a:pt x="3384" y="256"/>
                  </a:lnTo>
                  <a:lnTo>
                    <a:pt x="3373" y="259"/>
                  </a:lnTo>
                  <a:lnTo>
                    <a:pt x="3362" y="261"/>
                  </a:lnTo>
                  <a:lnTo>
                    <a:pt x="3351" y="261"/>
                  </a:lnTo>
                  <a:lnTo>
                    <a:pt x="3346" y="261"/>
                  </a:lnTo>
                  <a:lnTo>
                    <a:pt x="3341" y="260"/>
                  </a:lnTo>
                  <a:lnTo>
                    <a:pt x="3337" y="259"/>
                  </a:lnTo>
                  <a:lnTo>
                    <a:pt x="3334" y="255"/>
                  </a:lnTo>
                  <a:lnTo>
                    <a:pt x="3329" y="249"/>
                  </a:lnTo>
                  <a:lnTo>
                    <a:pt x="3325" y="240"/>
                  </a:lnTo>
                  <a:lnTo>
                    <a:pt x="3321" y="230"/>
                  </a:lnTo>
                  <a:lnTo>
                    <a:pt x="3320" y="220"/>
                  </a:lnTo>
                  <a:lnTo>
                    <a:pt x="3320" y="209"/>
                  </a:lnTo>
                  <a:lnTo>
                    <a:pt x="3319" y="198"/>
                  </a:lnTo>
                  <a:lnTo>
                    <a:pt x="3320" y="186"/>
                  </a:lnTo>
                  <a:lnTo>
                    <a:pt x="3321" y="175"/>
                  </a:lnTo>
                  <a:lnTo>
                    <a:pt x="3321" y="163"/>
                  </a:lnTo>
                  <a:lnTo>
                    <a:pt x="3322" y="150"/>
                  </a:lnTo>
                  <a:lnTo>
                    <a:pt x="3321" y="136"/>
                  </a:lnTo>
                  <a:lnTo>
                    <a:pt x="3319" y="124"/>
                  </a:lnTo>
                  <a:lnTo>
                    <a:pt x="3315" y="113"/>
                  </a:lnTo>
                  <a:lnTo>
                    <a:pt x="3310" y="101"/>
                  </a:lnTo>
                  <a:lnTo>
                    <a:pt x="3300" y="79"/>
                  </a:lnTo>
                  <a:lnTo>
                    <a:pt x="3290" y="54"/>
                  </a:lnTo>
                  <a:lnTo>
                    <a:pt x="3289" y="39"/>
                  </a:lnTo>
                  <a:lnTo>
                    <a:pt x="3288" y="23"/>
                  </a:lnTo>
                  <a:lnTo>
                    <a:pt x="3286" y="16"/>
                  </a:lnTo>
                  <a:lnTo>
                    <a:pt x="3284" y="11"/>
                  </a:lnTo>
                  <a:lnTo>
                    <a:pt x="3283" y="8"/>
                  </a:lnTo>
                  <a:lnTo>
                    <a:pt x="3280" y="7"/>
                  </a:lnTo>
                  <a:lnTo>
                    <a:pt x="3276" y="6"/>
                  </a:lnTo>
                  <a:lnTo>
                    <a:pt x="3274" y="6"/>
                  </a:lnTo>
                  <a:lnTo>
                    <a:pt x="3255" y="10"/>
                  </a:lnTo>
                  <a:lnTo>
                    <a:pt x="3238" y="15"/>
                  </a:lnTo>
                  <a:lnTo>
                    <a:pt x="3223" y="13"/>
                  </a:lnTo>
                  <a:lnTo>
                    <a:pt x="3211" y="12"/>
                  </a:lnTo>
                  <a:lnTo>
                    <a:pt x="3198" y="10"/>
                  </a:lnTo>
                  <a:lnTo>
                    <a:pt x="3186" y="7"/>
                  </a:lnTo>
                  <a:lnTo>
                    <a:pt x="3175" y="5"/>
                  </a:lnTo>
                  <a:lnTo>
                    <a:pt x="3162" y="2"/>
                  </a:lnTo>
                  <a:lnTo>
                    <a:pt x="3148" y="1"/>
                  </a:lnTo>
                  <a:lnTo>
                    <a:pt x="3134" y="0"/>
                  </a:lnTo>
                  <a:lnTo>
                    <a:pt x="3114" y="1"/>
                  </a:lnTo>
                  <a:lnTo>
                    <a:pt x="3095" y="5"/>
                  </a:lnTo>
                  <a:lnTo>
                    <a:pt x="3078" y="10"/>
                  </a:lnTo>
                  <a:lnTo>
                    <a:pt x="3062" y="16"/>
                  </a:lnTo>
                  <a:lnTo>
                    <a:pt x="3028" y="31"/>
                  </a:lnTo>
                  <a:lnTo>
                    <a:pt x="2992" y="48"/>
                  </a:lnTo>
                  <a:lnTo>
                    <a:pt x="2981" y="58"/>
                  </a:lnTo>
                  <a:lnTo>
                    <a:pt x="2968" y="65"/>
                  </a:lnTo>
                  <a:lnTo>
                    <a:pt x="2937" y="72"/>
                  </a:lnTo>
                  <a:lnTo>
                    <a:pt x="2907" y="77"/>
                  </a:lnTo>
                  <a:lnTo>
                    <a:pt x="2880" y="78"/>
                  </a:lnTo>
                  <a:lnTo>
                    <a:pt x="2853" y="78"/>
                  </a:lnTo>
                  <a:lnTo>
                    <a:pt x="2826" y="78"/>
                  </a:lnTo>
                  <a:lnTo>
                    <a:pt x="2798" y="78"/>
                  </a:lnTo>
                  <a:lnTo>
                    <a:pt x="2768" y="79"/>
                  </a:lnTo>
                  <a:lnTo>
                    <a:pt x="2736" y="83"/>
                  </a:lnTo>
                  <a:lnTo>
                    <a:pt x="2721" y="85"/>
                  </a:lnTo>
                  <a:lnTo>
                    <a:pt x="2709" y="90"/>
                  </a:lnTo>
                  <a:lnTo>
                    <a:pt x="2698" y="95"/>
                  </a:lnTo>
                  <a:lnTo>
                    <a:pt x="2686" y="101"/>
                  </a:lnTo>
                  <a:lnTo>
                    <a:pt x="2675" y="108"/>
                  </a:lnTo>
                  <a:lnTo>
                    <a:pt x="2664" y="113"/>
                  </a:lnTo>
                  <a:lnTo>
                    <a:pt x="2652" y="115"/>
                  </a:lnTo>
                  <a:lnTo>
                    <a:pt x="2637" y="116"/>
                  </a:lnTo>
                  <a:lnTo>
                    <a:pt x="2622" y="116"/>
                  </a:lnTo>
                  <a:lnTo>
                    <a:pt x="2607" y="114"/>
                  </a:lnTo>
                  <a:lnTo>
                    <a:pt x="2593" y="113"/>
                  </a:lnTo>
                  <a:lnTo>
                    <a:pt x="2577" y="111"/>
                  </a:lnTo>
                  <a:lnTo>
                    <a:pt x="2563" y="111"/>
                  </a:lnTo>
                  <a:lnTo>
                    <a:pt x="2550" y="114"/>
                  </a:lnTo>
                  <a:lnTo>
                    <a:pt x="2537" y="116"/>
                  </a:lnTo>
                  <a:lnTo>
                    <a:pt x="2525" y="119"/>
                  </a:lnTo>
                  <a:lnTo>
                    <a:pt x="2501" y="125"/>
                  </a:lnTo>
                  <a:lnTo>
                    <a:pt x="2474" y="131"/>
                  </a:lnTo>
                  <a:lnTo>
                    <a:pt x="2455" y="132"/>
                  </a:lnTo>
                  <a:lnTo>
                    <a:pt x="2439" y="134"/>
                  </a:lnTo>
                  <a:lnTo>
                    <a:pt x="2423" y="135"/>
                  </a:lnTo>
                  <a:lnTo>
                    <a:pt x="2406" y="140"/>
                  </a:lnTo>
                  <a:lnTo>
                    <a:pt x="2398" y="142"/>
                  </a:lnTo>
                  <a:lnTo>
                    <a:pt x="2391" y="147"/>
                  </a:lnTo>
                  <a:lnTo>
                    <a:pt x="2386" y="152"/>
                  </a:lnTo>
                  <a:lnTo>
                    <a:pt x="2380" y="158"/>
                  </a:lnTo>
                  <a:lnTo>
                    <a:pt x="2375" y="162"/>
                  </a:lnTo>
                  <a:lnTo>
                    <a:pt x="2368" y="167"/>
                  </a:lnTo>
                  <a:lnTo>
                    <a:pt x="2362" y="170"/>
                  </a:lnTo>
                  <a:lnTo>
                    <a:pt x="2354" y="171"/>
                  </a:lnTo>
                  <a:lnTo>
                    <a:pt x="2346" y="170"/>
                  </a:lnTo>
                  <a:lnTo>
                    <a:pt x="2339" y="168"/>
                  </a:lnTo>
                  <a:lnTo>
                    <a:pt x="2332" y="166"/>
                  </a:lnTo>
                  <a:lnTo>
                    <a:pt x="2325" y="162"/>
                  </a:lnTo>
                  <a:lnTo>
                    <a:pt x="2319" y="160"/>
                  </a:lnTo>
                  <a:lnTo>
                    <a:pt x="2313" y="156"/>
                  </a:lnTo>
                  <a:lnTo>
                    <a:pt x="2305" y="155"/>
                  </a:lnTo>
                  <a:lnTo>
                    <a:pt x="2298" y="153"/>
                  </a:lnTo>
                  <a:lnTo>
                    <a:pt x="2286" y="155"/>
                  </a:lnTo>
                  <a:lnTo>
                    <a:pt x="2278" y="156"/>
                  </a:lnTo>
                  <a:lnTo>
                    <a:pt x="2269" y="158"/>
                  </a:lnTo>
                  <a:lnTo>
                    <a:pt x="2260" y="161"/>
                  </a:lnTo>
                  <a:lnTo>
                    <a:pt x="2252" y="163"/>
                  </a:lnTo>
                  <a:lnTo>
                    <a:pt x="2243" y="166"/>
                  </a:lnTo>
                  <a:lnTo>
                    <a:pt x="2233" y="167"/>
                  </a:lnTo>
                  <a:lnTo>
                    <a:pt x="2223" y="168"/>
                  </a:lnTo>
                  <a:lnTo>
                    <a:pt x="2208" y="167"/>
                  </a:lnTo>
                  <a:lnTo>
                    <a:pt x="2195" y="165"/>
                  </a:lnTo>
                  <a:lnTo>
                    <a:pt x="2181" y="163"/>
                  </a:lnTo>
                  <a:lnTo>
                    <a:pt x="2166" y="162"/>
                  </a:lnTo>
                  <a:lnTo>
                    <a:pt x="2160" y="162"/>
                  </a:lnTo>
                  <a:lnTo>
                    <a:pt x="2154" y="163"/>
                  </a:lnTo>
                  <a:lnTo>
                    <a:pt x="2147" y="166"/>
                  </a:lnTo>
                  <a:lnTo>
                    <a:pt x="2141" y="168"/>
                  </a:lnTo>
                  <a:lnTo>
                    <a:pt x="2136" y="172"/>
                  </a:lnTo>
                  <a:lnTo>
                    <a:pt x="2132" y="176"/>
                  </a:lnTo>
                  <a:lnTo>
                    <a:pt x="2128" y="181"/>
                  </a:lnTo>
                  <a:lnTo>
                    <a:pt x="2124" y="186"/>
                  </a:lnTo>
                  <a:lnTo>
                    <a:pt x="2118" y="197"/>
                  </a:lnTo>
                  <a:lnTo>
                    <a:pt x="2113" y="211"/>
                  </a:lnTo>
                  <a:lnTo>
                    <a:pt x="2109" y="223"/>
                  </a:lnTo>
                  <a:lnTo>
                    <a:pt x="2106" y="238"/>
                  </a:lnTo>
                  <a:lnTo>
                    <a:pt x="2116" y="235"/>
                  </a:lnTo>
                  <a:lnTo>
                    <a:pt x="2125" y="234"/>
                  </a:lnTo>
                  <a:lnTo>
                    <a:pt x="2134" y="235"/>
                  </a:lnTo>
                  <a:lnTo>
                    <a:pt x="2144" y="238"/>
                  </a:lnTo>
                  <a:lnTo>
                    <a:pt x="2142" y="248"/>
                  </a:lnTo>
                  <a:lnTo>
                    <a:pt x="2141" y="258"/>
                  </a:lnTo>
                  <a:lnTo>
                    <a:pt x="2140" y="266"/>
                  </a:lnTo>
                  <a:lnTo>
                    <a:pt x="2137" y="276"/>
                  </a:lnTo>
                  <a:lnTo>
                    <a:pt x="2132" y="283"/>
                  </a:lnTo>
                  <a:lnTo>
                    <a:pt x="2126" y="289"/>
                  </a:lnTo>
                  <a:lnTo>
                    <a:pt x="2123" y="291"/>
                  </a:lnTo>
                  <a:lnTo>
                    <a:pt x="2120" y="294"/>
                  </a:lnTo>
                  <a:lnTo>
                    <a:pt x="2119" y="297"/>
                  </a:lnTo>
                  <a:lnTo>
                    <a:pt x="2118" y="301"/>
                  </a:lnTo>
                  <a:lnTo>
                    <a:pt x="2119" y="309"/>
                  </a:lnTo>
                  <a:lnTo>
                    <a:pt x="2120" y="315"/>
                  </a:lnTo>
                  <a:lnTo>
                    <a:pt x="2123" y="320"/>
                  </a:lnTo>
                  <a:lnTo>
                    <a:pt x="2126" y="323"/>
                  </a:lnTo>
                  <a:lnTo>
                    <a:pt x="2131" y="327"/>
                  </a:lnTo>
                  <a:lnTo>
                    <a:pt x="2136" y="331"/>
                  </a:lnTo>
                  <a:lnTo>
                    <a:pt x="2142" y="333"/>
                  </a:lnTo>
                  <a:lnTo>
                    <a:pt x="2149" y="336"/>
                  </a:lnTo>
                  <a:lnTo>
                    <a:pt x="2177" y="343"/>
                  </a:lnTo>
                  <a:lnTo>
                    <a:pt x="2206" y="353"/>
                  </a:lnTo>
                  <a:lnTo>
                    <a:pt x="2196" y="359"/>
                  </a:lnTo>
                  <a:lnTo>
                    <a:pt x="2186" y="366"/>
                  </a:lnTo>
                  <a:lnTo>
                    <a:pt x="2176" y="368"/>
                  </a:lnTo>
                  <a:lnTo>
                    <a:pt x="2164" y="369"/>
                  </a:lnTo>
                  <a:lnTo>
                    <a:pt x="2145" y="367"/>
                  </a:lnTo>
                  <a:lnTo>
                    <a:pt x="2126" y="364"/>
                  </a:lnTo>
                  <a:lnTo>
                    <a:pt x="2116" y="366"/>
                  </a:lnTo>
                  <a:lnTo>
                    <a:pt x="2108" y="368"/>
                  </a:lnTo>
                  <a:lnTo>
                    <a:pt x="2099" y="373"/>
                  </a:lnTo>
                  <a:lnTo>
                    <a:pt x="2093" y="378"/>
                  </a:lnTo>
                  <a:lnTo>
                    <a:pt x="2079" y="392"/>
                  </a:lnTo>
                  <a:lnTo>
                    <a:pt x="2064" y="407"/>
                  </a:lnTo>
                  <a:lnTo>
                    <a:pt x="2044" y="421"/>
                  </a:lnTo>
                  <a:lnTo>
                    <a:pt x="2027" y="435"/>
                  </a:lnTo>
                  <a:lnTo>
                    <a:pt x="2021" y="443"/>
                  </a:lnTo>
                  <a:lnTo>
                    <a:pt x="2014" y="451"/>
                  </a:lnTo>
                  <a:lnTo>
                    <a:pt x="2012" y="456"/>
                  </a:lnTo>
                  <a:lnTo>
                    <a:pt x="2011" y="461"/>
                  </a:lnTo>
                  <a:lnTo>
                    <a:pt x="2010" y="466"/>
                  </a:lnTo>
                  <a:lnTo>
                    <a:pt x="2010" y="472"/>
                  </a:lnTo>
                  <a:lnTo>
                    <a:pt x="2010" y="478"/>
                  </a:lnTo>
                  <a:lnTo>
                    <a:pt x="2011" y="485"/>
                  </a:lnTo>
                  <a:lnTo>
                    <a:pt x="2013" y="490"/>
                  </a:lnTo>
                  <a:lnTo>
                    <a:pt x="2014" y="496"/>
                  </a:lnTo>
                  <a:lnTo>
                    <a:pt x="2021" y="506"/>
                  </a:lnTo>
                  <a:lnTo>
                    <a:pt x="2027" y="514"/>
                  </a:lnTo>
                  <a:lnTo>
                    <a:pt x="2033" y="524"/>
                  </a:lnTo>
                  <a:lnTo>
                    <a:pt x="2038" y="534"/>
                  </a:lnTo>
                  <a:lnTo>
                    <a:pt x="2041" y="539"/>
                  </a:lnTo>
                  <a:lnTo>
                    <a:pt x="2042" y="545"/>
                  </a:lnTo>
                  <a:lnTo>
                    <a:pt x="2043" y="550"/>
                  </a:lnTo>
                  <a:lnTo>
                    <a:pt x="2044" y="558"/>
                  </a:lnTo>
                  <a:lnTo>
                    <a:pt x="2043" y="565"/>
                  </a:lnTo>
                  <a:lnTo>
                    <a:pt x="2039" y="573"/>
                  </a:lnTo>
                  <a:lnTo>
                    <a:pt x="2036" y="579"/>
                  </a:lnTo>
                  <a:lnTo>
                    <a:pt x="2029" y="584"/>
                  </a:lnTo>
                  <a:lnTo>
                    <a:pt x="2016" y="593"/>
                  </a:lnTo>
                  <a:lnTo>
                    <a:pt x="2000" y="600"/>
                  </a:lnTo>
                  <a:lnTo>
                    <a:pt x="1983" y="607"/>
                  </a:lnTo>
                  <a:lnTo>
                    <a:pt x="1970" y="616"/>
                  </a:lnTo>
                  <a:lnTo>
                    <a:pt x="1964" y="621"/>
                  </a:lnTo>
                  <a:lnTo>
                    <a:pt x="1960" y="627"/>
                  </a:lnTo>
                  <a:lnTo>
                    <a:pt x="1956" y="635"/>
                  </a:lnTo>
                  <a:lnTo>
                    <a:pt x="1955" y="642"/>
                  </a:lnTo>
                  <a:lnTo>
                    <a:pt x="1956" y="648"/>
                  </a:lnTo>
                  <a:lnTo>
                    <a:pt x="1957" y="653"/>
                  </a:lnTo>
                  <a:lnTo>
                    <a:pt x="1960" y="658"/>
                  </a:lnTo>
                  <a:lnTo>
                    <a:pt x="1964" y="662"/>
                  </a:lnTo>
                  <a:lnTo>
                    <a:pt x="1971" y="667"/>
                  </a:lnTo>
                  <a:lnTo>
                    <a:pt x="1982" y="671"/>
                  </a:lnTo>
                  <a:lnTo>
                    <a:pt x="1993" y="674"/>
                  </a:lnTo>
                  <a:lnTo>
                    <a:pt x="2006" y="677"/>
                  </a:lnTo>
                  <a:lnTo>
                    <a:pt x="2018" y="682"/>
                  </a:lnTo>
                  <a:lnTo>
                    <a:pt x="2029" y="688"/>
                  </a:lnTo>
                  <a:lnTo>
                    <a:pt x="2054" y="709"/>
                  </a:lnTo>
                  <a:lnTo>
                    <a:pt x="2075" y="730"/>
                  </a:lnTo>
                  <a:lnTo>
                    <a:pt x="2087" y="740"/>
                  </a:lnTo>
                  <a:lnTo>
                    <a:pt x="2099" y="748"/>
                  </a:lnTo>
                  <a:lnTo>
                    <a:pt x="2106" y="750"/>
                  </a:lnTo>
                  <a:lnTo>
                    <a:pt x="2113" y="751"/>
                  </a:lnTo>
                  <a:lnTo>
                    <a:pt x="2121" y="753"/>
                  </a:lnTo>
                  <a:lnTo>
                    <a:pt x="2129" y="754"/>
                  </a:lnTo>
                  <a:lnTo>
                    <a:pt x="2129" y="776"/>
                  </a:lnTo>
                  <a:lnTo>
                    <a:pt x="2129" y="781"/>
                  </a:lnTo>
                  <a:lnTo>
                    <a:pt x="2128" y="785"/>
                  </a:lnTo>
                  <a:lnTo>
                    <a:pt x="2125" y="789"/>
                  </a:lnTo>
                  <a:lnTo>
                    <a:pt x="2123" y="792"/>
                  </a:lnTo>
                  <a:lnTo>
                    <a:pt x="2115" y="797"/>
                  </a:lnTo>
                  <a:lnTo>
                    <a:pt x="2105" y="801"/>
                  </a:lnTo>
                  <a:lnTo>
                    <a:pt x="2084" y="805"/>
                  </a:lnTo>
                  <a:lnTo>
                    <a:pt x="2060" y="807"/>
                  </a:lnTo>
                  <a:lnTo>
                    <a:pt x="2049" y="811"/>
                  </a:lnTo>
                  <a:lnTo>
                    <a:pt x="2039" y="815"/>
                  </a:lnTo>
                  <a:lnTo>
                    <a:pt x="2029" y="817"/>
                  </a:lnTo>
                  <a:lnTo>
                    <a:pt x="2018" y="820"/>
                  </a:lnTo>
                  <a:lnTo>
                    <a:pt x="2010" y="818"/>
                  </a:lnTo>
                  <a:lnTo>
                    <a:pt x="2001" y="817"/>
                  </a:lnTo>
                  <a:lnTo>
                    <a:pt x="1993" y="815"/>
                  </a:lnTo>
                  <a:lnTo>
                    <a:pt x="1986" y="811"/>
                  </a:lnTo>
                  <a:lnTo>
                    <a:pt x="1971" y="803"/>
                  </a:lnTo>
                  <a:lnTo>
                    <a:pt x="1955" y="796"/>
                  </a:lnTo>
                  <a:lnTo>
                    <a:pt x="1949" y="785"/>
                  </a:lnTo>
                  <a:lnTo>
                    <a:pt x="1940" y="775"/>
                  </a:lnTo>
                  <a:lnTo>
                    <a:pt x="1936" y="771"/>
                  </a:lnTo>
                  <a:lnTo>
                    <a:pt x="1930" y="768"/>
                  </a:lnTo>
                  <a:lnTo>
                    <a:pt x="1925" y="766"/>
                  </a:lnTo>
                  <a:lnTo>
                    <a:pt x="1919" y="765"/>
                  </a:lnTo>
                  <a:lnTo>
                    <a:pt x="1905" y="766"/>
                  </a:lnTo>
                  <a:lnTo>
                    <a:pt x="1894" y="770"/>
                  </a:lnTo>
                  <a:lnTo>
                    <a:pt x="1884" y="775"/>
                  </a:lnTo>
                  <a:lnTo>
                    <a:pt x="1874" y="781"/>
                  </a:lnTo>
                  <a:lnTo>
                    <a:pt x="1867" y="790"/>
                  </a:lnTo>
                  <a:lnTo>
                    <a:pt x="1858" y="800"/>
                  </a:lnTo>
                  <a:lnTo>
                    <a:pt x="1852" y="811"/>
                  </a:lnTo>
                  <a:lnTo>
                    <a:pt x="1844" y="822"/>
                  </a:lnTo>
                  <a:lnTo>
                    <a:pt x="1834" y="817"/>
                  </a:lnTo>
                  <a:lnTo>
                    <a:pt x="1826" y="812"/>
                  </a:lnTo>
                  <a:lnTo>
                    <a:pt x="1818" y="807"/>
                  </a:lnTo>
                  <a:lnTo>
                    <a:pt x="1811" y="801"/>
                  </a:lnTo>
                  <a:lnTo>
                    <a:pt x="1805" y="794"/>
                  </a:lnTo>
                  <a:lnTo>
                    <a:pt x="1797" y="787"/>
                  </a:lnTo>
                  <a:lnTo>
                    <a:pt x="1788" y="782"/>
                  </a:lnTo>
                  <a:lnTo>
                    <a:pt x="1779" y="776"/>
                  </a:lnTo>
                  <a:lnTo>
                    <a:pt x="1766" y="770"/>
                  </a:lnTo>
                  <a:lnTo>
                    <a:pt x="1754" y="765"/>
                  </a:lnTo>
                  <a:lnTo>
                    <a:pt x="1749" y="761"/>
                  </a:lnTo>
                  <a:lnTo>
                    <a:pt x="1745" y="756"/>
                  </a:lnTo>
                  <a:lnTo>
                    <a:pt x="1741" y="751"/>
                  </a:lnTo>
                  <a:lnTo>
                    <a:pt x="1739" y="745"/>
                  </a:lnTo>
                  <a:lnTo>
                    <a:pt x="1734" y="718"/>
                  </a:lnTo>
                  <a:lnTo>
                    <a:pt x="1731" y="693"/>
                  </a:lnTo>
                  <a:lnTo>
                    <a:pt x="1729" y="681"/>
                  </a:lnTo>
                  <a:lnTo>
                    <a:pt x="1725" y="670"/>
                  </a:lnTo>
                  <a:lnTo>
                    <a:pt x="1723" y="665"/>
                  </a:lnTo>
                  <a:lnTo>
                    <a:pt x="1719" y="660"/>
                  </a:lnTo>
                  <a:lnTo>
                    <a:pt x="1715" y="653"/>
                  </a:lnTo>
                  <a:lnTo>
                    <a:pt x="1710" y="648"/>
                  </a:lnTo>
                  <a:lnTo>
                    <a:pt x="1703" y="641"/>
                  </a:lnTo>
                  <a:lnTo>
                    <a:pt x="1695" y="636"/>
                  </a:lnTo>
                  <a:lnTo>
                    <a:pt x="1687" y="632"/>
                  </a:lnTo>
                  <a:lnTo>
                    <a:pt x="1679" y="629"/>
                  </a:lnTo>
                  <a:lnTo>
                    <a:pt x="1662" y="622"/>
                  </a:lnTo>
                  <a:lnTo>
                    <a:pt x="1642" y="615"/>
                  </a:lnTo>
                  <a:lnTo>
                    <a:pt x="1631" y="606"/>
                  </a:lnTo>
                  <a:lnTo>
                    <a:pt x="1622" y="596"/>
                  </a:lnTo>
                  <a:lnTo>
                    <a:pt x="1617" y="593"/>
                  </a:lnTo>
                  <a:lnTo>
                    <a:pt x="1612" y="589"/>
                  </a:lnTo>
                  <a:lnTo>
                    <a:pt x="1606" y="586"/>
                  </a:lnTo>
                  <a:lnTo>
                    <a:pt x="1600" y="586"/>
                  </a:lnTo>
                  <a:lnTo>
                    <a:pt x="1593" y="586"/>
                  </a:lnTo>
                  <a:lnTo>
                    <a:pt x="1590" y="589"/>
                  </a:lnTo>
                  <a:lnTo>
                    <a:pt x="1585" y="593"/>
                  </a:lnTo>
                  <a:lnTo>
                    <a:pt x="1581" y="596"/>
                  </a:lnTo>
                  <a:lnTo>
                    <a:pt x="1577" y="600"/>
                  </a:lnTo>
                  <a:lnTo>
                    <a:pt x="1572" y="603"/>
                  </a:lnTo>
                  <a:lnTo>
                    <a:pt x="1567" y="605"/>
                  </a:lnTo>
                  <a:lnTo>
                    <a:pt x="1562" y="606"/>
                  </a:lnTo>
                  <a:lnTo>
                    <a:pt x="1524" y="606"/>
                  </a:lnTo>
                  <a:lnTo>
                    <a:pt x="1492" y="605"/>
                  </a:lnTo>
                  <a:lnTo>
                    <a:pt x="1458" y="605"/>
                  </a:lnTo>
                  <a:lnTo>
                    <a:pt x="1421" y="605"/>
                  </a:lnTo>
                  <a:lnTo>
                    <a:pt x="1416" y="600"/>
                  </a:lnTo>
                  <a:lnTo>
                    <a:pt x="1410" y="595"/>
                  </a:lnTo>
                  <a:lnTo>
                    <a:pt x="1405" y="591"/>
                  </a:lnTo>
                  <a:lnTo>
                    <a:pt x="1400" y="588"/>
                  </a:lnTo>
                  <a:lnTo>
                    <a:pt x="1389" y="583"/>
                  </a:lnTo>
                  <a:lnTo>
                    <a:pt x="1376" y="580"/>
                  </a:lnTo>
                  <a:lnTo>
                    <a:pt x="1365" y="576"/>
                  </a:lnTo>
                  <a:lnTo>
                    <a:pt x="1353" y="574"/>
                  </a:lnTo>
                  <a:lnTo>
                    <a:pt x="1339" y="569"/>
                  </a:lnTo>
                  <a:lnTo>
                    <a:pt x="1326" y="563"/>
                  </a:lnTo>
                  <a:lnTo>
                    <a:pt x="1312" y="553"/>
                  </a:lnTo>
                  <a:lnTo>
                    <a:pt x="1299" y="542"/>
                  </a:lnTo>
                  <a:lnTo>
                    <a:pt x="1293" y="537"/>
                  </a:lnTo>
                  <a:lnTo>
                    <a:pt x="1285" y="533"/>
                  </a:lnTo>
                  <a:lnTo>
                    <a:pt x="1278" y="531"/>
                  </a:lnTo>
                  <a:lnTo>
                    <a:pt x="1269" y="529"/>
                  </a:lnTo>
                  <a:lnTo>
                    <a:pt x="1263" y="531"/>
                  </a:lnTo>
                  <a:lnTo>
                    <a:pt x="1258" y="533"/>
                  </a:lnTo>
                  <a:lnTo>
                    <a:pt x="1254" y="538"/>
                  </a:lnTo>
                  <a:lnTo>
                    <a:pt x="1251" y="543"/>
                  </a:lnTo>
                  <a:lnTo>
                    <a:pt x="1246" y="557"/>
                  </a:lnTo>
                  <a:lnTo>
                    <a:pt x="1238" y="569"/>
                  </a:lnTo>
                  <a:lnTo>
                    <a:pt x="1233" y="564"/>
                  </a:lnTo>
                  <a:lnTo>
                    <a:pt x="1230" y="559"/>
                  </a:lnTo>
                  <a:lnTo>
                    <a:pt x="1227" y="554"/>
                  </a:lnTo>
                  <a:lnTo>
                    <a:pt x="1225" y="548"/>
                  </a:lnTo>
                  <a:lnTo>
                    <a:pt x="1220" y="537"/>
                  </a:lnTo>
                  <a:lnTo>
                    <a:pt x="1212" y="526"/>
                  </a:lnTo>
                  <a:lnTo>
                    <a:pt x="1195" y="514"/>
                  </a:lnTo>
                  <a:lnTo>
                    <a:pt x="1179" y="503"/>
                  </a:lnTo>
                  <a:lnTo>
                    <a:pt x="1174" y="495"/>
                  </a:lnTo>
                  <a:lnTo>
                    <a:pt x="1170" y="486"/>
                  </a:lnTo>
                  <a:lnTo>
                    <a:pt x="1167" y="477"/>
                  </a:lnTo>
                  <a:lnTo>
                    <a:pt x="1165" y="469"/>
                  </a:lnTo>
                  <a:lnTo>
                    <a:pt x="1161" y="460"/>
                  </a:lnTo>
                  <a:lnTo>
                    <a:pt x="1158" y="454"/>
                  </a:lnTo>
                  <a:lnTo>
                    <a:pt x="1155" y="450"/>
                  </a:lnTo>
                  <a:lnTo>
                    <a:pt x="1153" y="447"/>
                  </a:lnTo>
                  <a:lnTo>
                    <a:pt x="1149" y="445"/>
                  </a:lnTo>
                  <a:lnTo>
                    <a:pt x="1144" y="444"/>
                  </a:lnTo>
                  <a:lnTo>
                    <a:pt x="1135" y="441"/>
                  </a:lnTo>
                  <a:lnTo>
                    <a:pt x="1126" y="441"/>
                  </a:lnTo>
                  <a:lnTo>
                    <a:pt x="1117" y="441"/>
                  </a:lnTo>
                  <a:lnTo>
                    <a:pt x="1107" y="441"/>
                  </a:lnTo>
                  <a:lnTo>
                    <a:pt x="1093" y="441"/>
                  </a:lnTo>
                  <a:lnTo>
                    <a:pt x="1081" y="443"/>
                  </a:lnTo>
                  <a:lnTo>
                    <a:pt x="1074" y="443"/>
                  </a:lnTo>
                  <a:lnTo>
                    <a:pt x="1069" y="443"/>
                  </a:lnTo>
                  <a:lnTo>
                    <a:pt x="1063" y="440"/>
                  </a:lnTo>
                  <a:lnTo>
                    <a:pt x="1058" y="435"/>
                  </a:lnTo>
                  <a:lnTo>
                    <a:pt x="1038" y="407"/>
                  </a:lnTo>
                  <a:lnTo>
                    <a:pt x="1020" y="379"/>
                  </a:lnTo>
                  <a:lnTo>
                    <a:pt x="1015" y="373"/>
                  </a:lnTo>
                  <a:lnTo>
                    <a:pt x="1008" y="367"/>
                  </a:lnTo>
                  <a:lnTo>
                    <a:pt x="1004" y="362"/>
                  </a:lnTo>
                  <a:lnTo>
                    <a:pt x="997" y="358"/>
                  </a:lnTo>
                  <a:lnTo>
                    <a:pt x="990" y="354"/>
                  </a:lnTo>
                  <a:lnTo>
                    <a:pt x="984" y="352"/>
                  </a:lnTo>
                  <a:lnTo>
                    <a:pt x="975" y="351"/>
                  </a:lnTo>
                  <a:lnTo>
                    <a:pt x="966" y="349"/>
                  </a:lnTo>
                  <a:lnTo>
                    <a:pt x="955" y="351"/>
                  </a:lnTo>
                  <a:lnTo>
                    <a:pt x="944" y="353"/>
                  </a:lnTo>
                  <a:lnTo>
                    <a:pt x="934" y="356"/>
                  </a:lnTo>
                  <a:lnTo>
                    <a:pt x="924" y="358"/>
                  </a:lnTo>
                  <a:lnTo>
                    <a:pt x="915" y="362"/>
                  </a:lnTo>
                  <a:lnTo>
                    <a:pt x="905" y="364"/>
                  </a:lnTo>
                  <a:lnTo>
                    <a:pt x="894" y="367"/>
                  </a:lnTo>
                  <a:lnTo>
                    <a:pt x="883" y="367"/>
                  </a:lnTo>
                  <a:lnTo>
                    <a:pt x="874" y="366"/>
                  </a:lnTo>
                  <a:lnTo>
                    <a:pt x="866" y="364"/>
                  </a:lnTo>
                  <a:lnTo>
                    <a:pt x="868" y="354"/>
                  </a:lnTo>
                  <a:lnTo>
                    <a:pt x="872" y="346"/>
                  </a:lnTo>
                  <a:lnTo>
                    <a:pt x="876" y="337"/>
                  </a:lnTo>
                  <a:lnTo>
                    <a:pt x="877" y="327"/>
                  </a:lnTo>
                  <a:lnTo>
                    <a:pt x="876" y="322"/>
                  </a:lnTo>
                  <a:lnTo>
                    <a:pt x="873" y="320"/>
                  </a:lnTo>
                  <a:lnTo>
                    <a:pt x="869" y="317"/>
                  </a:lnTo>
                  <a:lnTo>
                    <a:pt x="864" y="316"/>
                  </a:lnTo>
                  <a:lnTo>
                    <a:pt x="853" y="316"/>
                  </a:lnTo>
                  <a:lnTo>
                    <a:pt x="842" y="316"/>
                  </a:lnTo>
                  <a:lnTo>
                    <a:pt x="828" y="317"/>
                  </a:lnTo>
                  <a:lnTo>
                    <a:pt x="816" y="320"/>
                  </a:lnTo>
                  <a:lnTo>
                    <a:pt x="805" y="323"/>
                  </a:lnTo>
                  <a:lnTo>
                    <a:pt x="794" y="327"/>
                  </a:lnTo>
                  <a:lnTo>
                    <a:pt x="772" y="338"/>
                  </a:lnTo>
                  <a:lnTo>
                    <a:pt x="749" y="349"/>
                  </a:lnTo>
                  <a:lnTo>
                    <a:pt x="736" y="354"/>
                  </a:lnTo>
                  <a:lnTo>
                    <a:pt x="724" y="358"/>
                  </a:lnTo>
                  <a:lnTo>
                    <a:pt x="713" y="361"/>
                  </a:lnTo>
                  <a:lnTo>
                    <a:pt x="702" y="362"/>
                  </a:lnTo>
                  <a:lnTo>
                    <a:pt x="679" y="364"/>
                  </a:lnTo>
                  <a:lnTo>
                    <a:pt x="655" y="367"/>
                  </a:lnTo>
                  <a:lnTo>
                    <a:pt x="641" y="369"/>
                  </a:lnTo>
                  <a:lnTo>
                    <a:pt x="630" y="373"/>
                  </a:lnTo>
                  <a:lnTo>
                    <a:pt x="618" y="378"/>
                  </a:lnTo>
                  <a:lnTo>
                    <a:pt x="609" y="382"/>
                  </a:lnTo>
                  <a:lnTo>
                    <a:pt x="587" y="393"/>
                  </a:lnTo>
                  <a:lnTo>
                    <a:pt x="564" y="404"/>
                  </a:lnTo>
                  <a:lnTo>
                    <a:pt x="551" y="407"/>
                  </a:lnTo>
                  <a:lnTo>
                    <a:pt x="539" y="408"/>
                  </a:lnTo>
                  <a:lnTo>
                    <a:pt x="534" y="409"/>
                  </a:lnTo>
                  <a:lnTo>
                    <a:pt x="528" y="410"/>
                  </a:lnTo>
                  <a:lnTo>
                    <a:pt x="523" y="412"/>
                  </a:lnTo>
                  <a:lnTo>
                    <a:pt x="518" y="415"/>
                  </a:lnTo>
                  <a:lnTo>
                    <a:pt x="514" y="420"/>
                  </a:lnTo>
                  <a:lnTo>
                    <a:pt x="512" y="425"/>
                  </a:lnTo>
                  <a:lnTo>
                    <a:pt x="510" y="430"/>
                  </a:lnTo>
                  <a:lnTo>
                    <a:pt x="509" y="436"/>
                  </a:lnTo>
                  <a:lnTo>
                    <a:pt x="509" y="449"/>
                  </a:lnTo>
                  <a:lnTo>
                    <a:pt x="507" y="461"/>
                  </a:lnTo>
                  <a:lnTo>
                    <a:pt x="503" y="466"/>
                  </a:lnTo>
                  <a:lnTo>
                    <a:pt x="498" y="471"/>
                  </a:lnTo>
                  <a:lnTo>
                    <a:pt x="496" y="475"/>
                  </a:lnTo>
                  <a:lnTo>
                    <a:pt x="494" y="477"/>
                  </a:lnTo>
                  <a:lnTo>
                    <a:pt x="493" y="480"/>
                  </a:lnTo>
                  <a:lnTo>
                    <a:pt x="492" y="483"/>
                  </a:lnTo>
                  <a:lnTo>
                    <a:pt x="493" y="495"/>
                  </a:lnTo>
                  <a:lnTo>
                    <a:pt x="497" y="505"/>
                  </a:lnTo>
                  <a:lnTo>
                    <a:pt x="499" y="514"/>
                  </a:lnTo>
                  <a:lnTo>
                    <a:pt x="500" y="526"/>
                  </a:lnTo>
                  <a:lnTo>
                    <a:pt x="499" y="536"/>
                  </a:lnTo>
                  <a:lnTo>
                    <a:pt x="497" y="544"/>
                  </a:lnTo>
                  <a:lnTo>
                    <a:pt x="492" y="552"/>
                  </a:lnTo>
                  <a:lnTo>
                    <a:pt x="487" y="559"/>
                  </a:lnTo>
                  <a:lnTo>
                    <a:pt x="481" y="565"/>
                  </a:lnTo>
                  <a:lnTo>
                    <a:pt x="474" y="573"/>
                  </a:lnTo>
                  <a:lnTo>
                    <a:pt x="468" y="580"/>
                  </a:lnTo>
                  <a:lnTo>
                    <a:pt x="463" y="589"/>
                  </a:lnTo>
                  <a:lnTo>
                    <a:pt x="452" y="575"/>
                  </a:lnTo>
                  <a:lnTo>
                    <a:pt x="443" y="562"/>
                  </a:lnTo>
                  <a:lnTo>
                    <a:pt x="436" y="549"/>
                  </a:lnTo>
                  <a:lnTo>
                    <a:pt x="428" y="536"/>
                  </a:lnTo>
                  <a:lnTo>
                    <a:pt x="416" y="508"/>
                  </a:lnTo>
                  <a:lnTo>
                    <a:pt x="401" y="478"/>
                  </a:lnTo>
                  <a:lnTo>
                    <a:pt x="394" y="462"/>
                  </a:lnTo>
                  <a:lnTo>
                    <a:pt x="387" y="447"/>
                  </a:lnTo>
                  <a:lnTo>
                    <a:pt x="383" y="441"/>
                  </a:lnTo>
                  <a:lnTo>
                    <a:pt x="378" y="436"/>
                  </a:lnTo>
                  <a:lnTo>
                    <a:pt x="371" y="434"/>
                  </a:lnTo>
                  <a:lnTo>
                    <a:pt x="364" y="433"/>
                  </a:lnTo>
                  <a:lnTo>
                    <a:pt x="359" y="433"/>
                  </a:lnTo>
                  <a:lnTo>
                    <a:pt x="354" y="435"/>
                  </a:lnTo>
                  <a:lnTo>
                    <a:pt x="350" y="438"/>
                  </a:lnTo>
                  <a:lnTo>
                    <a:pt x="346" y="440"/>
                  </a:lnTo>
                  <a:lnTo>
                    <a:pt x="339" y="447"/>
                  </a:lnTo>
                  <a:lnTo>
                    <a:pt x="330" y="455"/>
                  </a:lnTo>
                  <a:lnTo>
                    <a:pt x="318" y="462"/>
                  </a:lnTo>
                  <a:lnTo>
                    <a:pt x="306" y="469"/>
                  </a:lnTo>
                  <a:lnTo>
                    <a:pt x="293" y="475"/>
                  </a:lnTo>
                  <a:lnTo>
                    <a:pt x="282" y="483"/>
                  </a:lnTo>
                  <a:lnTo>
                    <a:pt x="276" y="488"/>
                  </a:lnTo>
                  <a:lnTo>
                    <a:pt x="272" y="495"/>
                  </a:lnTo>
                  <a:lnTo>
                    <a:pt x="269" y="501"/>
                  </a:lnTo>
                  <a:lnTo>
                    <a:pt x="267" y="507"/>
                  </a:lnTo>
                  <a:lnTo>
                    <a:pt x="265" y="514"/>
                  </a:lnTo>
                  <a:lnTo>
                    <a:pt x="261" y="519"/>
                  </a:lnTo>
                  <a:lnTo>
                    <a:pt x="256" y="524"/>
                  </a:lnTo>
                  <a:lnTo>
                    <a:pt x="251" y="529"/>
                  </a:lnTo>
                  <a:lnTo>
                    <a:pt x="241" y="533"/>
                  </a:lnTo>
                  <a:lnTo>
                    <a:pt x="232" y="536"/>
                  </a:lnTo>
                  <a:lnTo>
                    <a:pt x="224" y="538"/>
                  </a:lnTo>
                  <a:lnTo>
                    <a:pt x="216" y="539"/>
                  </a:lnTo>
                  <a:lnTo>
                    <a:pt x="199" y="542"/>
                  </a:lnTo>
                  <a:lnTo>
                    <a:pt x="179" y="547"/>
                  </a:lnTo>
                  <a:lnTo>
                    <a:pt x="184" y="558"/>
                  </a:lnTo>
                  <a:lnTo>
                    <a:pt x="186" y="570"/>
                  </a:lnTo>
                  <a:lnTo>
                    <a:pt x="188" y="581"/>
                  </a:lnTo>
                  <a:lnTo>
                    <a:pt x="188" y="594"/>
                  </a:lnTo>
                  <a:lnTo>
                    <a:pt x="188" y="603"/>
                  </a:lnTo>
                  <a:lnTo>
                    <a:pt x="186" y="609"/>
                  </a:lnTo>
                  <a:lnTo>
                    <a:pt x="185" y="616"/>
                  </a:lnTo>
                  <a:lnTo>
                    <a:pt x="183" y="622"/>
                  </a:lnTo>
                  <a:lnTo>
                    <a:pt x="180" y="629"/>
                  </a:lnTo>
                  <a:lnTo>
                    <a:pt x="176" y="634"/>
                  </a:lnTo>
                  <a:lnTo>
                    <a:pt x="171" y="639"/>
                  </a:lnTo>
                  <a:lnTo>
                    <a:pt x="165" y="642"/>
                  </a:lnTo>
                  <a:lnTo>
                    <a:pt x="143" y="653"/>
                  </a:lnTo>
                  <a:lnTo>
                    <a:pt x="123" y="661"/>
                  </a:lnTo>
                  <a:lnTo>
                    <a:pt x="103" y="667"/>
                  </a:lnTo>
                  <a:lnTo>
                    <a:pt x="84" y="672"/>
                  </a:lnTo>
                  <a:lnTo>
                    <a:pt x="46" y="679"/>
                  </a:lnTo>
                  <a:lnTo>
                    <a:pt x="0" y="686"/>
                  </a:lnTo>
                  <a:lnTo>
                    <a:pt x="0" y="710"/>
                  </a:lnTo>
                  <a:lnTo>
                    <a:pt x="0" y="723"/>
                  </a:lnTo>
                  <a:lnTo>
                    <a:pt x="2" y="734"/>
                  </a:lnTo>
                  <a:lnTo>
                    <a:pt x="5" y="744"/>
                  </a:lnTo>
                  <a:lnTo>
                    <a:pt x="9" y="754"/>
                  </a:lnTo>
                  <a:lnTo>
                    <a:pt x="19" y="772"/>
                  </a:lnTo>
                  <a:lnTo>
                    <a:pt x="30" y="790"/>
                  </a:lnTo>
                  <a:lnTo>
                    <a:pt x="41" y="808"/>
                  </a:lnTo>
                  <a:lnTo>
                    <a:pt x="50" y="827"/>
                  </a:lnTo>
                  <a:lnTo>
                    <a:pt x="55" y="837"/>
                  </a:lnTo>
                  <a:lnTo>
                    <a:pt x="57" y="847"/>
                  </a:lnTo>
                  <a:lnTo>
                    <a:pt x="58" y="858"/>
                  </a:lnTo>
                  <a:lnTo>
                    <a:pt x="60" y="870"/>
                  </a:lnTo>
                  <a:lnTo>
                    <a:pt x="57" y="885"/>
                  </a:lnTo>
                  <a:lnTo>
                    <a:pt x="53" y="899"/>
                  </a:lnTo>
                  <a:lnTo>
                    <a:pt x="56" y="905"/>
                  </a:lnTo>
                  <a:lnTo>
                    <a:pt x="57" y="910"/>
                  </a:lnTo>
                  <a:lnTo>
                    <a:pt x="115" y="910"/>
                  </a:lnTo>
                  <a:lnTo>
                    <a:pt x="122" y="910"/>
                  </a:lnTo>
                  <a:lnTo>
                    <a:pt x="128" y="911"/>
                  </a:lnTo>
                  <a:lnTo>
                    <a:pt x="133" y="913"/>
                  </a:lnTo>
                  <a:lnTo>
                    <a:pt x="138" y="915"/>
                  </a:lnTo>
                  <a:lnTo>
                    <a:pt x="147" y="921"/>
                  </a:lnTo>
                  <a:lnTo>
                    <a:pt x="154" y="930"/>
                  </a:lnTo>
                  <a:lnTo>
                    <a:pt x="160" y="940"/>
                  </a:lnTo>
                  <a:lnTo>
                    <a:pt x="166" y="950"/>
                  </a:lnTo>
                  <a:lnTo>
                    <a:pt x="171" y="961"/>
                  </a:lnTo>
                  <a:lnTo>
                    <a:pt x="176" y="972"/>
                  </a:lnTo>
                  <a:lnTo>
                    <a:pt x="186" y="997"/>
                  </a:lnTo>
                  <a:lnTo>
                    <a:pt x="195" y="1021"/>
                  </a:lnTo>
                  <a:lnTo>
                    <a:pt x="197" y="1032"/>
                  </a:lnTo>
                  <a:lnTo>
                    <a:pt x="200" y="1044"/>
                  </a:lnTo>
                  <a:lnTo>
                    <a:pt x="201" y="1057"/>
                  </a:lnTo>
                  <a:lnTo>
                    <a:pt x="202" y="1070"/>
                  </a:lnTo>
                  <a:lnTo>
                    <a:pt x="201" y="1076"/>
                  </a:lnTo>
                  <a:lnTo>
                    <a:pt x="199" y="1083"/>
                  </a:lnTo>
                  <a:lnTo>
                    <a:pt x="195" y="1086"/>
                  </a:lnTo>
                  <a:lnTo>
                    <a:pt x="192" y="1091"/>
                  </a:lnTo>
                  <a:lnTo>
                    <a:pt x="189" y="1096"/>
                  </a:lnTo>
                  <a:lnTo>
                    <a:pt x="185" y="1100"/>
                  </a:lnTo>
                  <a:lnTo>
                    <a:pt x="183" y="1106"/>
                  </a:lnTo>
                  <a:lnTo>
                    <a:pt x="183" y="1112"/>
                  </a:lnTo>
                  <a:lnTo>
                    <a:pt x="188" y="1124"/>
                  </a:lnTo>
                  <a:lnTo>
                    <a:pt x="196" y="1135"/>
                  </a:lnTo>
                  <a:lnTo>
                    <a:pt x="199" y="1143"/>
                  </a:lnTo>
                  <a:lnTo>
                    <a:pt x="200" y="1151"/>
                  </a:lnTo>
                  <a:lnTo>
                    <a:pt x="201" y="1158"/>
                  </a:lnTo>
                  <a:lnTo>
                    <a:pt x="201" y="1166"/>
                  </a:lnTo>
                  <a:lnTo>
                    <a:pt x="200" y="1181"/>
                  </a:lnTo>
                  <a:lnTo>
                    <a:pt x="200" y="1198"/>
                  </a:lnTo>
                  <a:lnTo>
                    <a:pt x="200" y="1198"/>
                  </a:lnTo>
                  <a:close/>
                </a:path>
              </a:pathLst>
            </a:custGeom>
            <a:noFill/>
            <a:ln w="317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64" name="Freeform 181">
              <a:extLst>
                <a:ext uri="{FF2B5EF4-FFF2-40B4-BE49-F238E27FC236}">
                  <a16:creationId xmlns:a16="http://schemas.microsoft.com/office/drawing/2014/main" id="{9576A17B-30B1-44F0-9690-B877F0B54854}"/>
                </a:ext>
              </a:extLst>
            </p:cNvPr>
            <p:cNvSpPr>
              <a:spLocks/>
            </p:cNvSpPr>
            <p:nvPr/>
          </p:nvSpPr>
          <p:spPr bwMode="auto">
            <a:xfrm>
              <a:off x="8005414" y="2621326"/>
              <a:ext cx="2335080" cy="1627695"/>
            </a:xfrm>
            <a:custGeom>
              <a:avLst/>
              <a:gdLst>
                <a:gd name="T0" fmla="*/ 614 w 2602"/>
                <a:gd name="T1" fmla="*/ 86 h 1757"/>
                <a:gd name="T2" fmla="*/ 609 w 2602"/>
                <a:gd name="T3" fmla="*/ 155 h 1757"/>
                <a:gd name="T4" fmla="*/ 693 w 2602"/>
                <a:gd name="T5" fmla="*/ 41 h 1757"/>
                <a:gd name="T6" fmla="*/ 727 w 2602"/>
                <a:gd name="T7" fmla="*/ 141 h 1757"/>
                <a:gd name="T8" fmla="*/ 688 w 2602"/>
                <a:gd name="T9" fmla="*/ 217 h 1757"/>
                <a:gd name="T10" fmla="*/ 764 w 2602"/>
                <a:gd name="T11" fmla="*/ 240 h 1757"/>
                <a:gd name="T12" fmla="*/ 827 w 2602"/>
                <a:gd name="T13" fmla="*/ 142 h 1757"/>
                <a:gd name="T14" fmla="*/ 917 w 2602"/>
                <a:gd name="T15" fmla="*/ 267 h 1757"/>
                <a:gd name="T16" fmla="*/ 991 w 2602"/>
                <a:gd name="T17" fmla="*/ 428 h 1757"/>
                <a:gd name="T18" fmla="*/ 1083 w 2602"/>
                <a:gd name="T19" fmla="*/ 439 h 1757"/>
                <a:gd name="T20" fmla="*/ 1253 w 2602"/>
                <a:gd name="T21" fmla="*/ 485 h 1757"/>
                <a:gd name="T22" fmla="*/ 1421 w 2602"/>
                <a:gd name="T23" fmla="*/ 492 h 1757"/>
                <a:gd name="T24" fmla="*/ 1532 w 2602"/>
                <a:gd name="T25" fmla="*/ 596 h 1757"/>
                <a:gd name="T26" fmla="*/ 1568 w 2602"/>
                <a:gd name="T27" fmla="*/ 700 h 1757"/>
                <a:gd name="T28" fmla="*/ 1550 w 2602"/>
                <a:gd name="T29" fmla="*/ 766 h 1757"/>
                <a:gd name="T30" fmla="*/ 1558 w 2602"/>
                <a:gd name="T31" fmla="*/ 865 h 1757"/>
                <a:gd name="T32" fmla="*/ 1617 w 2602"/>
                <a:gd name="T33" fmla="*/ 910 h 1757"/>
                <a:gd name="T34" fmla="*/ 1663 w 2602"/>
                <a:gd name="T35" fmla="*/ 1010 h 1757"/>
                <a:gd name="T36" fmla="*/ 1817 w 2602"/>
                <a:gd name="T37" fmla="*/ 1041 h 1757"/>
                <a:gd name="T38" fmla="*/ 1907 w 2602"/>
                <a:gd name="T39" fmla="*/ 1001 h 1757"/>
                <a:gd name="T40" fmla="*/ 2032 w 2602"/>
                <a:gd name="T41" fmla="*/ 916 h 1757"/>
                <a:gd name="T42" fmla="*/ 2189 w 2602"/>
                <a:gd name="T43" fmla="*/ 841 h 1757"/>
                <a:gd name="T44" fmla="*/ 2312 w 2602"/>
                <a:gd name="T45" fmla="*/ 828 h 1757"/>
                <a:gd name="T46" fmla="*/ 2228 w 2602"/>
                <a:gd name="T47" fmla="*/ 908 h 1757"/>
                <a:gd name="T48" fmla="*/ 2247 w 2602"/>
                <a:gd name="T49" fmla="*/ 972 h 1757"/>
                <a:gd name="T50" fmla="*/ 2295 w 2602"/>
                <a:gd name="T51" fmla="*/ 977 h 1757"/>
                <a:gd name="T52" fmla="*/ 2404 w 2602"/>
                <a:gd name="T53" fmla="*/ 1011 h 1757"/>
                <a:gd name="T54" fmla="*/ 2477 w 2602"/>
                <a:gd name="T55" fmla="*/ 1089 h 1757"/>
                <a:gd name="T56" fmla="*/ 2594 w 2602"/>
                <a:gd name="T57" fmla="*/ 1089 h 1757"/>
                <a:gd name="T58" fmla="*/ 2559 w 2602"/>
                <a:gd name="T59" fmla="*/ 1139 h 1757"/>
                <a:gd name="T60" fmla="*/ 2479 w 2602"/>
                <a:gd name="T61" fmla="*/ 1217 h 1757"/>
                <a:gd name="T62" fmla="*/ 2411 w 2602"/>
                <a:gd name="T63" fmla="*/ 1197 h 1757"/>
                <a:gd name="T64" fmla="*/ 2334 w 2602"/>
                <a:gd name="T65" fmla="*/ 1225 h 1757"/>
                <a:gd name="T66" fmla="*/ 2257 w 2602"/>
                <a:gd name="T67" fmla="*/ 1235 h 1757"/>
                <a:gd name="T68" fmla="*/ 2186 w 2602"/>
                <a:gd name="T69" fmla="*/ 1258 h 1757"/>
                <a:gd name="T70" fmla="*/ 2180 w 2602"/>
                <a:gd name="T71" fmla="*/ 1140 h 1757"/>
                <a:gd name="T72" fmla="*/ 2140 w 2602"/>
                <a:gd name="T73" fmla="*/ 1032 h 1757"/>
                <a:gd name="T74" fmla="*/ 2042 w 2602"/>
                <a:gd name="T75" fmla="*/ 1081 h 1757"/>
                <a:gd name="T76" fmla="*/ 1948 w 2602"/>
                <a:gd name="T77" fmla="*/ 1155 h 1757"/>
                <a:gd name="T78" fmla="*/ 1846 w 2602"/>
                <a:gd name="T79" fmla="*/ 1223 h 1757"/>
                <a:gd name="T80" fmla="*/ 1758 w 2602"/>
                <a:gd name="T81" fmla="*/ 1288 h 1757"/>
                <a:gd name="T82" fmla="*/ 1671 w 2602"/>
                <a:gd name="T83" fmla="*/ 1304 h 1757"/>
                <a:gd name="T84" fmla="*/ 1691 w 2602"/>
                <a:gd name="T85" fmla="*/ 1432 h 1757"/>
                <a:gd name="T86" fmla="*/ 1738 w 2602"/>
                <a:gd name="T87" fmla="*/ 1491 h 1757"/>
                <a:gd name="T88" fmla="*/ 1756 w 2602"/>
                <a:gd name="T89" fmla="*/ 1574 h 1757"/>
                <a:gd name="T90" fmla="*/ 1668 w 2602"/>
                <a:gd name="T91" fmla="*/ 1717 h 1757"/>
                <a:gd name="T92" fmla="*/ 1553 w 2602"/>
                <a:gd name="T93" fmla="*/ 1694 h 1757"/>
                <a:gd name="T94" fmla="*/ 1542 w 2602"/>
                <a:gd name="T95" fmla="*/ 1603 h 1757"/>
                <a:gd name="T96" fmla="*/ 1270 w 2602"/>
                <a:gd name="T97" fmla="*/ 1424 h 1757"/>
                <a:gd name="T98" fmla="*/ 1082 w 2602"/>
                <a:gd name="T99" fmla="*/ 1285 h 1757"/>
                <a:gd name="T100" fmla="*/ 981 w 2602"/>
                <a:gd name="T101" fmla="*/ 1112 h 1757"/>
                <a:gd name="T102" fmla="*/ 919 w 2602"/>
                <a:gd name="T103" fmla="*/ 926 h 1757"/>
                <a:gd name="T104" fmla="*/ 791 w 2602"/>
                <a:gd name="T105" fmla="*/ 824 h 1757"/>
                <a:gd name="T106" fmla="*/ 696 w 2602"/>
                <a:gd name="T107" fmla="*/ 762 h 1757"/>
                <a:gd name="T108" fmla="*/ 677 w 2602"/>
                <a:gd name="T109" fmla="*/ 622 h 1757"/>
                <a:gd name="T110" fmla="*/ 550 w 2602"/>
                <a:gd name="T111" fmla="*/ 539 h 1757"/>
                <a:gd name="T112" fmla="*/ 436 w 2602"/>
                <a:gd name="T113" fmla="*/ 585 h 1757"/>
                <a:gd name="T114" fmla="*/ 287 w 2602"/>
                <a:gd name="T115" fmla="*/ 613 h 1757"/>
                <a:gd name="T116" fmla="*/ 229 w 2602"/>
                <a:gd name="T117" fmla="*/ 680 h 1757"/>
                <a:gd name="T118" fmla="*/ 159 w 2602"/>
                <a:gd name="T119" fmla="*/ 745 h 1757"/>
                <a:gd name="T120" fmla="*/ 38 w 2602"/>
                <a:gd name="T121" fmla="*/ 706 h 1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2" h="1757">
                  <a:moveTo>
                    <a:pt x="667" y="0"/>
                  </a:moveTo>
                  <a:lnTo>
                    <a:pt x="663" y="8"/>
                  </a:lnTo>
                  <a:lnTo>
                    <a:pt x="661" y="15"/>
                  </a:lnTo>
                  <a:lnTo>
                    <a:pt x="656" y="23"/>
                  </a:lnTo>
                  <a:lnTo>
                    <a:pt x="651" y="29"/>
                  </a:lnTo>
                  <a:lnTo>
                    <a:pt x="639" y="43"/>
                  </a:lnTo>
                  <a:lnTo>
                    <a:pt x="629" y="55"/>
                  </a:lnTo>
                  <a:lnTo>
                    <a:pt x="625" y="62"/>
                  </a:lnTo>
                  <a:lnTo>
                    <a:pt x="621" y="70"/>
                  </a:lnTo>
                  <a:lnTo>
                    <a:pt x="618" y="77"/>
                  </a:lnTo>
                  <a:lnTo>
                    <a:pt x="614" y="86"/>
                  </a:lnTo>
                  <a:lnTo>
                    <a:pt x="604" y="118"/>
                  </a:lnTo>
                  <a:lnTo>
                    <a:pt x="595" y="145"/>
                  </a:lnTo>
                  <a:lnTo>
                    <a:pt x="588" y="174"/>
                  </a:lnTo>
                  <a:lnTo>
                    <a:pt x="579" y="205"/>
                  </a:lnTo>
                  <a:lnTo>
                    <a:pt x="585" y="203"/>
                  </a:lnTo>
                  <a:lnTo>
                    <a:pt x="590" y="199"/>
                  </a:lnTo>
                  <a:lnTo>
                    <a:pt x="594" y="194"/>
                  </a:lnTo>
                  <a:lnTo>
                    <a:pt x="596" y="189"/>
                  </a:lnTo>
                  <a:lnTo>
                    <a:pt x="601" y="178"/>
                  </a:lnTo>
                  <a:lnTo>
                    <a:pt x="605" y="164"/>
                  </a:lnTo>
                  <a:lnTo>
                    <a:pt x="609" y="155"/>
                  </a:lnTo>
                  <a:lnTo>
                    <a:pt x="613" y="147"/>
                  </a:lnTo>
                  <a:lnTo>
                    <a:pt x="616" y="139"/>
                  </a:lnTo>
                  <a:lnTo>
                    <a:pt x="621" y="132"/>
                  </a:lnTo>
                  <a:lnTo>
                    <a:pt x="632" y="118"/>
                  </a:lnTo>
                  <a:lnTo>
                    <a:pt x="645" y="103"/>
                  </a:lnTo>
                  <a:lnTo>
                    <a:pt x="652" y="93"/>
                  </a:lnTo>
                  <a:lnTo>
                    <a:pt x="657" y="83"/>
                  </a:lnTo>
                  <a:lnTo>
                    <a:pt x="663" y="75"/>
                  </a:lnTo>
                  <a:lnTo>
                    <a:pt x="671" y="65"/>
                  </a:lnTo>
                  <a:lnTo>
                    <a:pt x="683" y="54"/>
                  </a:lnTo>
                  <a:lnTo>
                    <a:pt x="693" y="41"/>
                  </a:lnTo>
                  <a:lnTo>
                    <a:pt x="701" y="29"/>
                  </a:lnTo>
                  <a:lnTo>
                    <a:pt x="706" y="19"/>
                  </a:lnTo>
                  <a:lnTo>
                    <a:pt x="713" y="9"/>
                  </a:lnTo>
                  <a:lnTo>
                    <a:pt x="723" y="0"/>
                  </a:lnTo>
                  <a:lnTo>
                    <a:pt x="726" y="13"/>
                  </a:lnTo>
                  <a:lnTo>
                    <a:pt x="726" y="65"/>
                  </a:lnTo>
                  <a:lnTo>
                    <a:pt x="731" y="80"/>
                  </a:lnTo>
                  <a:lnTo>
                    <a:pt x="736" y="95"/>
                  </a:lnTo>
                  <a:lnTo>
                    <a:pt x="732" y="112"/>
                  </a:lnTo>
                  <a:lnTo>
                    <a:pt x="728" y="131"/>
                  </a:lnTo>
                  <a:lnTo>
                    <a:pt x="727" y="141"/>
                  </a:lnTo>
                  <a:lnTo>
                    <a:pt x="727" y="149"/>
                  </a:lnTo>
                  <a:lnTo>
                    <a:pt x="726" y="153"/>
                  </a:lnTo>
                  <a:lnTo>
                    <a:pt x="724" y="158"/>
                  </a:lnTo>
                  <a:lnTo>
                    <a:pt x="723" y="162"/>
                  </a:lnTo>
                  <a:lnTo>
                    <a:pt x="721" y="165"/>
                  </a:lnTo>
                  <a:lnTo>
                    <a:pt x="709" y="179"/>
                  </a:lnTo>
                  <a:lnTo>
                    <a:pt x="698" y="190"/>
                  </a:lnTo>
                  <a:lnTo>
                    <a:pt x="695" y="196"/>
                  </a:lnTo>
                  <a:lnTo>
                    <a:pt x="691" y="203"/>
                  </a:lnTo>
                  <a:lnTo>
                    <a:pt x="688" y="210"/>
                  </a:lnTo>
                  <a:lnTo>
                    <a:pt x="688" y="217"/>
                  </a:lnTo>
                  <a:lnTo>
                    <a:pt x="688" y="230"/>
                  </a:lnTo>
                  <a:lnTo>
                    <a:pt x="704" y="230"/>
                  </a:lnTo>
                  <a:lnTo>
                    <a:pt x="716" y="227"/>
                  </a:lnTo>
                  <a:lnTo>
                    <a:pt x="722" y="234"/>
                  </a:lnTo>
                  <a:lnTo>
                    <a:pt x="727" y="238"/>
                  </a:lnTo>
                  <a:lnTo>
                    <a:pt x="731" y="241"/>
                  </a:lnTo>
                  <a:lnTo>
                    <a:pt x="734" y="242"/>
                  </a:lnTo>
                  <a:lnTo>
                    <a:pt x="738" y="243"/>
                  </a:lnTo>
                  <a:lnTo>
                    <a:pt x="742" y="243"/>
                  </a:lnTo>
                  <a:lnTo>
                    <a:pt x="753" y="242"/>
                  </a:lnTo>
                  <a:lnTo>
                    <a:pt x="764" y="240"/>
                  </a:lnTo>
                  <a:lnTo>
                    <a:pt x="773" y="235"/>
                  </a:lnTo>
                  <a:lnTo>
                    <a:pt x="781" y="227"/>
                  </a:lnTo>
                  <a:lnTo>
                    <a:pt x="788" y="220"/>
                  </a:lnTo>
                  <a:lnTo>
                    <a:pt x="794" y="210"/>
                  </a:lnTo>
                  <a:lnTo>
                    <a:pt x="800" y="200"/>
                  </a:lnTo>
                  <a:lnTo>
                    <a:pt x="804" y="189"/>
                  </a:lnTo>
                  <a:lnTo>
                    <a:pt x="810" y="175"/>
                  </a:lnTo>
                  <a:lnTo>
                    <a:pt x="816" y="164"/>
                  </a:lnTo>
                  <a:lnTo>
                    <a:pt x="822" y="153"/>
                  </a:lnTo>
                  <a:lnTo>
                    <a:pt x="827" y="142"/>
                  </a:lnTo>
                  <a:lnTo>
                    <a:pt x="827" y="142"/>
                  </a:lnTo>
                  <a:lnTo>
                    <a:pt x="835" y="154"/>
                  </a:lnTo>
                  <a:lnTo>
                    <a:pt x="842" y="164"/>
                  </a:lnTo>
                  <a:lnTo>
                    <a:pt x="850" y="173"/>
                  </a:lnTo>
                  <a:lnTo>
                    <a:pt x="858" y="181"/>
                  </a:lnTo>
                  <a:lnTo>
                    <a:pt x="876" y="196"/>
                  </a:lnTo>
                  <a:lnTo>
                    <a:pt x="894" y="215"/>
                  </a:lnTo>
                  <a:lnTo>
                    <a:pt x="902" y="226"/>
                  </a:lnTo>
                  <a:lnTo>
                    <a:pt x="907" y="236"/>
                  </a:lnTo>
                  <a:lnTo>
                    <a:pt x="911" y="246"/>
                  </a:lnTo>
                  <a:lnTo>
                    <a:pt x="913" y="257"/>
                  </a:lnTo>
                  <a:lnTo>
                    <a:pt x="917" y="267"/>
                  </a:lnTo>
                  <a:lnTo>
                    <a:pt x="919" y="278"/>
                  </a:lnTo>
                  <a:lnTo>
                    <a:pt x="923" y="289"/>
                  </a:lnTo>
                  <a:lnTo>
                    <a:pt x="928" y="301"/>
                  </a:lnTo>
                  <a:lnTo>
                    <a:pt x="940" y="322"/>
                  </a:lnTo>
                  <a:lnTo>
                    <a:pt x="952" y="340"/>
                  </a:lnTo>
                  <a:lnTo>
                    <a:pt x="963" y="359"/>
                  </a:lnTo>
                  <a:lnTo>
                    <a:pt x="974" y="380"/>
                  </a:lnTo>
                  <a:lnTo>
                    <a:pt x="979" y="392"/>
                  </a:lnTo>
                  <a:lnTo>
                    <a:pt x="984" y="403"/>
                  </a:lnTo>
                  <a:lnTo>
                    <a:pt x="989" y="416"/>
                  </a:lnTo>
                  <a:lnTo>
                    <a:pt x="991" y="428"/>
                  </a:lnTo>
                  <a:lnTo>
                    <a:pt x="993" y="438"/>
                  </a:lnTo>
                  <a:lnTo>
                    <a:pt x="994" y="447"/>
                  </a:lnTo>
                  <a:lnTo>
                    <a:pt x="995" y="452"/>
                  </a:lnTo>
                  <a:lnTo>
                    <a:pt x="998" y="454"/>
                  </a:lnTo>
                  <a:lnTo>
                    <a:pt x="1001" y="457"/>
                  </a:lnTo>
                  <a:lnTo>
                    <a:pt x="1005" y="457"/>
                  </a:lnTo>
                  <a:lnTo>
                    <a:pt x="1022" y="456"/>
                  </a:lnTo>
                  <a:lnTo>
                    <a:pt x="1039" y="453"/>
                  </a:lnTo>
                  <a:lnTo>
                    <a:pt x="1055" y="449"/>
                  </a:lnTo>
                  <a:lnTo>
                    <a:pt x="1068" y="444"/>
                  </a:lnTo>
                  <a:lnTo>
                    <a:pt x="1083" y="439"/>
                  </a:lnTo>
                  <a:lnTo>
                    <a:pt x="1098" y="436"/>
                  </a:lnTo>
                  <a:lnTo>
                    <a:pt x="1114" y="433"/>
                  </a:lnTo>
                  <a:lnTo>
                    <a:pt x="1132" y="432"/>
                  </a:lnTo>
                  <a:lnTo>
                    <a:pt x="1144" y="432"/>
                  </a:lnTo>
                  <a:lnTo>
                    <a:pt x="1157" y="436"/>
                  </a:lnTo>
                  <a:lnTo>
                    <a:pt x="1166" y="439"/>
                  </a:lnTo>
                  <a:lnTo>
                    <a:pt x="1176" y="444"/>
                  </a:lnTo>
                  <a:lnTo>
                    <a:pt x="1196" y="456"/>
                  </a:lnTo>
                  <a:lnTo>
                    <a:pt x="1219" y="468"/>
                  </a:lnTo>
                  <a:lnTo>
                    <a:pt x="1237" y="477"/>
                  </a:lnTo>
                  <a:lnTo>
                    <a:pt x="1253" y="485"/>
                  </a:lnTo>
                  <a:lnTo>
                    <a:pt x="1270" y="492"/>
                  </a:lnTo>
                  <a:lnTo>
                    <a:pt x="1286" y="497"/>
                  </a:lnTo>
                  <a:lnTo>
                    <a:pt x="1303" y="500"/>
                  </a:lnTo>
                  <a:lnTo>
                    <a:pt x="1319" y="503"/>
                  </a:lnTo>
                  <a:lnTo>
                    <a:pt x="1338" y="505"/>
                  </a:lnTo>
                  <a:lnTo>
                    <a:pt x="1358" y="505"/>
                  </a:lnTo>
                  <a:lnTo>
                    <a:pt x="1373" y="505"/>
                  </a:lnTo>
                  <a:lnTo>
                    <a:pt x="1385" y="503"/>
                  </a:lnTo>
                  <a:lnTo>
                    <a:pt x="1398" y="499"/>
                  </a:lnTo>
                  <a:lnTo>
                    <a:pt x="1410" y="495"/>
                  </a:lnTo>
                  <a:lnTo>
                    <a:pt x="1421" y="492"/>
                  </a:lnTo>
                  <a:lnTo>
                    <a:pt x="1434" y="489"/>
                  </a:lnTo>
                  <a:lnTo>
                    <a:pt x="1447" y="487"/>
                  </a:lnTo>
                  <a:lnTo>
                    <a:pt x="1461" y="485"/>
                  </a:lnTo>
                  <a:lnTo>
                    <a:pt x="1506" y="485"/>
                  </a:lnTo>
                  <a:lnTo>
                    <a:pt x="1509" y="504"/>
                  </a:lnTo>
                  <a:lnTo>
                    <a:pt x="1513" y="520"/>
                  </a:lnTo>
                  <a:lnTo>
                    <a:pt x="1517" y="535"/>
                  </a:lnTo>
                  <a:lnTo>
                    <a:pt x="1520" y="550"/>
                  </a:lnTo>
                  <a:lnTo>
                    <a:pt x="1524" y="563"/>
                  </a:lnTo>
                  <a:lnTo>
                    <a:pt x="1528" y="580"/>
                  </a:lnTo>
                  <a:lnTo>
                    <a:pt x="1532" y="596"/>
                  </a:lnTo>
                  <a:lnTo>
                    <a:pt x="1534" y="613"/>
                  </a:lnTo>
                  <a:lnTo>
                    <a:pt x="1534" y="632"/>
                  </a:lnTo>
                  <a:lnTo>
                    <a:pt x="1533" y="649"/>
                  </a:lnTo>
                  <a:lnTo>
                    <a:pt x="1533" y="658"/>
                  </a:lnTo>
                  <a:lnTo>
                    <a:pt x="1534" y="665"/>
                  </a:lnTo>
                  <a:lnTo>
                    <a:pt x="1535" y="674"/>
                  </a:lnTo>
                  <a:lnTo>
                    <a:pt x="1540" y="681"/>
                  </a:lnTo>
                  <a:lnTo>
                    <a:pt x="1547" y="688"/>
                  </a:lnTo>
                  <a:lnTo>
                    <a:pt x="1553" y="692"/>
                  </a:lnTo>
                  <a:lnTo>
                    <a:pt x="1560" y="696"/>
                  </a:lnTo>
                  <a:lnTo>
                    <a:pt x="1568" y="700"/>
                  </a:lnTo>
                  <a:lnTo>
                    <a:pt x="1575" y="704"/>
                  </a:lnTo>
                  <a:lnTo>
                    <a:pt x="1580" y="707"/>
                  </a:lnTo>
                  <a:lnTo>
                    <a:pt x="1583" y="710"/>
                  </a:lnTo>
                  <a:lnTo>
                    <a:pt x="1585" y="714"/>
                  </a:lnTo>
                  <a:lnTo>
                    <a:pt x="1585" y="717"/>
                  </a:lnTo>
                  <a:lnTo>
                    <a:pt x="1586" y="721"/>
                  </a:lnTo>
                  <a:lnTo>
                    <a:pt x="1586" y="756"/>
                  </a:lnTo>
                  <a:lnTo>
                    <a:pt x="1573" y="758"/>
                  </a:lnTo>
                  <a:lnTo>
                    <a:pt x="1560" y="761"/>
                  </a:lnTo>
                  <a:lnTo>
                    <a:pt x="1555" y="763"/>
                  </a:lnTo>
                  <a:lnTo>
                    <a:pt x="1550" y="766"/>
                  </a:lnTo>
                  <a:lnTo>
                    <a:pt x="1547" y="771"/>
                  </a:lnTo>
                  <a:lnTo>
                    <a:pt x="1543" y="776"/>
                  </a:lnTo>
                  <a:lnTo>
                    <a:pt x="1539" y="787"/>
                  </a:lnTo>
                  <a:lnTo>
                    <a:pt x="1537" y="797"/>
                  </a:lnTo>
                  <a:lnTo>
                    <a:pt x="1537" y="808"/>
                  </a:lnTo>
                  <a:lnTo>
                    <a:pt x="1537" y="818"/>
                  </a:lnTo>
                  <a:lnTo>
                    <a:pt x="1537" y="828"/>
                  </a:lnTo>
                  <a:lnTo>
                    <a:pt x="1537" y="838"/>
                  </a:lnTo>
                  <a:lnTo>
                    <a:pt x="1537" y="849"/>
                  </a:lnTo>
                  <a:lnTo>
                    <a:pt x="1534" y="861"/>
                  </a:lnTo>
                  <a:lnTo>
                    <a:pt x="1558" y="865"/>
                  </a:lnTo>
                  <a:lnTo>
                    <a:pt x="1580" y="867"/>
                  </a:lnTo>
                  <a:lnTo>
                    <a:pt x="1590" y="869"/>
                  </a:lnTo>
                  <a:lnTo>
                    <a:pt x="1599" y="872"/>
                  </a:lnTo>
                  <a:lnTo>
                    <a:pt x="1604" y="875"/>
                  </a:lnTo>
                  <a:lnTo>
                    <a:pt x="1607" y="879"/>
                  </a:lnTo>
                  <a:lnTo>
                    <a:pt x="1611" y="882"/>
                  </a:lnTo>
                  <a:lnTo>
                    <a:pt x="1615" y="886"/>
                  </a:lnTo>
                  <a:lnTo>
                    <a:pt x="1617" y="892"/>
                  </a:lnTo>
                  <a:lnTo>
                    <a:pt x="1619" y="898"/>
                  </a:lnTo>
                  <a:lnTo>
                    <a:pt x="1619" y="903"/>
                  </a:lnTo>
                  <a:lnTo>
                    <a:pt x="1617" y="910"/>
                  </a:lnTo>
                  <a:lnTo>
                    <a:pt x="1615" y="922"/>
                  </a:lnTo>
                  <a:lnTo>
                    <a:pt x="1615" y="934"/>
                  </a:lnTo>
                  <a:lnTo>
                    <a:pt x="1616" y="946"/>
                  </a:lnTo>
                  <a:lnTo>
                    <a:pt x="1619" y="957"/>
                  </a:lnTo>
                  <a:lnTo>
                    <a:pt x="1622" y="967"/>
                  </a:lnTo>
                  <a:lnTo>
                    <a:pt x="1626" y="977"/>
                  </a:lnTo>
                  <a:lnTo>
                    <a:pt x="1631" y="984"/>
                  </a:lnTo>
                  <a:lnTo>
                    <a:pt x="1637" y="993"/>
                  </a:lnTo>
                  <a:lnTo>
                    <a:pt x="1645" y="1000"/>
                  </a:lnTo>
                  <a:lnTo>
                    <a:pt x="1655" y="1006"/>
                  </a:lnTo>
                  <a:lnTo>
                    <a:pt x="1663" y="1010"/>
                  </a:lnTo>
                  <a:lnTo>
                    <a:pt x="1671" y="1013"/>
                  </a:lnTo>
                  <a:lnTo>
                    <a:pt x="1679" y="1014"/>
                  </a:lnTo>
                  <a:lnTo>
                    <a:pt x="1688" y="1014"/>
                  </a:lnTo>
                  <a:lnTo>
                    <a:pt x="1706" y="1014"/>
                  </a:lnTo>
                  <a:lnTo>
                    <a:pt x="1725" y="1015"/>
                  </a:lnTo>
                  <a:lnTo>
                    <a:pt x="1743" y="1017"/>
                  </a:lnTo>
                  <a:lnTo>
                    <a:pt x="1759" y="1021"/>
                  </a:lnTo>
                  <a:lnTo>
                    <a:pt x="1774" y="1026"/>
                  </a:lnTo>
                  <a:lnTo>
                    <a:pt x="1787" y="1032"/>
                  </a:lnTo>
                  <a:lnTo>
                    <a:pt x="1802" y="1037"/>
                  </a:lnTo>
                  <a:lnTo>
                    <a:pt x="1817" y="1041"/>
                  </a:lnTo>
                  <a:lnTo>
                    <a:pt x="1832" y="1045"/>
                  </a:lnTo>
                  <a:lnTo>
                    <a:pt x="1851" y="1046"/>
                  </a:lnTo>
                  <a:lnTo>
                    <a:pt x="1860" y="1045"/>
                  </a:lnTo>
                  <a:lnTo>
                    <a:pt x="1867" y="1044"/>
                  </a:lnTo>
                  <a:lnTo>
                    <a:pt x="1873" y="1041"/>
                  </a:lnTo>
                  <a:lnTo>
                    <a:pt x="1879" y="1037"/>
                  </a:lnTo>
                  <a:lnTo>
                    <a:pt x="1884" y="1032"/>
                  </a:lnTo>
                  <a:lnTo>
                    <a:pt x="1889" y="1027"/>
                  </a:lnTo>
                  <a:lnTo>
                    <a:pt x="1894" y="1021"/>
                  </a:lnTo>
                  <a:lnTo>
                    <a:pt x="1898" y="1015"/>
                  </a:lnTo>
                  <a:lnTo>
                    <a:pt x="1907" y="1001"/>
                  </a:lnTo>
                  <a:lnTo>
                    <a:pt x="1917" y="988"/>
                  </a:lnTo>
                  <a:lnTo>
                    <a:pt x="1922" y="982"/>
                  </a:lnTo>
                  <a:lnTo>
                    <a:pt x="1927" y="975"/>
                  </a:lnTo>
                  <a:lnTo>
                    <a:pt x="1933" y="969"/>
                  </a:lnTo>
                  <a:lnTo>
                    <a:pt x="1939" y="963"/>
                  </a:lnTo>
                  <a:lnTo>
                    <a:pt x="1955" y="952"/>
                  </a:lnTo>
                  <a:lnTo>
                    <a:pt x="1970" y="943"/>
                  </a:lnTo>
                  <a:lnTo>
                    <a:pt x="1985" y="934"/>
                  </a:lnTo>
                  <a:lnTo>
                    <a:pt x="2000" y="928"/>
                  </a:lnTo>
                  <a:lnTo>
                    <a:pt x="2016" y="922"/>
                  </a:lnTo>
                  <a:lnTo>
                    <a:pt x="2032" y="916"/>
                  </a:lnTo>
                  <a:lnTo>
                    <a:pt x="2050" y="911"/>
                  </a:lnTo>
                  <a:lnTo>
                    <a:pt x="2069" y="906"/>
                  </a:lnTo>
                  <a:lnTo>
                    <a:pt x="2086" y="902"/>
                  </a:lnTo>
                  <a:lnTo>
                    <a:pt x="2098" y="895"/>
                  </a:lnTo>
                  <a:lnTo>
                    <a:pt x="2110" y="887"/>
                  </a:lnTo>
                  <a:lnTo>
                    <a:pt x="2120" y="880"/>
                  </a:lnTo>
                  <a:lnTo>
                    <a:pt x="2132" y="871"/>
                  </a:lnTo>
                  <a:lnTo>
                    <a:pt x="2143" y="864"/>
                  </a:lnTo>
                  <a:lnTo>
                    <a:pt x="2155" y="856"/>
                  </a:lnTo>
                  <a:lnTo>
                    <a:pt x="2170" y="850"/>
                  </a:lnTo>
                  <a:lnTo>
                    <a:pt x="2189" y="841"/>
                  </a:lnTo>
                  <a:lnTo>
                    <a:pt x="2205" y="834"/>
                  </a:lnTo>
                  <a:lnTo>
                    <a:pt x="2221" y="825"/>
                  </a:lnTo>
                  <a:lnTo>
                    <a:pt x="2235" y="817"/>
                  </a:lnTo>
                  <a:lnTo>
                    <a:pt x="2263" y="798"/>
                  </a:lnTo>
                  <a:lnTo>
                    <a:pt x="2298" y="778"/>
                  </a:lnTo>
                  <a:lnTo>
                    <a:pt x="2298" y="778"/>
                  </a:lnTo>
                  <a:lnTo>
                    <a:pt x="2302" y="794"/>
                  </a:lnTo>
                  <a:lnTo>
                    <a:pt x="2305" y="807"/>
                  </a:lnTo>
                  <a:lnTo>
                    <a:pt x="2308" y="814"/>
                  </a:lnTo>
                  <a:lnTo>
                    <a:pt x="2310" y="820"/>
                  </a:lnTo>
                  <a:lnTo>
                    <a:pt x="2312" y="828"/>
                  </a:lnTo>
                  <a:lnTo>
                    <a:pt x="2312" y="836"/>
                  </a:lnTo>
                  <a:lnTo>
                    <a:pt x="2312" y="840"/>
                  </a:lnTo>
                  <a:lnTo>
                    <a:pt x="2310" y="844"/>
                  </a:lnTo>
                  <a:lnTo>
                    <a:pt x="2308" y="848"/>
                  </a:lnTo>
                  <a:lnTo>
                    <a:pt x="2305" y="850"/>
                  </a:lnTo>
                  <a:lnTo>
                    <a:pt x="2299" y="854"/>
                  </a:lnTo>
                  <a:lnTo>
                    <a:pt x="2292" y="857"/>
                  </a:lnTo>
                  <a:lnTo>
                    <a:pt x="2277" y="875"/>
                  </a:lnTo>
                  <a:lnTo>
                    <a:pt x="2261" y="890"/>
                  </a:lnTo>
                  <a:lnTo>
                    <a:pt x="2243" y="898"/>
                  </a:lnTo>
                  <a:lnTo>
                    <a:pt x="2228" y="908"/>
                  </a:lnTo>
                  <a:lnTo>
                    <a:pt x="2221" y="915"/>
                  </a:lnTo>
                  <a:lnTo>
                    <a:pt x="2216" y="921"/>
                  </a:lnTo>
                  <a:lnTo>
                    <a:pt x="2213" y="928"/>
                  </a:lnTo>
                  <a:lnTo>
                    <a:pt x="2212" y="938"/>
                  </a:lnTo>
                  <a:lnTo>
                    <a:pt x="2213" y="942"/>
                  </a:lnTo>
                  <a:lnTo>
                    <a:pt x="2215" y="946"/>
                  </a:lnTo>
                  <a:lnTo>
                    <a:pt x="2217" y="948"/>
                  </a:lnTo>
                  <a:lnTo>
                    <a:pt x="2221" y="950"/>
                  </a:lnTo>
                  <a:lnTo>
                    <a:pt x="2230" y="955"/>
                  </a:lnTo>
                  <a:lnTo>
                    <a:pt x="2238" y="960"/>
                  </a:lnTo>
                  <a:lnTo>
                    <a:pt x="2247" y="972"/>
                  </a:lnTo>
                  <a:lnTo>
                    <a:pt x="2254" y="982"/>
                  </a:lnTo>
                  <a:lnTo>
                    <a:pt x="2258" y="985"/>
                  </a:lnTo>
                  <a:lnTo>
                    <a:pt x="2263" y="989"/>
                  </a:lnTo>
                  <a:lnTo>
                    <a:pt x="2268" y="991"/>
                  </a:lnTo>
                  <a:lnTo>
                    <a:pt x="2274" y="991"/>
                  </a:lnTo>
                  <a:lnTo>
                    <a:pt x="2279" y="991"/>
                  </a:lnTo>
                  <a:lnTo>
                    <a:pt x="2283" y="989"/>
                  </a:lnTo>
                  <a:lnTo>
                    <a:pt x="2287" y="986"/>
                  </a:lnTo>
                  <a:lnTo>
                    <a:pt x="2289" y="983"/>
                  </a:lnTo>
                  <a:lnTo>
                    <a:pt x="2292" y="979"/>
                  </a:lnTo>
                  <a:lnTo>
                    <a:pt x="2295" y="977"/>
                  </a:lnTo>
                  <a:lnTo>
                    <a:pt x="2299" y="974"/>
                  </a:lnTo>
                  <a:lnTo>
                    <a:pt x="2303" y="972"/>
                  </a:lnTo>
                  <a:lnTo>
                    <a:pt x="2325" y="967"/>
                  </a:lnTo>
                  <a:lnTo>
                    <a:pt x="2344" y="964"/>
                  </a:lnTo>
                  <a:lnTo>
                    <a:pt x="2364" y="963"/>
                  </a:lnTo>
                  <a:lnTo>
                    <a:pt x="2386" y="963"/>
                  </a:lnTo>
                  <a:lnTo>
                    <a:pt x="2401" y="963"/>
                  </a:lnTo>
                  <a:lnTo>
                    <a:pt x="2402" y="982"/>
                  </a:lnTo>
                  <a:lnTo>
                    <a:pt x="2401" y="1000"/>
                  </a:lnTo>
                  <a:lnTo>
                    <a:pt x="2402" y="1006"/>
                  </a:lnTo>
                  <a:lnTo>
                    <a:pt x="2404" y="1011"/>
                  </a:lnTo>
                  <a:lnTo>
                    <a:pt x="2406" y="1015"/>
                  </a:lnTo>
                  <a:lnTo>
                    <a:pt x="2408" y="1020"/>
                  </a:lnTo>
                  <a:lnTo>
                    <a:pt x="2416" y="1026"/>
                  </a:lnTo>
                  <a:lnTo>
                    <a:pt x="2425" y="1032"/>
                  </a:lnTo>
                  <a:lnTo>
                    <a:pt x="2433" y="1037"/>
                  </a:lnTo>
                  <a:lnTo>
                    <a:pt x="2443" y="1044"/>
                  </a:lnTo>
                  <a:lnTo>
                    <a:pt x="2452" y="1051"/>
                  </a:lnTo>
                  <a:lnTo>
                    <a:pt x="2459" y="1060"/>
                  </a:lnTo>
                  <a:lnTo>
                    <a:pt x="2467" y="1072"/>
                  </a:lnTo>
                  <a:lnTo>
                    <a:pt x="2473" y="1084"/>
                  </a:lnTo>
                  <a:lnTo>
                    <a:pt x="2477" y="1089"/>
                  </a:lnTo>
                  <a:lnTo>
                    <a:pt x="2482" y="1093"/>
                  </a:lnTo>
                  <a:lnTo>
                    <a:pt x="2488" y="1096"/>
                  </a:lnTo>
                  <a:lnTo>
                    <a:pt x="2494" y="1097"/>
                  </a:lnTo>
                  <a:lnTo>
                    <a:pt x="2510" y="1096"/>
                  </a:lnTo>
                  <a:lnTo>
                    <a:pt x="2524" y="1093"/>
                  </a:lnTo>
                  <a:lnTo>
                    <a:pt x="2539" y="1089"/>
                  </a:lnTo>
                  <a:lnTo>
                    <a:pt x="2555" y="1088"/>
                  </a:lnTo>
                  <a:lnTo>
                    <a:pt x="2565" y="1088"/>
                  </a:lnTo>
                  <a:lnTo>
                    <a:pt x="2574" y="1089"/>
                  </a:lnTo>
                  <a:lnTo>
                    <a:pt x="2584" y="1089"/>
                  </a:lnTo>
                  <a:lnTo>
                    <a:pt x="2594" y="1089"/>
                  </a:lnTo>
                  <a:lnTo>
                    <a:pt x="2599" y="1096"/>
                  </a:lnTo>
                  <a:lnTo>
                    <a:pt x="2602" y="1103"/>
                  </a:lnTo>
                  <a:lnTo>
                    <a:pt x="2601" y="1109"/>
                  </a:lnTo>
                  <a:lnTo>
                    <a:pt x="2600" y="1115"/>
                  </a:lnTo>
                  <a:lnTo>
                    <a:pt x="2597" y="1120"/>
                  </a:lnTo>
                  <a:lnTo>
                    <a:pt x="2594" y="1124"/>
                  </a:lnTo>
                  <a:lnTo>
                    <a:pt x="2589" y="1128"/>
                  </a:lnTo>
                  <a:lnTo>
                    <a:pt x="2584" y="1130"/>
                  </a:lnTo>
                  <a:lnTo>
                    <a:pt x="2579" y="1133"/>
                  </a:lnTo>
                  <a:lnTo>
                    <a:pt x="2572" y="1135"/>
                  </a:lnTo>
                  <a:lnTo>
                    <a:pt x="2559" y="1139"/>
                  </a:lnTo>
                  <a:lnTo>
                    <a:pt x="2545" y="1144"/>
                  </a:lnTo>
                  <a:lnTo>
                    <a:pt x="2531" y="1149"/>
                  </a:lnTo>
                  <a:lnTo>
                    <a:pt x="2519" y="1156"/>
                  </a:lnTo>
                  <a:lnTo>
                    <a:pt x="2514" y="1161"/>
                  </a:lnTo>
                  <a:lnTo>
                    <a:pt x="2510" y="1165"/>
                  </a:lnTo>
                  <a:lnTo>
                    <a:pt x="2507" y="1171"/>
                  </a:lnTo>
                  <a:lnTo>
                    <a:pt x="2503" y="1176"/>
                  </a:lnTo>
                  <a:lnTo>
                    <a:pt x="2497" y="1187"/>
                  </a:lnTo>
                  <a:lnTo>
                    <a:pt x="2492" y="1199"/>
                  </a:lnTo>
                  <a:lnTo>
                    <a:pt x="2485" y="1209"/>
                  </a:lnTo>
                  <a:lnTo>
                    <a:pt x="2479" y="1217"/>
                  </a:lnTo>
                  <a:lnTo>
                    <a:pt x="2474" y="1221"/>
                  </a:lnTo>
                  <a:lnTo>
                    <a:pt x="2471" y="1222"/>
                  </a:lnTo>
                  <a:lnTo>
                    <a:pt x="2464" y="1225"/>
                  </a:lnTo>
                  <a:lnTo>
                    <a:pt x="2458" y="1225"/>
                  </a:lnTo>
                  <a:lnTo>
                    <a:pt x="2452" y="1225"/>
                  </a:lnTo>
                  <a:lnTo>
                    <a:pt x="2447" y="1223"/>
                  </a:lnTo>
                  <a:lnTo>
                    <a:pt x="2442" y="1221"/>
                  </a:lnTo>
                  <a:lnTo>
                    <a:pt x="2437" y="1218"/>
                  </a:lnTo>
                  <a:lnTo>
                    <a:pt x="2427" y="1212"/>
                  </a:lnTo>
                  <a:lnTo>
                    <a:pt x="2420" y="1205"/>
                  </a:lnTo>
                  <a:lnTo>
                    <a:pt x="2411" y="1197"/>
                  </a:lnTo>
                  <a:lnTo>
                    <a:pt x="2402" y="1191"/>
                  </a:lnTo>
                  <a:lnTo>
                    <a:pt x="2397" y="1189"/>
                  </a:lnTo>
                  <a:lnTo>
                    <a:pt x="2392" y="1186"/>
                  </a:lnTo>
                  <a:lnTo>
                    <a:pt x="2386" y="1185"/>
                  </a:lnTo>
                  <a:lnTo>
                    <a:pt x="2380" y="1185"/>
                  </a:lnTo>
                  <a:lnTo>
                    <a:pt x="2372" y="1186"/>
                  </a:lnTo>
                  <a:lnTo>
                    <a:pt x="2365" y="1189"/>
                  </a:lnTo>
                  <a:lnTo>
                    <a:pt x="2359" y="1192"/>
                  </a:lnTo>
                  <a:lnTo>
                    <a:pt x="2353" y="1197"/>
                  </a:lnTo>
                  <a:lnTo>
                    <a:pt x="2343" y="1210"/>
                  </a:lnTo>
                  <a:lnTo>
                    <a:pt x="2334" y="1225"/>
                  </a:lnTo>
                  <a:lnTo>
                    <a:pt x="2327" y="1240"/>
                  </a:lnTo>
                  <a:lnTo>
                    <a:pt x="2317" y="1252"/>
                  </a:lnTo>
                  <a:lnTo>
                    <a:pt x="2310" y="1257"/>
                  </a:lnTo>
                  <a:lnTo>
                    <a:pt x="2304" y="1261"/>
                  </a:lnTo>
                  <a:lnTo>
                    <a:pt x="2297" y="1264"/>
                  </a:lnTo>
                  <a:lnTo>
                    <a:pt x="2289" y="1264"/>
                  </a:lnTo>
                  <a:lnTo>
                    <a:pt x="2281" y="1263"/>
                  </a:lnTo>
                  <a:lnTo>
                    <a:pt x="2274" y="1261"/>
                  </a:lnTo>
                  <a:lnTo>
                    <a:pt x="2269" y="1256"/>
                  </a:lnTo>
                  <a:lnTo>
                    <a:pt x="2266" y="1249"/>
                  </a:lnTo>
                  <a:lnTo>
                    <a:pt x="2257" y="1235"/>
                  </a:lnTo>
                  <a:lnTo>
                    <a:pt x="2250" y="1220"/>
                  </a:lnTo>
                  <a:lnTo>
                    <a:pt x="2238" y="1213"/>
                  </a:lnTo>
                  <a:lnTo>
                    <a:pt x="2237" y="1222"/>
                  </a:lnTo>
                  <a:lnTo>
                    <a:pt x="2235" y="1231"/>
                  </a:lnTo>
                  <a:lnTo>
                    <a:pt x="2230" y="1238"/>
                  </a:lnTo>
                  <a:lnTo>
                    <a:pt x="2225" y="1246"/>
                  </a:lnTo>
                  <a:lnTo>
                    <a:pt x="2217" y="1251"/>
                  </a:lnTo>
                  <a:lnTo>
                    <a:pt x="2210" y="1256"/>
                  </a:lnTo>
                  <a:lnTo>
                    <a:pt x="2201" y="1258"/>
                  </a:lnTo>
                  <a:lnTo>
                    <a:pt x="2192" y="1259"/>
                  </a:lnTo>
                  <a:lnTo>
                    <a:pt x="2186" y="1258"/>
                  </a:lnTo>
                  <a:lnTo>
                    <a:pt x="2181" y="1257"/>
                  </a:lnTo>
                  <a:lnTo>
                    <a:pt x="2176" y="1256"/>
                  </a:lnTo>
                  <a:lnTo>
                    <a:pt x="2171" y="1253"/>
                  </a:lnTo>
                  <a:lnTo>
                    <a:pt x="2164" y="1247"/>
                  </a:lnTo>
                  <a:lnTo>
                    <a:pt x="2156" y="1238"/>
                  </a:lnTo>
                  <a:lnTo>
                    <a:pt x="2144" y="1218"/>
                  </a:lnTo>
                  <a:lnTo>
                    <a:pt x="2129" y="1200"/>
                  </a:lnTo>
                  <a:lnTo>
                    <a:pt x="2129" y="1200"/>
                  </a:lnTo>
                  <a:lnTo>
                    <a:pt x="2150" y="1173"/>
                  </a:lnTo>
                  <a:lnTo>
                    <a:pt x="2171" y="1151"/>
                  </a:lnTo>
                  <a:lnTo>
                    <a:pt x="2180" y="1140"/>
                  </a:lnTo>
                  <a:lnTo>
                    <a:pt x="2186" y="1128"/>
                  </a:lnTo>
                  <a:lnTo>
                    <a:pt x="2189" y="1120"/>
                  </a:lnTo>
                  <a:lnTo>
                    <a:pt x="2191" y="1113"/>
                  </a:lnTo>
                  <a:lnTo>
                    <a:pt x="2192" y="1106"/>
                  </a:lnTo>
                  <a:lnTo>
                    <a:pt x="2192" y="1097"/>
                  </a:lnTo>
                  <a:lnTo>
                    <a:pt x="2191" y="1077"/>
                  </a:lnTo>
                  <a:lnTo>
                    <a:pt x="2187" y="1060"/>
                  </a:lnTo>
                  <a:lnTo>
                    <a:pt x="2185" y="1042"/>
                  </a:lnTo>
                  <a:lnTo>
                    <a:pt x="2184" y="1022"/>
                  </a:lnTo>
                  <a:lnTo>
                    <a:pt x="2150" y="1020"/>
                  </a:lnTo>
                  <a:lnTo>
                    <a:pt x="2140" y="1032"/>
                  </a:lnTo>
                  <a:lnTo>
                    <a:pt x="2130" y="1045"/>
                  </a:lnTo>
                  <a:lnTo>
                    <a:pt x="2120" y="1055"/>
                  </a:lnTo>
                  <a:lnTo>
                    <a:pt x="2109" y="1065"/>
                  </a:lnTo>
                  <a:lnTo>
                    <a:pt x="2098" y="1072"/>
                  </a:lnTo>
                  <a:lnTo>
                    <a:pt x="2086" y="1078"/>
                  </a:lnTo>
                  <a:lnTo>
                    <a:pt x="2078" y="1079"/>
                  </a:lnTo>
                  <a:lnTo>
                    <a:pt x="2071" y="1082"/>
                  </a:lnTo>
                  <a:lnTo>
                    <a:pt x="2063" y="1082"/>
                  </a:lnTo>
                  <a:lnTo>
                    <a:pt x="2056" y="1083"/>
                  </a:lnTo>
                  <a:lnTo>
                    <a:pt x="2048" y="1082"/>
                  </a:lnTo>
                  <a:lnTo>
                    <a:pt x="2042" y="1081"/>
                  </a:lnTo>
                  <a:lnTo>
                    <a:pt x="2036" y="1078"/>
                  </a:lnTo>
                  <a:lnTo>
                    <a:pt x="2030" y="1076"/>
                  </a:lnTo>
                  <a:lnTo>
                    <a:pt x="2023" y="1073"/>
                  </a:lnTo>
                  <a:lnTo>
                    <a:pt x="2017" y="1071"/>
                  </a:lnTo>
                  <a:lnTo>
                    <a:pt x="2011" y="1070"/>
                  </a:lnTo>
                  <a:lnTo>
                    <a:pt x="2004" y="1068"/>
                  </a:lnTo>
                  <a:lnTo>
                    <a:pt x="1959" y="1068"/>
                  </a:lnTo>
                  <a:lnTo>
                    <a:pt x="1956" y="1101"/>
                  </a:lnTo>
                  <a:lnTo>
                    <a:pt x="1954" y="1129"/>
                  </a:lnTo>
                  <a:lnTo>
                    <a:pt x="1953" y="1143"/>
                  </a:lnTo>
                  <a:lnTo>
                    <a:pt x="1948" y="1155"/>
                  </a:lnTo>
                  <a:lnTo>
                    <a:pt x="1945" y="1161"/>
                  </a:lnTo>
                  <a:lnTo>
                    <a:pt x="1940" y="1168"/>
                  </a:lnTo>
                  <a:lnTo>
                    <a:pt x="1937" y="1174"/>
                  </a:lnTo>
                  <a:lnTo>
                    <a:pt x="1930" y="1179"/>
                  </a:lnTo>
                  <a:lnTo>
                    <a:pt x="1914" y="1187"/>
                  </a:lnTo>
                  <a:lnTo>
                    <a:pt x="1897" y="1194"/>
                  </a:lnTo>
                  <a:lnTo>
                    <a:pt x="1879" y="1201"/>
                  </a:lnTo>
                  <a:lnTo>
                    <a:pt x="1866" y="1209"/>
                  </a:lnTo>
                  <a:lnTo>
                    <a:pt x="1858" y="1213"/>
                  </a:lnTo>
                  <a:lnTo>
                    <a:pt x="1852" y="1217"/>
                  </a:lnTo>
                  <a:lnTo>
                    <a:pt x="1846" y="1223"/>
                  </a:lnTo>
                  <a:lnTo>
                    <a:pt x="1840" y="1231"/>
                  </a:lnTo>
                  <a:lnTo>
                    <a:pt x="1826" y="1251"/>
                  </a:lnTo>
                  <a:lnTo>
                    <a:pt x="1814" y="1271"/>
                  </a:lnTo>
                  <a:lnTo>
                    <a:pt x="1807" y="1278"/>
                  </a:lnTo>
                  <a:lnTo>
                    <a:pt x="1799" y="1284"/>
                  </a:lnTo>
                  <a:lnTo>
                    <a:pt x="1795" y="1287"/>
                  </a:lnTo>
                  <a:lnTo>
                    <a:pt x="1790" y="1289"/>
                  </a:lnTo>
                  <a:lnTo>
                    <a:pt x="1784" y="1290"/>
                  </a:lnTo>
                  <a:lnTo>
                    <a:pt x="1778" y="1290"/>
                  </a:lnTo>
                  <a:lnTo>
                    <a:pt x="1768" y="1289"/>
                  </a:lnTo>
                  <a:lnTo>
                    <a:pt x="1758" y="1288"/>
                  </a:lnTo>
                  <a:lnTo>
                    <a:pt x="1748" y="1287"/>
                  </a:lnTo>
                  <a:lnTo>
                    <a:pt x="1739" y="1284"/>
                  </a:lnTo>
                  <a:lnTo>
                    <a:pt x="1730" y="1283"/>
                  </a:lnTo>
                  <a:lnTo>
                    <a:pt x="1722" y="1280"/>
                  </a:lnTo>
                  <a:lnTo>
                    <a:pt x="1712" y="1279"/>
                  </a:lnTo>
                  <a:lnTo>
                    <a:pt x="1701" y="1279"/>
                  </a:lnTo>
                  <a:lnTo>
                    <a:pt x="1694" y="1279"/>
                  </a:lnTo>
                  <a:lnTo>
                    <a:pt x="1688" y="1283"/>
                  </a:lnTo>
                  <a:lnTo>
                    <a:pt x="1682" y="1287"/>
                  </a:lnTo>
                  <a:lnTo>
                    <a:pt x="1678" y="1292"/>
                  </a:lnTo>
                  <a:lnTo>
                    <a:pt x="1671" y="1304"/>
                  </a:lnTo>
                  <a:lnTo>
                    <a:pt x="1663" y="1319"/>
                  </a:lnTo>
                  <a:lnTo>
                    <a:pt x="1651" y="1338"/>
                  </a:lnTo>
                  <a:lnTo>
                    <a:pt x="1641" y="1354"/>
                  </a:lnTo>
                  <a:lnTo>
                    <a:pt x="1636" y="1361"/>
                  </a:lnTo>
                  <a:lnTo>
                    <a:pt x="1631" y="1370"/>
                  </a:lnTo>
                  <a:lnTo>
                    <a:pt x="1627" y="1380"/>
                  </a:lnTo>
                  <a:lnTo>
                    <a:pt x="1622" y="1390"/>
                  </a:lnTo>
                  <a:lnTo>
                    <a:pt x="1641" y="1401"/>
                  </a:lnTo>
                  <a:lnTo>
                    <a:pt x="1657" y="1412"/>
                  </a:lnTo>
                  <a:lnTo>
                    <a:pt x="1672" y="1423"/>
                  </a:lnTo>
                  <a:lnTo>
                    <a:pt x="1691" y="1432"/>
                  </a:lnTo>
                  <a:lnTo>
                    <a:pt x="1701" y="1436"/>
                  </a:lnTo>
                  <a:lnTo>
                    <a:pt x="1710" y="1437"/>
                  </a:lnTo>
                  <a:lnTo>
                    <a:pt x="1714" y="1437"/>
                  </a:lnTo>
                  <a:lnTo>
                    <a:pt x="1718" y="1438"/>
                  </a:lnTo>
                  <a:lnTo>
                    <a:pt x="1722" y="1440"/>
                  </a:lnTo>
                  <a:lnTo>
                    <a:pt x="1725" y="1444"/>
                  </a:lnTo>
                  <a:lnTo>
                    <a:pt x="1730" y="1450"/>
                  </a:lnTo>
                  <a:lnTo>
                    <a:pt x="1734" y="1458"/>
                  </a:lnTo>
                  <a:lnTo>
                    <a:pt x="1737" y="1467"/>
                  </a:lnTo>
                  <a:lnTo>
                    <a:pt x="1738" y="1474"/>
                  </a:lnTo>
                  <a:lnTo>
                    <a:pt x="1738" y="1491"/>
                  </a:lnTo>
                  <a:lnTo>
                    <a:pt x="1738" y="1507"/>
                  </a:lnTo>
                  <a:lnTo>
                    <a:pt x="1738" y="1515"/>
                  </a:lnTo>
                  <a:lnTo>
                    <a:pt x="1739" y="1524"/>
                  </a:lnTo>
                  <a:lnTo>
                    <a:pt x="1740" y="1531"/>
                  </a:lnTo>
                  <a:lnTo>
                    <a:pt x="1742" y="1538"/>
                  </a:lnTo>
                  <a:lnTo>
                    <a:pt x="1745" y="1545"/>
                  </a:lnTo>
                  <a:lnTo>
                    <a:pt x="1749" y="1551"/>
                  </a:lnTo>
                  <a:lnTo>
                    <a:pt x="1755" y="1556"/>
                  </a:lnTo>
                  <a:lnTo>
                    <a:pt x="1763" y="1561"/>
                  </a:lnTo>
                  <a:lnTo>
                    <a:pt x="1760" y="1568"/>
                  </a:lnTo>
                  <a:lnTo>
                    <a:pt x="1756" y="1574"/>
                  </a:lnTo>
                  <a:lnTo>
                    <a:pt x="1751" y="1579"/>
                  </a:lnTo>
                  <a:lnTo>
                    <a:pt x="1747" y="1586"/>
                  </a:lnTo>
                  <a:lnTo>
                    <a:pt x="1742" y="1591"/>
                  </a:lnTo>
                  <a:lnTo>
                    <a:pt x="1737" y="1596"/>
                  </a:lnTo>
                  <a:lnTo>
                    <a:pt x="1732" y="1602"/>
                  </a:lnTo>
                  <a:lnTo>
                    <a:pt x="1728" y="1609"/>
                  </a:lnTo>
                  <a:lnTo>
                    <a:pt x="1718" y="1630"/>
                  </a:lnTo>
                  <a:lnTo>
                    <a:pt x="1708" y="1649"/>
                  </a:lnTo>
                  <a:lnTo>
                    <a:pt x="1698" y="1666"/>
                  </a:lnTo>
                  <a:lnTo>
                    <a:pt x="1688" y="1684"/>
                  </a:lnTo>
                  <a:lnTo>
                    <a:pt x="1668" y="1717"/>
                  </a:lnTo>
                  <a:lnTo>
                    <a:pt x="1646" y="1757"/>
                  </a:lnTo>
                  <a:lnTo>
                    <a:pt x="1646" y="1757"/>
                  </a:lnTo>
                  <a:lnTo>
                    <a:pt x="1617" y="1753"/>
                  </a:lnTo>
                  <a:lnTo>
                    <a:pt x="1592" y="1748"/>
                  </a:lnTo>
                  <a:lnTo>
                    <a:pt x="1568" y="1742"/>
                  </a:lnTo>
                  <a:lnTo>
                    <a:pt x="1540" y="1734"/>
                  </a:lnTo>
                  <a:lnTo>
                    <a:pt x="1540" y="1734"/>
                  </a:lnTo>
                  <a:lnTo>
                    <a:pt x="1543" y="1723"/>
                  </a:lnTo>
                  <a:lnTo>
                    <a:pt x="1545" y="1712"/>
                  </a:lnTo>
                  <a:lnTo>
                    <a:pt x="1549" y="1702"/>
                  </a:lnTo>
                  <a:lnTo>
                    <a:pt x="1553" y="1694"/>
                  </a:lnTo>
                  <a:lnTo>
                    <a:pt x="1556" y="1684"/>
                  </a:lnTo>
                  <a:lnTo>
                    <a:pt x="1560" y="1674"/>
                  </a:lnTo>
                  <a:lnTo>
                    <a:pt x="1563" y="1664"/>
                  </a:lnTo>
                  <a:lnTo>
                    <a:pt x="1563" y="1651"/>
                  </a:lnTo>
                  <a:lnTo>
                    <a:pt x="1563" y="1643"/>
                  </a:lnTo>
                  <a:lnTo>
                    <a:pt x="1561" y="1635"/>
                  </a:lnTo>
                  <a:lnTo>
                    <a:pt x="1559" y="1628"/>
                  </a:lnTo>
                  <a:lnTo>
                    <a:pt x="1555" y="1620"/>
                  </a:lnTo>
                  <a:lnTo>
                    <a:pt x="1552" y="1614"/>
                  </a:lnTo>
                  <a:lnTo>
                    <a:pt x="1547" y="1609"/>
                  </a:lnTo>
                  <a:lnTo>
                    <a:pt x="1542" y="1603"/>
                  </a:lnTo>
                  <a:lnTo>
                    <a:pt x="1535" y="1598"/>
                  </a:lnTo>
                  <a:lnTo>
                    <a:pt x="1509" y="1579"/>
                  </a:lnTo>
                  <a:lnTo>
                    <a:pt x="1481" y="1561"/>
                  </a:lnTo>
                  <a:lnTo>
                    <a:pt x="1457" y="1543"/>
                  </a:lnTo>
                  <a:lnTo>
                    <a:pt x="1435" y="1529"/>
                  </a:lnTo>
                  <a:lnTo>
                    <a:pt x="1414" y="1516"/>
                  </a:lnTo>
                  <a:lnTo>
                    <a:pt x="1394" y="1504"/>
                  </a:lnTo>
                  <a:lnTo>
                    <a:pt x="1352" y="1479"/>
                  </a:lnTo>
                  <a:lnTo>
                    <a:pt x="1304" y="1449"/>
                  </a:lnTo>
                  <a:lnTo>
                    <a:pt x="1286" y="1437"/>
                  </a:lnTo>
                  <a:lnTo>
                    <a:pt x="1270" y="1424"/>
                  </a:lnTo>
                  <a:lnTo>
                    <a:pt x="1256" y="1411"/>
                  </a:lnTo>
                  <a:lnTo>
                    <a:pt x="1241" y="1398"/>
                  </a:lnTo>
                  <a:lnTo>
                    <a:pt x="1227" y="1387"/>
                  </a:lnTo>
                  <a:lnTo>
                    <a:pt x="1212" y="1375"/>
                  </a:lnTo>
                  <a:lnTo>
                    <a:pt x="1195" y="1364"/>
                  </a:lnTo>
                  <a:lnTo>
                    <a:pt x="1176" y="1352"/>
                  </a:lnTo>
                  <a:lnTo>
                    <a:pt x="1153" y="1341"/>
                  </a:lnTo>
                  <a:lnTo>
                    <a:pt x="1133" y="1329"/>
                  </a:lnTo>
                  <a:lnTo>
                    <a:pt x="1114" y="1315"/>
                  </a:lnTo>
                  <a:lnTo>
                    <a:pt x="1097" y="1302"/>
                  </a:lnTo>
                  <a:lnTo>
                    <a:pt x="1082" y="1285"/>
                  </a:lnTo>
                  <a:lnTo>
                    <a:pt x="1067" y="1268"/>
                  </a:lnTo>
                  <a:lnTo>
                    <a:pt x="1053" y="1249"/>
                  </a:lnTo>
                  <a:lnTo>
                    <a:pt x="1040" y="1227"/>
                  </a:lnTo>
                  <a:lnTo>
                    <a:pt x="1024" y="1207"/>
                  </a:lnTo>
                  <a:lnTo>
                    <a:pt x="1008" y="1190"/>
                  </a:lnTo>
                  <a:lnTo>
                    <a:pt x="1001" y="1181"/>
                  </a:lnTo>
                  <a:lnTo>
                    <a:pt x="994" y="1171"/>
                  </a:lnTo>
                  <a:lnTo>
                    <a:pt x="989" y="1161"/>
                  </a:lnTo>
                  <a:lnTo>
                    <a:pt x="985" y="1148"/>
                  </a:lnTo>
                  <a:lnTo>
                    <a:pt x="983" y="1129"/>
                  </a:lnTo>
                  <a:lnTo>
                    <a:pt x="981" y="1112"/>
                  </a:lnTo>
                  <a:lnTo>
                    <a:pt x="981" y="1103"/>
                  </a:lnTo>
                  <a:lnTo>
                    <a:pt x="980" y="1094"/>
                  </a:lnTo>
                  <a:lnTo>
                    <a:pt x="978" y="1086"/>
                  </a:lnTo>
                  <a:lnTo>
                    <a:pt x="974" y="1077"/>
                  </a:lnTo>
                  <a:lnTo>
                    <a:pt x="958" y="1041"/>
                  </a:lnTo>
                  <a:lnTo>
                    <a:pt x="944" y="1009"/>
                  </a:lnTo>
                  <a:lnTo>
                    <a:pt x="938" y="993"/>
                  </a:lnTo>
                  <a:lnTo>
                    <a:pt x="933" y="975"/>
                  </a:lnTo>
                  <a:lnTo>
                    <a:pt x="928" y="958"/>
                  </a:lnTo>
                  <a:lnTo>
                    <a:pt x="923" y="938"/>
                  </a:lnTo>
                  <a:lnTo>
                    <a:pt x="919" y="926"/>
                  </a:lnTo>
                  <a:lnTo>
                    <a:pt x="914" y="915"/>
                  </a:lnTo>
                  <a:lnTo>
                    <a:pt x="909" y="905"/>
                  </a:lnTo>
                  <a:lnTo>
                    <a:pt x="904" y="895"/>
                  </a:lnTo>
                  <a:lnTo>
                    <a:pt x="898" y="886"/>
                  </a:lnTo>
                  <a:lnTo>
                    <a:pt x="891" y="879"/>
                  </a:lnTo>
                  <a:lnTo>
                    <a:pt x="883" y="871"/>
                  </a:lnTo>
                  <a:lnTo>
                    <a:pt x="875" y="864"/>
                  </a:lnTo>
                  <a:lnTo>
                    <a:pt x="857" y="851"/>
                  </a:lnTo>
                  <a:lnTo>
                    <a:pt x="837" y="841"/>
                  </a:lnTo>
                  <a:lnTo>
                    <a:pt x="815" y="833"/>
                  </a:lnTo>
                  <a:lnTo>
                    <a:pt x="791" y="824"/>
                  </a:lnTo>
                  <a:lnTo>
                    <a:pt x="775" y="819"/>
                  </a:lnTo>
                  <a:lnTo>
                    <a:pt x="758" y="814"/>
                  </a:lnTo>
                  <a:lnTo>
                    <a:pt x="742" y="808"/>
                  </a:lnTo>
                  <a:lnTo>
                    <a:pt x="727" y="800"/>
                  </a:lnTo>
                  <a:lnTo>
                    <a:pt x="719" y="797"/>
                  </a:lnTo>
                  <a:lnTo>
                    <a:pt x="714" y="793"/>
                  </a:lnTo>
                  <a:lnTo>
                    <a:pt x="708" y="788"/>
                  </a:lnTo>
                  <a:lnTo>
                    <a:pt x="703" y="782"/>
                  </a:lnTo>
                  <a:lnTo>
                    <a:pt x="700" y="777"/>
                  </a:lnTo>
                  <a:lnTo>
                    <a:pt x="697" y="769"/>
                  </a:lnTo>
                  <a:lnTo>
                    <a:pt x="696" y="762"/>
                  </a:lnTo>
                  <a:lnTo>
                    <a:pt x="695" y="753"/>
                  </a:lnTo>
                  <a:lnTo>
                    <a:pt x="695" y="692"/>
                  </a:lnTo>
                  <a:lnTo>
                    <a:pt x="698" y="678"/>
                  </a:lnTo>
                  <a:lnTo>
                    <a:pt x="701" y="663"/>
                  </a:lnTo>
                  <a:lnTo>
                    <a:pt x="700" y="655"/>
                  </a:lnTo>
                  <a:lnTo>
                    <a:pt x="698" y="648"/>
                  </a:lnTo>
                  <a:lnTo>
                    <a:pt x="696" y="642"/>
                  </a:lnTo>
                  <a:lnTo>
                    <a:pt x="692" y="637"/>
                  </a:lnTo>
                  <a:lnTo>
                    <a:pt x="688" y="632"/>
                  </a:lnTo>
                  <a:lnTo>
                    <a:pt x="683" y="627"/>
                  </a:lnTo>
                  <a:lnTo>
                    <a:pt x="677" y="622"/>
                  </a:lnTo>
                  <a:lnTo>
                    <a:pt x="671" y="618"/>
                  </a:lnTo>
                  <a:lnTo>
                    <a:pt x="642" y="604"/>
                  </a:lnTo>
                  <a:lnTo>
                    <a:pt x="613" y="591"/>
                  </a:lnTo>
                  <a:lnTo>
                    <a:pt x="601" y="583"/>
                  </a:lnTo>
                  <a:lnTo>
                    <a:pt x="593" y="576"/>
                  </a:lnTo>
                  <a:lnTo>
                    <a:pt x="585" y="566"/>
                  </a:lnTo>
                  <a:lnTo>
                    <a:pt x="577" y="557"/>
                  </a:lnTo>
                  <a:lnTo>
                    <a:pt x="569" y="550"/>
                  </a:lnTo>
                  <a:lnTo>
                    <a:pt x="560" y="542"/>
                  </a:lnTo>
                  <a:lnTo>
                    <a:pt x="555" y="540"/>
                  </a:lnTo>
                  <a:lnTo>
                    <a:pt x="550" y="539"/>
                  </a:lnTo>
                  <a:lnTo>
                    <a:pt x="544" y="537"/>
                  </a:lnTo>
                  <a:lnTo>
                    <a:pt x="538" y="536"/>
                  </a:lnTo>
                  <a:lnTo>
                    <a:pt x="523" y="537"/>
                  </a:lnTo>
                  <a:lnTo>
                    <a:pt x="509" y="540"/>
                  </a:lnTo>
                  <a:lnTo>
                    <a:pt x="497" y="542"/>
                  </a:lnTo>
                  <a:lnTo>
                    <a:pt x="485" y="547"/>
                  </a:lnTo>
                  <a:lnTo>
                    <a:pt x="473" y="555"/>
                  </a:lnTo>
                  <a:lnTo>
                    <a:pt x="464" y="562"/>
                  </a:lnTo>
                  <a:lnTo>
                    <a:pt x="455" y="573"/>
                  </a:lnTo>
                  <a:lnTo>
                    <a:pt x="447" y="585"/>
                  </a:lnTo>
                  <a:lnTo>
                    <a:pt x="436" y="585"/>
                  </a:lnTo>
                  <a:lnTo>
                    <a:pt x="426" y="583"/>
                  </a:lnTo>
                  <a:lnTo>
                    <a:pt x="416" y="582"/>
                  </a:lnTo>
                  <a:lnTo>
                    <a:pt x="405" y="582"/>
                  </a:lnTo>
                  <a:lnTo>
                    <a:pt x="389" y="583"/>
                  </a:lnTo>
                  <a:lnTo>
                    <a:pt x="374" y="587"/>
                  </a:lnTo>
                  <a:lnTo>
                    <a:pt x="359" y="592"/>
                  </a:lnTo>
                  <a:lnTo>
                    <a:pt x="347" y="598"/>
                  </a:lnTo>
                  <a:lnTo>
                    <a:pt x="333" y="603"/>
                  </a:lnTo>
                  <a:lnTo>
                    <a:pt x="319" y="608"/>
                  </a:lnTo>
                  <a:lnTo>
                    <a:pt x="305" y="612"/>
                  </a:lnTo>
                  <a:lnTo>
                    <a:pt x="287" y="613"/>
                  </a:lnTo>
                  <a:lnTo>
                    <a:pt x="280" y="611"/>
                  </a:lnTo>
                  <a:lnTo>
                    <a:pt x="271" y="608"/>
                  </a:lnTo>
                  <a:lnTo>
                    <a:pt x="266" y="608"/>
                  </a:lnTo>
                  <a:lnTo>
                    <a:pt x="262" y="609"/>
                  </a:lnTo>
                  <a:lnTo>
                    <a:pt x="259" y="611"/>
                  </a:lnTo>
                  <a:lnTo>
                    <a:pt x="255" y="613"/>
                  </a:lnTo>
                  <a:lnTo>
                    <a:pt x="249" y="619"/>
                  </a:lnTo>
                  <a:lnTo>
                    <a:pt x="245" y="627"/>
                  </a:lnTo>
                  <a:lnTo>
                    <a:pt x="239" y="645"/>
                  </a:lnTo>
                  <a:lnTo>
                    <a:pt x="234" y="665"/>
                  </a:lnTo>
                  <a:lnTo>
                    <a:pt x="229" y="680"/>
                  </a:lnTo>
                  <a:lnTo>
                    <a:pt x="224" y="694"/>
                  </a:lnTo>
                  <a:lnTo>
                    <a:pt x="216" y="707"/>
                  </a:lnTo>
                  <a:lnTo>
                    <a:pt x="208" y="720"/>
                  </a:lnTo>
                  <a:lnTo>
                    <a:pt x="204" y="725"/>
                  </a:lnTo>
                  <a:lnTo>
                    <a:pt x="199" y="730"/>
                  </a:lnTo>
                  <a:lnTo>
                    <a:pt x="193" y="733"/>
                  </a:lnTo>
                  <a:lnTo>
                    <a:pt x="188" y="737"/>
                  </a:lnTo>
                  <a:lnTo>
                    <a:pt x="182" y="741"/>
                  </a:lnTo>
                  <a:lnTo>
                    <a:pt x="174" y="742"/>
                  </a:lnTo>
                  <a:lnTo>
                    <a:pt x="167" y="743"/>
                  </a:lnTo>
                  <a:lnTo>
                    <a:pt x="159" y="745"/>
                  </a:lnTo>
                  <a:lnTo>
                    <a:pt x="151" y="743"/>
                  </a:lnTo>
                  <a:lnTo>
                    <a:pt x="142" y="742"/>
                  </a:lnTo>
                  <a:lnTo>
                    <a:pt x="134" y="740"/>
                  </a:lnTo>
                  <a:lnTo>
                    <a:pt x="127" y="736"/>
                  </a:lnTo>
                  <a:lnTo>
                    <a:pt x="113" y="727"/>
                  </a:lnTo>
                  <a:lnTo>
                    <a:pt x="97" y="719"/>
                  </a:lnTo>
                  <a:lnTo>
                    <a:pt x="85" y="714"/>
                  </a:lnTo>
                  <a:lnTo>
                    <a:pt x="72" y="710"/>
                  </a:lnTo>
                  <a:lnTo>
                    <a:pt x="61" y="709"/>
                  </a:lnTo>
                  <a:lnTo>
                    <a:pt x="50" y="707"/>
                  </a:lnTo>
                  <a:lnTo>
                    <a:pt x="38" y="706"/>
                  </a:lnTo>
                  <a:lnTo>
                    <a:pt x="26" y="706"/>
                  </a:lnTo>
                  <a:lnTo>
                    <a:pt x="14" y="704"/>
                  </a:lnTo>
                  <a:lnTo>
                    <a:pt x="0" y="700"/>
                  </a:lnTo>
                  <a:lnTo>
                    <a:pt x="0" y="700"/>
                  </a:lnTo>
                  <a:lnTo>
                    <a:pt x="168" y="65"/>
                  </a:lnTo>
                  <a:lnTo>
                    <a:pt x="667" y="0"/>
                  </a:lnTo>
                  <a:lnTo>
                    <a:pt x="667" y="0"/>
                  </a:ln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65" name="Freeform 182">
              <a:extLst>
                <a:ext uri="{FF2B5EF4-FFF2-40B4-BE49-F238E27FC236}">
                  <a16:creationId xmlns:a16="http://schemas.microsoft.com/office/drawing/2014/main" id="{65E7C193-9C9B-4289-BA7F-C842C7E3A41B}"/>
                </a:ext>
              </a:extLst>
            </p:cNvPr>
            <p:cNvSpPr>
              <a:spLocks/>
            </p:cNvSpPr>
            <p:nvPr/>
          </p:nvSpPr>
          <p:spPr bwMode="auto">
            <a:xfrm>
              <a:off x="8014372" y="2613047"/>
              <a:ext cx="2335080" cy="1627695"/>
            </a:xfrm>
            <a:custGeom>
              <a:avLst/>
              <a:gdLst>
                <a:gd name="T0" fmla="*/ 614 w 2602"/>
                <a:gd name="T1" fmla="*/ 86 h 1757"/>
                <a:gd name="T2" fmla="*/ 609 w 2602"/>
                <a:gd name="T3" fmla="*/ 155 h 1757"/>
                <a:gd name="T4" fmla="*/ 693 w 2602"/>
                <a:gd name="T5" fmla="*/ 41 h 1757"/>
                <a:gd name="T6" fmla="*/ 727 w 2602"/>
                <a:gd name="T7" fmla="*/ 141 h 1757"/>
                <a:gd name="T8" fmla="*/ 688 w 2602"/>
                <a:gd name="T9" fmla="*/ 217 h 1757"/>
                <a:gd name="T10" fmla="*/ 764 w 2602"/>
                <a:gd name="T11" fmla="*/ 240 h 1757"/>
                <a:gd name="T12" fmla="*/ 827 w 2602"/>
                <a:gd name="T13" fmla="*/ 142 h 1757"/>
                <a:gd name="T14" fmla="*/ 917 w 2602"/>
                <a:gd name="T15" fmla="*/ 267 h 1757"/>
                <a:gd name="T16" fmla="*/ 991 w 2602"/>
                <a:gd name="T17" fmla="*/ 428 h 1757"/>
                <a:gd name="T18" fmla="*/ 1083 w 2602"/>
                <a:gd name="T19" fmla="*/ 439 h 1757"/>
                <a:gd name="T20" fmla="*/ 1253 w 2602"/>
                <a:gd name="T21" fmla="*/ 485 h 1757"/>
                <a:gd name="T22" fmla="*/ 1421 w 2602"/>
                <a:gd name="T23" fmla="*/ 492 h 1757"/>
                <a:gd name="T24" fmla="*/ 1532 w 2602"/>
                <a:gd name="T25" fmla="*/ 596 h 1757"/>
                <a:gd name="T26" fmla="*/ 1568 w 2602"/>
                <a:gd name="T27" fmla="*/ 700 h 1757"/>
                <a:gd name="T28" fmla="*/ 1550 w 2602"/>
                <a:gd name="T29" fmla="*/ 766 h 1757"/>
                <a:gd name="T30" fmla="*/ 1558 w 2602"/>
                <a:gd name="T31" fmla="*/ 865 h 1757"/>
                <a:gd name="T32" fmla="*/ 1617 w 2602"/>
                <a:gd name="T33" fmla="*/ 910 h 1757"/>
                <a:gd name="T34" fmla="*/ 1663 w 2602"/>
                <a:gd name="T35" fmla="*/ 1010 h 1757"/>
                <a:gd name="T36" fmla="*/ 1817 w 2602"/>
                <a:gd name="T37" fmla="*/ 1041 h 1757"/>
                <a:gd name="T38" fmla="*/ 1907 w 2602"/>
                <a:gd name="T39" fmla="*/ 1001 h 1757"/>
                <a:gd name="T40" fmla="*/ 2032 w 2602"/>
                <a:gd name="T41" fmla="*/ 916 h 1757"/>
                <a:gd name="T42" fmla="*/ 2189 w 2602"/>
                <a:gd name="T43" fmla="*/ 841 h 1757"/>
                <a:gd name="T44" fmla="*/ 2312 w 2602"/>
                <a:gd name="T45" fmla="*/ 828 h 1757"/>
                <a:gd name="T46" fmla="*/ 2228 w 2602"/>
                <a:gd name="T47" fmla="*/ 908 h 1757"/>
                <a:gd name="T48" fmla="*/ 2247 w 2602"/>
                <a:gd name="T49" fmla="*/ 972 h 1757"/>
                <a:gd name="T50" fmla="*/ 2295 w 2602"/>
                <a:gd name="T51" fmla="*/ 977 h 1757"/>
                <a:gd name="T52" fmla="*/ 2404 w 2602"/>
                <a:gd name="T53" fmla="*/ 1011 h 1757"/>
                <a:gd name="T54" fmla="*/ 2477 w 2602"/>
                <a:gd name="T55" fmla="*/ 1089 h 1757"/>
                <a:gd name="T56" fmla="*/ 2594 w 2602"/>
                <a:gd name="T57" fmla="*/ 1089 h 1757"/>
                <a:gd name="T58" fmla="*/ 2559 w 2602"/>
                <a:gd name="T59" fmla="*/ 1139 h 1757"/>
                <a:gd name="T60" fmla="*/ 2479 w 2602"/>
                <a:gd name="T61" fmla="*/ 1217 h 1757"/>
                <a:gd name="T62" fmla="*/ 2411 w 2602"/>
                <a:gd name="T63" fmla="*/ 1197 h 1757"/>
                <a:gd name="T64" fmla="*/ 2334 w 2602"/>
                <a:gd name="T65" fmla="*/ 1225 h 1757"/>
                <a:gd name="T66" fmla="*/ 2257 w 2602"/>
                <a:gd name="T67" fmla="*/ 1235 h 1757"/>
                <a:gd name="T68" fmla="*/ 2186 w 2602"/>
                <a:gd name="T69" fmla="*/ 1258 h 1757"/>
                <a:gd name="T70" fmla="*/ 2180 w 2602"/>
                <a:gd name="T71" fmla="*/ 1140 h 1757"/>
                <a:gd name="T72" fmla="*/ 2140 w 2602"/>
                <a:gd name="T73" fmla="*/ 1032 h 1757"/>
                <a:gd name="T74" fmla="*/ 2042 w 2602"/>
                <a:gd name="T75" fmla="*/ 1081 h 1757"/>
                <a:gd name="T76" fmla="*/ 1948 w 2602"/>
                <a:gd name="T77" fmla="*/ 1155 h 1757"/>
                <a:gd name="T78" fmla="*/ 1846 w 2602"/>
                <a:gd name="T79" fmla="*/ 1223 h 1757"/>
                <a:gd name="T80" fmla="*/ 1758 w 2602"/>
                <a:gd name="T81" fmla="*/ 1288 h 1757"/>
                <a:gd name="T82" fmla="*/ 1671 w 2602"/>
                <a:gd name="T83" fmla="*/ 1304 h 1757"/>
                <a:gd name="T84" fmla="*/ 1691 w 2602"/>
                <a:gd name="T85" fmla="*/ 1432 h 1757"/>
                <a:gd name="T86" fmla="*/ 1738 w 2602"/>
                <a:gd name="T87" fmla="*/ 1491 h 1757"/>
                <a:gd name="T88" fmla="*/ 1756 w 2602"/>
                <a:gd name="T89" fmla="*/ 1574 h 1757"/>
                <a:gd name="T90" fmla="*/ 1668 w 2602"/>
                <a:gd name="T91" fmla="*/ 1717 h 1757"/>
                <a:gd name="T92" fmla="*/ 1553 w 2602"/>
                <a:gd name="T93" fmla="*/ 1694 h 1757"/>
                <a:gd name="T94" fmla="*/ 1542 w 2602"/>
                <a:gd name="T95" fmla="*/ 1603 h 1757"/>
                <a:gd name="T96" fmla="*/ 1270 w 2602"/>
                <a:gd name="T97" fmla="*/ 1424 h 1757"/>
                <a:gd name="T98" fmla="*/ 1082 w 2602"/>
                <a:gd name="T99" fmla="*/ 1285 h 1757"/>
                <a:gd name="T100" fmla="*/ 981 w 2602"/>
                <a:gd name="T101" fmla="*/ 1112 h 1757"/>
                <a:gd name="T102" fmla="*/ 919 w 2602"/>
                <a:gd name="T103" fmla="*/ 926 h 1757"/>
                <a:gd name="T104" fmla="*/ 791 w 2602"/>
                <a:gd name="T105" fmla="*/ 824 h 1757"/>
                <a:gd name="T106" fmla="*/ 696 w 2602"/>
                <a:gd name="T107" fmla="*/ 762 h 1757"/>
                <a:gd name="T108" fmla="*/ 677 w 2602"/>
                <a:gd name="T109" fmla="*/ 622 h 1757"/>
                <a:gd name="T110" fmla="*/ 550 w 2602"/>
                <a:gd name="T111" fmla="*/ 539 h 1757"/>
                <a:gd name="T112" fmla="*/ 436 w 2602"/>
                <a:gd name="T113" fmla="*/ 585 h 1757"/>
                <a:gd name="T114" fmla="*/ 287 w 2602"/>
                <a:gd name="T115" fmla="*/ 613 h 1757"/>
                <a:gd name="T116" fmla="*/ 229 w 2602"/>
                <a:gd name="T117" fmla="*/ 680 h 1757"/>
                <a:gd name="T118" fmla="*/ 159 w 2602"/>
                <a:gd name="T119" fmla="*/ 745 h 1757"/>
                <a:gd name="T120" fmla="*/ 38 w 2602"/>
                <a:gd name="T121" fmla="*/ 706 h 1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2" h="1757">
                  <a:moveTo>
                    <a:pt x="667" y="0"/>
                  </a:moveTo>
                  <a:lnTo>
                    <a:pt x="663" y="8"/>
                  </a:lnTo>
                  <a:lnTo>
                    <a:pt x="661" y="15"/>
                  </a:lnTo>
                  <a:lnTo>
                    <a:pt x="656" y="23"/>
                  </a:lnTo>
                  <a:lnTo>
                    <a:pt x="651" y="29"/>
                  </a:lnTo>
                  <a:lnTo>
                    <a:pt x="639" y="43"/>
                  </a:lnTo>
                  <a:lnTo>
                    <a:pt x="629" y="55"/>
                  </a:lnTo>
                  <a:lnTo>
                    <a:pt x="625" y="62"/>
                  </a:lnTo>
                  <a:lnTo>
                    <a:pt x="621" y="70"/>
                  </a:lnTo>
                  <a:lnTo>
                    <a:pt x="618" y="77"/>
                  </a:lnTo>
                  <a:lnTo>
                    <a:pt x="614" y="86"/>
                  </a:lnTo>
                  <a:lnTo>
                    <a:pt x="604" y="118"/>
                  </a:lnTo>
                  <a:lnTo>
                    <a:pt x="595" y="145"/>
                  </a:lnTo>
                  <a:lnTo>
                    <a:pt x="588" y="174"/>
                  </a:lnTo>
                  <a:lnTo>
                    <a:pt x="579" y="205"/>
                  </a:lnTo>
                  <a:lnTo>
                    <a:pt x="585" y="203"/>
                  </a:lnTo>
                  <a:lnTo>
                    <a:pt x="590" y="199"/>
                  </a:lnTo>
                  <a:lnTo>
                    <a:pt x="594" y="194"/>
                  </a:lnTo>
                  <a:lnTo>
                    <a:pt x="596" y="189"/>
                  </a:lnTo>
                  <a:lnTo>
                    <a:pt x="601" y="178"/>
                  </a:lnTo>
                  <a:lnTo>
                    <a:pt x="605" y="164"/>
                  </a:lnTo>
                  <a:lnTo>
                    <a:pt x="609" y="155"/>
                  </a:lnTo>
                  <a:lnTo>
                    <a:pt x="613" y="147"/>
                  </a:lnTo>
                  <a:lnTo>
                    <a:pt x="616" y="139"/>
                  </a:lnTo>
                  <a:lnTo>
                    <a:pt x="621" y="132"/>
                  </a:lnTo>
                  <a:lnTo>
                    <a:pt x="632" y="118"/>
                  </a:lnTo>
                  <a:lnTo>
                    <a:pt x="645" y="103"/>
                  </a:lnTo>
                  <a:lnTo>
                    <a:pt x="652" y="93"/>
                  </a:lnTo>
                  <a:lnTo>
                    <a:pt x="657" y="83"/>
                  </a:lnTo>
                  <a:lnTo>
                    <a:pt x="663" y="75"/>
                  </a:lnTo>
                  <a:lnTo>
                    <a:pt x="671" y="65"/>
                  </a:lnTo>
                  <a:lnTo>
                    <a:pt x="683" y="54"/>
                  </a:lnTo>
                  <a:lnTo>
                    <a:pt x="693" y="41"/>
                  </a:lnTo>
                  <a:lnTo>
                    <a:pt x="701" y="29"/>
                  </a:lnTo>
                  <a:lnTo>
                    <a:pt x="706" y="19"/>
                  </a:lnTo>
                  <a:lnTo>
                    <a:pt x="713" y="9"/>
                  </a:lnTo>
                  <a:lnTo>
                    <a:pt x="723" y="0"/>
                  </a:lnTo>
                  <a:lnTo>
                    <a:pt x="726" y="13"/>
                  </a:lnTo>
                  <a:lnTo>
                    <a:pt x="726" y="65"/>
                  </a:lnTo>
                  <a:lnTo>
                    <a:pt x="731" y="80"/>
                  </a:lnTo>
                  <a:lnTo>
                    <a:pt x="736" y="95"/>
                  </a:lnTo>
                  <a:lnTo>
                    <a:pt x="732" y="112"/>
                  </a:lnTo>
                  <a:lnTo>
                    <a:pt x="728" y="131"/>
                  </a:lnTo>
                  <a:lnTo>
                    <a:pt x="727" y="141"/>
                  </a:lnTo>
                  <a:lnTo>
                    <a:pt x="727" y="149"/>
                  </a:lnTo>
                  <a:lnTo>
                    <a:pt x="726" y="153"/>
                  </a:lnTo>
                  <a:lnTo>
                    <a:pt x="724" y="158"/>
                  </a:lnTo>
                  <a:lnTo>
                    <a:pt x="723" y="162"/>
                  </a:lnTo>
                  <a:lnTo>
                    <a:pt x="721" y="165"/>
                  </a:lnTo>
                  <a:lnTo>
                    <a:pt x="709" y="179"/>
                  </a:lnTo>
                  <a:lnTo>
                    <a:pt x="698" y="190"/>
                  </a:lnTo>
                  <a:lnTo>
                    <a:pt x="695" y="196"/>
                  </a:lnTo>
                  <a:lnTo>
                    <a:pt x="691" y="203"/>
                  </a:lnTo>
                  <a:lnTo>
                    <a:pt x="688" y="210"/>
                  </a:lnTo>
                  <a:lnTo>
                    <a:pt x="688" y="217"/>
                  </a:lnTo>
                  <a:lnTo>
                    <a:pt x="688" y="230"/>
                  </a:lnTo>
                  <a:lnTo>
                    <a:pt x="704" y="230"/>
                  </a:lnTo>
                  <a:lnTo>
                    <a:pt x="716" y="227"/>
                  </a:lnTo>
                  <a:lnTo>
                    <a:pt x="722" y="234"/>
                  </a:lnTo>
                  <a:lnTo>
                    <a:pt x="727" y="238"/>
                  </a:lnTo>
                  <a:lnTo>
                    <a:pt x="731" y="241"/>
                  </a:lnTo>
                  <a:lnTo>
                    <a:pt x="734" y="242"/>
                  </a:lnTo>
                  <a:lnTo>
                    <a:pt x="738" y="243"/>
                  </a:lnTo>
                  <a:lnTo>
                    <a:pt x="742" y="243"/>
                  </a:lnTo>
                  <a:lnTo>
                    <a:pt x="753" y="242"/>
                  </a:lnTo>
                  <a:lnTo>
                    <a:pt x="764" y="240"/>
                  </a:lnTo>
                  <a:lnTo>
                    <a:pt x="773" y="235"/>
                  </a:lnTo>
                  <a:lnTo>
                    <a:pt x="781" y="227"/>
                  </a:lnTo>
                  <a:lnTo>
                    <a:pt x="788" y="220"/>
                  </a:lnTo>
                  <a:lnTo>
                    <a:pt x="794" y="210"/>
                  </a:lnTo>
                  <a:lnTo>
                    <a:pt x="800" y="200"/>
                  </a:lnTo>
                  <a:lnTo>
                    <a:pt x="804" y="189"/>
                  </a:lnTo>
                  <a:lnTo>
                    <a:pt x="810" y="175"/>
                  </a:lnTo>
                  <a:lnTo>
                    <a:pt x="816" y="164"/>
                  </a:lnTo>
                  <a:lnTo>
                    <a:pt x="822" y="153"/>
                  </a:lnTo>
                  <a:lnTo>
                    <a:pt x="827" y="142"/>
                  </a:lnTo>
                  <a:lnTo>
                    <a:pt x="827" y="142"/>
                  </a:lnTo>
                  <a:lnTo>
                    <a:pt x="835" y="154"/>
                  </a:lnTo>
                  <a:lnTo>
                    <a:pt x="842" y="164"/>
                  </a:lnTo>
                  <a:lnTo>
                    <a:pt x="850" y="173"/>
                  </a:lnTo>
                  <a:lnTo>
                    <a:pt x="858" y="181"/>
                  </a:lnTo>
                  <a:lnTo>
                    <a:pt x="876" y="196"/>
                  </a:lnTo>
                  <a:lnTo>
                    <a:pt x="894" y="215"/>
                  </a:lnTo>
                  <a:lnTo>
                    <a:pt x="902" y="226"/>
                  </a:lnTo>
                  <a:lnTo>
                    <a:pt x="907" y="236"/>
                  </a:lnTo>
                  <a:lnTo>
                    <a:pt x="911" y="246"/>
                  </a:lnTo>
                  <a:lnTo>
                    <a:pt x="913" y="257"/>
                  </a:lnTo>
                  <a:lnTo>
                    <a:pt x="917" y="267"/>
                  </a:lnTo>
                  <a:lnTo>
                    <a:pt x="919" y="278"/>
                  </a:lnTo>
                  <a:lnTo>
                    <a:pt x="923" y="289"/>
                  </a:lnTo>
                  <a:lnTo>
                    <a:pt x="928" y="301"/>
                  </a:lnTo>
                  <a:lnTo>
                    <a:pt x="940" y="322"/>
                  </a:lnTo>
                  <a:lnTo>
                    <a:pt x="952" y="340"/>
                  </a:lnTo>
                  <a:lnTo>
                    <a:pt x="963" y="359"/>
                  </a:lnTo>
                  <a:lnTo>
                    <a:pt x="974" y="380"/>
                  </a:lnTo>
                  <a:lnTo>
                    <a:pt x="979" y="392"/>
                  </a:lnTo>
                  <a:lnTo>
                    <a:pt x="984" y="403"/>
                  </a:lnTo>
                  <a:lnTo>
                    <a:pt x="989" y="416"/>
                  </a:lnTo>
                  <a:lnTo>
                    <a:pt x="991" y="428"/>
                  </a:lnTo>
                  <a:lnTo>
                    <a:pt x="993" y="438"/>
                  </a:lnTo>
                  <a:lnTo>
                    <a:pt x="994" y="447"/>
                  </a:lnTo>
                  <a:lnTo>
                    <a:pt x="995" y="452"/>
                  </a:lnTo>
                  <a:lnTo>
                    <a:pt x="998" y="454"/>
                  </a:lnTo>
                  <a:lnTo>
                    <a:pt x="1001" y="457"/>
                  </a:lnTo>
                  <a:lnTo>
                    <a:pt x="1005" y="457"/>
                  </a:lnTo>
                  <a:lnTo>
                    <a:pt x="1022" y="456"/>
                  </a:lnTo>
                  <a:lnTo>
                    <a:pt x="1039" y="453"/>
                  </a:lnTo>
                  <a:lnTo>
                    <a:pt x="1055" y="449"/>
                  </a:lnTo>
                  <a:lnTo>
                    <a:pt x="1068" y="444"/>
                  </a:lnTo>
                  <a:lnTo>
                    <a:pt x="1083" y="439"/>
                  </a:lnTo>
                  <a:lnTo>
                    <a:pt x="1098" y="436"/>
                  </a:lnTo>
                  <a:lnTo>
                    <a:pt x="1114" y="433"/>
                  </a:lnTo>
                  <a:lnTo>
                    <a:pt x="1132" y="432"/>
                  </a:lnTo>
                  <a:lnTo>
                    <a:pt x="1144" y="432"/>
                  </a:lnTo>
                  <a:lnTo>
                    <a:pt x="1157" y="436"/>
                  </a:lnTo>
                  <a:lnTo>
                    <a:pt x="1166" y="439"/>
                  </a:lnTo>
                  <a:lnTo>
                    <a:pt x="1176" y="444"/>
                  </a:lnTo>
                  <a:lnTo>
                    <a:pt x="1196" y="456"/>
                  </a:lnTo>
                  <a:lnTo>
                    <a:pt x="1219" y="468"/>
                  </a:lnTo>
                  <a:lnTo>
                    <a:pt x="1237" y="477"/>
                  </a:lnTo>
                  <a:lnTo>
                    <a:pt x="1253" y="485"/>
                  </a:lnTo>
                  <a:lnTo>
                    <a:pt x="1270" y="492"/>
                  </a:lnTo>
                  <a:lnTo>
                    <a:pt x="1286" y="497"/>
                  </a:lnTo>
                  <a:lnTo>
                    <a:pt x="1303" y="500"/>
                  </a:lnTo>
                  <a:lnTo>
                    <a:pt x="1319" y="503"/>
                  </a:lnTo>
                  <a:lnTo>
                    <a:pt x="1338" y="505"/>
                  </a:lnTo>
                  <a:lnTo>
                    <a:pt x="1358" y="505"/>
                  </a:lnTo>
                  <a:lnTo>
                    <a:pt x="1373" y="505"/>
                  </a:lnTo>
                  <a:lnTo>
                    <a:pt x="1385" y="503"/>
                  </a:lnTo>
                  <a:lnTo>
                    <a:pt x="1398" y="499"/>
                  </a:lnTo>
                  <a:lnTo>
                    <a:pt x="1410" y="495"/>
                  </a:lnTo>
                  <a:lnTo>
                    <a:pt x="1421" y="492"/>
                  </a:lnTo>
                  <a:lnTo>
                    <a:pt x="1434" y="489"/>
                  </a:lnTo>
                  <a:lnTo>
                    <a:pt x="1447" y="487"/>
                  </a:lnTo>
                  <a:lnTo>
                    <a:pt x="1461" y="485"/>
                  </a:lnTo>
                  <a:lnTo>
                    <a:pt x="1506" y="485"/>
                  </a:lnTo>
                  <a:lnTo>
                    <a:pt x="1509" y="504"/>
                  </a:lnTo>
                  <a:lnTo>
                    <a:pt x="1513" y="520"/>
                  </a:lnTo>
                  <a:lnTo>
                    <a:pt x="1517" y="535"/>
                  </a:lnTo>
                  <a:lnTo>
                    <a:pt x="1520" y="550"/>
                  </a:lnTo>
                  <a:lnTo>
                    <a:pt x="1524" y="563"/>
                  </a:lnTo>
                  <a:lnTo>
                    <a:pt x="1528" y="580"/>
                  </a:lnTo>
                  <a:lnTo>
                    <a:pt x="1532" y="596"/>
                  </a:lnTo>
                  <a:lnTo>
                    <a:pt x="1534" y="613"/>
                  </a:lnTo>
                  <a:lnTo>
                    <a:pt x="1534" y="632"/>
                  </a:lnTo>
                  <a:lnTo>
                    <a:pt x="1533" y="649"/>
                  </a:lnTo>
                  <a:lnTo>
                    <a:pt x="1533" y="658"/>
                  </a:lnTo>
                  <a:lnTo>
                    <a:pt x="1534" y="665"/>
                  </a:lnTo>
                  <a:lnTo>
                    <a:pt x="1535" y="674"/>
                  </a:lnTo>
                  <a:lnTo>
                    <a:pt x="1540" y="681"/>
                  </a:lnTo>
                  <a:lnTo>
                    <a:pt x="1547" y="688"/>
                  </a:lnTo>
                  <a:lnTo>
                    <a:pt x="1553" y="692"/>
                  </a:lnTo>
                  <a:lnTo>
                    <a:pt x="1560" y="696"/>
                  </a:lnTo>
                  <a:lnTo>
                    <a:pt x="1568" y="700"/>
                  </a:lnTo>
                  <a:lnTo>
                    <a:pt x="1575" y="704"/>
                  </a:lnTo>
                  <a:lnTo>
                    <a:pt x="1580" y="707"/>
                  </a:lnTo>
                  <a:lnTo>
                    <a:pt x="1583" y="710"/>
                  </a:lnTo>
                  <a:lnTo>
                    <a:pt x="1585" y="714"/>
                  </a:lnTo>
                  <a:lnTo>
                    <a:pt x="1585" y="717"/>
                  </a:lnTo>
                  <a:lnTo>
                    <a:pt x="1586" y="721"/>
                  </a:lnTo>
                  <a:lnTo>
                    <a:pt x="1586" y="756"/>
                  </a:lnTo>
                  <a:lnTo>
                    <a:pt x="1573" y="758"/>
                  </a:lnTo>
                  <a:lnTo>
                    <a:pt x="1560" y="761"/>
                  </a:lnTo>
                  <a:lnTo>
                    <a:pt x="1555" y="763"/>
                  </a:lnTo>
                  <a:lnTo>
                    <a:pt x="1550" y="766"/>
                  </a:lnTo>
                  <a:lnTo>
                    <a:pt x="1547" y="771"/>
                  </a:lnTo>
                  <a:lnTo>
                    <a:pt x="1543" y="776"/>
                  </a:lnTo>
                  <a:lnTo>
                    <a:pt x="1539" y="787"/>
                  </a:lnTo>
                  <a:lnTo>
                    <a:pt x="1537" y="797"/>
                  </a:lnTo>
                  <a:lnTo>
                    <a:pt x="1537" y="808"/>
                  </a:lnTo>
                  <a:lnTo>
                    <a:pt x="1537" y="818"/>
                  </a:lnTo>
                  <a:lnTo>
                    <a:pt x="1537" y="828"/>
                  </a:lnTo>
                  <a:lnTo>
                    <a:pt x="1537" y="838"/>
                  </a:lnTo>
                  <a:lnTo>
                    <a:pt x="1537" y="849"/>
                  </a:lnTo>
                  <a:lnTo>
                    <a:pt x="1534" y="861"/>
                  </a:lnTo>
                  <a:lnTo>
                    <a:pt x="1558" y="865"/>
                  </a:lnTo>
                  <a:lnTo>
                    <a:pt x="1580" y="867"/>
                  </a:lnTo>
                  <a:lnTo>
                    <a:pt x="1590" y="869"/>
                  </a:lnTo>
                  <a:lnTo>
                    <a:pt x="1599" y="872"/>
                  </a:lnTo>
                  <a:lnTo>
                    <a:pt x="1604" y="875"/>
                  </a:lnTo>
                  <a:lnTo>
                    <a:pt x="1607" y="879"/>
                  </a:lnTo>
                  <a:lnTo>
                    <a:pt x="1611" y="882"/>
                  </a:lnTo>
                  <a:lnTo>
                    <a:pt x="1615" y="886"/>
                  </a:lnTo>
                  <a:lnTo>
                    <a:pt x="1617" y="892"/>
                  </a:lnTo>
                  <a:lnTo>
                    <a:pt x="1619" y="898"/>
                  </a:lnTo>
                  <a:lnTo>
                    <a:pt x="1619" y="903"/>
                  </a:lnTo>
                  <a:lnTo>
                    <a:pt x="1617" y="910"/>
                  </a:lnTo>
                  <a:lnTo>
                    <a:pt x="1615" y="922"/>
                  </a:lnTo>
                  <a:lnTo>
                    <a:pt x="1615" y="934"/>
                  </a:lnTo>
                  <a:lnTo>
                    <a:pt x="1616" y="946"/>
                  </a:lnTo>
                  <a:lnTo>
                    <a:pt x="1619" y="957"/>
                  </a:lnTo>
                  <a:lnTo>
                    <a:pt x="1622" y="967"/>
                  </a:lnTo>
                  <a:lnTo>
                    <a:pt x="1626" y="977"/>
                  </a:lnTo>
                  <a:lnTo>
                    <a:pt x="1631" y="984"/>
                  </a:lnTo>
                  <a:lnTo>
                    <a:pt x="1637" y="993"/>
                  </a:lnTo>
                  <a:lnTo>
                    <a:pt x="1645" y="1000"/>
                  </a:lnTo>
                  <a:lnTo>
                    <a:pt x="1655" y="1006"/>
                  </a:lnTo>
                  <a:lnTo>
                    <a:pt x="1663" y="1010"/>
                  </a:lnTo>
                  <a:lnTo>
                    <a:pt x="1671" y="1013"/>
                  </a:lnTo>
                  <a:lnTo>
                    <a:pt x="1679" y="1014"/>
                  </a:lnTo>
                  <a:lnTo>
                    <a:pt x="1688" y="1014"/>
                  </a:lnTo>
                  <a:lnTo>
                    <a:pt x="1706" y="1014"/>
                  </a:lnTo>
                  <a:lnTo>
                    <a:pt x="1725" y="1015"/>
                  </a:lnTo>
                  <a:lnTo>
                    <a:pt x="1743" y="1017"/>
                  </a:lnTo>
                  <a:lnTo>
                    <a:pt x="1759" y="1021"/>
                  </a:lnTo>
                  <a:lnTo>
                    <a:pt x="1774" y="1026"/>
                  </a:lnTo>
                  <a:lnTo>
                    <a:pt x="1787" y="1032"/>
                  </a:lnTo>
                  <a:lnTo>
                    <a:pt x="1802" y="1037"/>
                  </a:lnTo>
                  <a:lnTo>
                    <a:pt x="1817" y="1041"/>
                  </a:lnTo>
                  <a:lnTo>
                    <a:pt x="1832" y="1045"/>
                  </a:lnTo>
                  <a:lnTo>
                    <a:pt x="1851" y="1046"/>
                  </a:lnTo>
                  <a:lnTo>
                    <a:pt x="1860" y="1045"/>
                  </a:lnTo>
                  <a:lnTo>
                    <a:pt x="1867" y="1044"/>
                  </a:lnTo>
                  <a:lnTo>
                    <a:pt x="1873" y="1041"/>
                  </a:lnTo>
                  <a:lnTo>
                    <a:pt x="1879" y="1037"/>
                  </a:lnTo>
                  <a:lnTo>
                    <a:pt x="1884" y="1032"/>
                  </a:lnTo>
                  <a:lnTo>
                    <a:pt x="1889" y="1027"/>
                  </a:lnTo>
                  <a:lnTo>
                    <a:pt x="1894" y="1021"/>
                  </a:lnTo>
                  <a:lnTo>
                    <a:pt x="1898" y="1015"/>
                  </a:lnTo>
                  <a:lnTo>
                    <a:pt x="1907" y="1001"/>
                  </a:lnTo>
                  <a:lnTo>
                    <a:pt x="1917" y="988"/>
                  </a:lnTo>
                  <a:lnTo>
                    <a:pt x="1922" y="982"/>
                  </a:lnTo>
                  <a:lnTo>
                    <a:pt x="1927" y="975"/>
                  </a:lnTo>
                  <a:lnTo>
                    <a:pt x="1933" y="969"/>
                  </a:lnTo>
                  <a:lnTo>
                    <a:pt x="1939" y="963"/>
                  </a:lnTo>
                  <a:lnTo>
                    <a:pt x="1955" y="952"/>
                  </a:lnTo>
                  <a:lnTo>
                    <a:pt x="1970" y="943"/>
                  </a:lnTo>
                  <a:lnTo>
                    <a:pt x="1985" y="934"/>
                  </a:lnTo>
                  <a:lnTo>
                    <a:pt x="2000" y="928"/>
                  </a:lnTo>
                  <a:lnTo>
                    <a:pt x="2016" y="922"/>
                  </a:lnTo>
                  <a:lnTo>
                    <a:pt x="2032" y="916"/>
                  </a:lnTo>
                  <a:lnTo>
                    <a:pt x="2050" y="911"/>
                  </a:lnTo>
                  <a:lnTo>
                    <a:pt x="2069" y="906"/>
                  </a:lnTo>
                  <a:lnTo>
                    <a:pt x="2086" y="902"/>
                  </a:lnTo>
                  <a:lnTo>
                    <a:pt x="2098" y="895"/>
                  </a:lnTo>
                  <a:lnTo>
                    <a:pt x="2110" y="887"/>
                  </a:lnTo>
                  <a:lnTo>
                    <a:pt x="2120" y="880"/>
                  </a:lnTo>
                  <a:lnTo>
                    <a:pt x="2132" y="871"/>
                  </a:lnTo>
                  <a:lnTo>
                    <a:pt x="2143" y="864"/>
                  </a:lnTo>
                  <a:lnTo>
                    <a:pt x="2155" y="856"/>
                  </a:lnTo>
                  <a:lnTo>
                    <a:pt x="2170" y="850"/>
                  </a:lnTo>
                  <a:lnTo>
                    <a:pt x="2189" y="841"/>
                  </a:lnTo>
                  <a:lnTo>
                    <a:pt x="2205" y="834"/>
                  </a:lnTo>
                  <a:lnTo>
                    <a:pt x="2221" y="825"/>
                  </a:lnTo>
                  <a:lnTo>
                    <a:pt x="2235" y="817"/>
                  </a:lnTo>
                  <a:lnTo>
                    <a:pt x="2263" y="798"/>
                  </a:lnTo>
                  <a:lnTo>
                    <a:pt x="2298" y="778"/>
                  </a:lnTo>
                  <a:lnTo>
                    <a:pt x="2298" y="778"/>
                  </a:lnTo>
                  <a:lnTo>
                    <a:pt x="2302" y="794"/>
                  </a:lnTo>
                  <a:lnTo>
                    <a:pt x="2305" y="807"/>
                  </a:lnTo>
                  <a:lnTo>
                    <a:pt x="2308" y="814"/>
                  </a:lnTo>
                  <a:lnTo>
                    <a:pt x="2310" y="820"/>
                  </a:lnTo>
                  <a:lnTo>
                    <a:pt x="2312" y="828"/>
                  </a:lnTo>
                  <a:lnTo>
                    <a:pt x="2312" y="836"/>
                  </a:lnTo>
                  <a:lnTo>
                    <a:pt x="2312" y="840"/>
                  </a:lnTo>
                  <a:lnTo>
                    <a:pt x="2310" y="844"/>
                  </a:lnTo>
                  <a:lnTo>
                    <a:pt x="2308" y="848"/>
                  </a:lnTo>
                  <a:lnTo>
                    <a:pt x="2305" y="850"/>
                  </a:lnTo>
                  <a:lnTo>
                    <a:pt x="2299" y="854"/>
                  </a:lnTo>
                  <a:lnTo>
                    <a:pt x="2292" y="857"/>
                  </a:lnTo>
                  <a:lnTo>
                    <a:pt x="2277" y="875"/>
                  </a:lnTo>
                  <a:lnTo>
                    <a:pt x="2261" y="890"/>
                  </a:lnTo>
                  <a:lnTo>
                    <a:pt x="2243" y="898"/>
                  </a:lnTo>
                  <a:lnTo>
                    <a:pt x="2228" y="908"/>
                  </a:lnTo>
                  <a:lnTo>
                    <a:pt x="2221" y="915"/>
                  </a:lnTo>
                  <a:lnTo>
                    <a:pt x="2216" y="921"/>
                  </a:lnTo>
                  <a:lnTo>
                    <a:pt x="2213" y="928"/>
                  </a:lnTo>
                  <a:lnTo>
                    <a:pt x="2212" y="938"/>
                  </a:lnTo>
                  <a:lnTo>
                    <a:pt x="2213" y="942"/>
                  </a:lnTo>
                  <a:lnTo>
                    <a:pt x="2215" y="946"/>
                  </a:lnTo>
                  <a:lnTo>
                    <a:pt x="2217" y="948"/>
                  </a:lnTo>
                  <a:lnTo>
                    <a:pt x="2221" y="950"/>
                  </a:lnTo>
                  <a:lnTo>
                    <a:pt x="2230" y="955"/>
                  </a:lnTo>
                  <a:lnTo>
                    <a:pt x="2238" y="960"/>
                  </a:lnTo>
                  <a:lnTo>
                    <a:pt x="2247" y="972"/>
                  </a:lnTo>
                  <a:lnTo>
                    <a:pt x="2254" y="982"/>
                  </a:lnTo>
                  <a:lnTo>
                    <a:pt x="2258" y="985"/>
                  </a:lnTo>
                  <a:lnTo>
                    <a:pt x="2263" y="989"/>
                  </a:lnTo>
                  <a:lnTo>
                    <a:pt x="2268" y="991"/>
                  </a:lnTo>
                  <a:lnTo>
                    <a:pt x="2274" y="991"/>
                  </a:lnTo>
                  <a:lnTo>
                    <a:pt x="2279" y="991"/>
                  </a:lnTo>
                  <a:lnTo>
                    <a:pt x="2283" y="989"/>
                  </a:lnTo>
                  <a:lnTo>
                    <a:pt x="2287" y="986"/>
                  </a:lnTo>
                  <a:lnTo>
                    <a:pt x="2289" y="983"/>
                  </a:lnTo>
                  <a:lnTo>
                    <a:pt x="2292" y="979"/>
                  </a:lnTo>
                  <a:lnTo>
                    <a:pt x="2295" y="977"/>
                  </a:lnTo>
                  <a:lnTo>
                    <a:pt x="2299" y="974"/>
                  </a:lnTo>
                  <a:lnTo>
                    <a:pt x="2303" y="972"/>
                  </a:lnTo>
                  <a:lnTo>
                    <a:pt x="2325" y="967"/>
                  </a:lnTo>
                  <a:lnTo>
                    <a:pt x="2344" y="964"/>
                  </a:lnTo>
                  <a:lnTo>
                    <a:pt x="2364" y="963"/>
                  </a:lnTo>
                  <a:lnTo>
                    <a:pt x="2386" y="963"/>
                  </a:lnTo>
                  <a:lnTo>
                    <a:pt x="2401" y="963"/>
                  </a:lnTo>
                  <a:lnTo>
                    <a:pt x="2402" y="982"/>
                  </a:lnTo>
                  <a:lnTo>
                    <a:pt x="2401" y="1000"/>
                  </a:lnTo>
                  <a:lnTo>
                    <a:pt x="2402" y="1006"/>
                  </a:lnTo>
                  <a:lnTo>
                    <a:pt x="2404" y="1011"/>
                  </a:lnTo>
                  <a:lnTo>
                    <a:pt x="2406" y="1015"/>
                  </a:lnTo>
                  <a:lnTo>
                    <a:pt x="2408" y="1020"/>
                  </a:lnTo>
                  <a:lnTo>
                    <a:pt x="2416" y="1026"/>
                  </a:lnTo>
                  <a:lnTo>
                    <a:pt x="2425" y="1032"/>
                  </a:lnTo>
                  <a:lnTo>
                    <a:pt x="2433" y="1037"/>
                  </a:lnTo>
                  <a:lnTo>
                    <a:pt x="2443" y="1044"/>
                  </a:lnTo>
                  <a:lnTo>
                    <a:pt x="2452" y="1051"/>
                  </a:lnTo>
                  <a:lnTo>
                    <a:pt x="2459" y="1060"/>
                  </a:lnTo>
                  <a:lnTo>
                    <a:pt x="2467" y="1072"/>
                  </a:lnTo>
                  <a:lnTo>
                    <a:pt x="2473" y="1084"/>
                  </a:lnTo>
                  <a:lnTo>
                    <a:pt x="2477" y="1089"/>
                  </a:lnTo>
                  <a:lnTo>
                    <a:pt x="2482" y="1093"/>
                  </a:lnTo>
                  <a:lnTo>
                    <a:pt x="2488" y="1096"/>
                  </a:lnTo>
                  <a:lnTo>
                    <a:pt x="2494" y="1097"/>
                  </a:lnTo>
                  <a:lnTo>
                    <a:pt x="2510" y="1096"/>
                  </a:lnTo>
                  <a:lnTo>
                    <a:pt x="2524" y="1093"/>
                  </a:lnTo>
                  <a:lnTo>
                    <a:pt x="2539" y="1089"/>
                  </a:lnTo>
                  <a:lnTo>
                    <a:pt x="2555" y="1088"/>
                  </a:lnTo>
                  <a:lnTo>
                    <a:pt x="2565" y="1088"/>
                  </a:lnTo>
                  <a:lnTo>
                    <a:pt x="2574" y="1089"/>
                  </a:lnTo>
                  <a:lnTo>
                    <a:pt x="2584" y="1089"/>
                  </a:lnTo>
                  <a:lnTo>
                    <a:pt x="2594" y="1089"/>
                  </a:lnTo>
                  <a:lnTo>
                    <a:pt x="2599" y="1096"/>
                  </a:lnTo>
                  <a:lnTo>
                    <a:pt x="2602" y="1103"/>
                  </a:lnTo>
                  <a:lnTo>
                    <a:pt x="2601" y="1109"/>
                  </a:lnTo>
                  <a:lnTo>
                    <a:pt x="2600" y="1115"/>
                  </a:lnTo>
                  <a:lnTo>
                    <a:pt x="2597" y="1120"/>
                  </a:lnTo>
                  <a:lnTo>
                    <a:pt x="2594" y="1124"/>
                  </a:lnTo>
                  <a:lnTo>
                    <a:pt x="2589" y="1128"/>
                  </a:lnTo>
                  <a:lnTo>
                    <a:pt x="2584" y="1130"/>
                  </a:lnTo>
                  <a:lnTo>
                    <a:pt x="2579" y="1133"/>
                  </a:lnTo>
                  <a:lnTo>
                    <a:pt x="2572" y="1135"/>
                  </a:lnTo>
                  <a:lnTo>
                    <a:pt x="2559" y="1139"/>
                  </a:lnTo>
                  <a:lnTo>
                    <a:pt x="2545" y="1144"/>
                  </a:lnTo>
                  <a:lnTo>
                    <a:pt x="2531" y="1149"/>
                  </a:lnTo>
                  <a:lnTo>
                    <a:pt x="2519" y="1156"/>
                  </a:lnTo>
                  <a:lnTo>
                    <a:pt x="2514" y="1161"/>
                  </a:lnTo>
                  <a:lnTo>
                    <a:pt x="2510" y="1165"/>
                  </a:lnTo>
                  <a:lnTo>
                    <a:pt x="2507" y="1171"/>
                  </a:lnTo>
                  <a:lnTo>
                    <a:pt x="2503" y="1176"/>
                  </a:lnTo>
                  <a:lnTo>
                    <a:pt x="2497" y="1187"/>
                  </a:lnTo>
                  <a:lnTo>
                    <a:pt x="2492" y="1199"/>
                  </a:lnTo>
                  <a:lnTo>
                    <a:pt x="2485" y="1209"/>
                  </a:lnTo>
                  <a:lnTo>
                    <a:pt x="2479" y="1217"/>
                  </a:lnTo>
                  <a:lnTo>
                    <a:pt x="2474" y="1221"/>
                  </a:lnTo>
                  <a:lnTo>
                    <a:pt x="2471" y="1222"/>
                  </a:lnTo>
                  <a:lnTo>
                    <a:pt x="2464" y="1225"/>
                  </a:lnTo>
                  <a:lnTo>
                    <a:pt x="2458" y="1225"/>
                  </a:lnTo>
                  <a:lnTo>
                    <a:pt x="2452" y="1225"/>
                  </a:lnTo>
                  <a:lnTo>
                    <a:pt x="2447" y="1223"/>
                  </a:lnTo>
                  <a:lnTo>
                    <a:pt x="2442" y="1221"/>
                  </a:lnTo>
                  <a:lnTo>
                    <a:pt x="2437" y="1218"/>
                  </a:lnTo>
                  <a:lnTo>
                    <a:pt x="2427" y="1212"/>
                  </a:lnTo>
                  <a:lnTo>
                    <a:pt x="2420" y="1205"/>
                  </a:lnTo>
                  <a:lnTo>
                    <a:pt x="2411" y="1197"/>
                  </a:lnTo>
                  <a:lnTo>
                    <a:pt x="2402" y="1191"/>
                  </a:lnTo>
                  <a:lnTo>
                    <a:pt x="2397" y="1189"/>
                  </a:lnTo>
                  <a:lnTo>
                    <a:pt x="2392" y="1186"/>
                  </a:lnTo>
                  <a:lnTo>
                    <a:pt x="2386" y="1185"/>
                  </a:lnTo>
                  <a:lnTo>
                    <a:pt x="2380" y="1185"/>
                  </a:lnTo>
                  <a:lnTo>
                    <a:pt x="2372" y="1186"/>
                  </a:lnTo>
                  <a:lnTo>
                    <a:pt x="2365" y="1189"/>
                  </a:lnTo>
                  <a:lnTo>
                    <a:pt x="2359" y="1192"/>
                  </a:lnTo>
                  <a:lnTo>
                    <a:pt x="2353" y="1197"/>
                  </a:lnTo>
                  <a:lnTo>
                    <a:pt x="2343" y="1210"/>
                  </a:lnTo>
                  <a:lnTo>
                    <a:pt x="2334" y="1225"/>
                  </a:lnTo>
                  <a:lnTo>
                    <a:pt x="2327" y="1240"/>
                  </a:lnTo>
                  <a:lnTo>
                    <a:pt x="2317" y="1252"/>
                  </a:lnTo>
                  <a:lnTo>
                    <a:pt x="2310" y="1257"/>
                  </a:lnTo>
                  <a:lnTo>
                    <a:pt x="2304" y="1261"/>
                  </a:lnTo>
                  <a:lnTo>
                    <a:pt x="2297" y="1264"/>
                  </a:lnTo>
                  <a:lnTo>
                    <a:pt x="2289" y="1264"/>
                  </a:lnTo>
                  <a:lnTo>
                    <a:pt x="2281" y="1263"/>
                  </a:lnTo>
                  <a:lnTo>
                    <a:pt x="2274" y="1261"/>
                  </a:lnTo>
                  <a:lnTo>
                    <a:pt x="2269" y="1256"/>
                  </a:lnTo>
                  <a:lnTo>
                    <a:pt x="2266" y="1249"/>
                  </a:lnTo>
                  <a:lnTo>
                    <a:pt x="2257" y="1235"/>
                  </a:lnTo>
                  <a:lnTo>
                    <a:pt x="2250" y="1220"/>
                  </a:lnTo>
                  <a:lnTo>
                    <a:pt x="2238" y="1213"/>
                  </a:lnTo>
                  <a:lnTo>
                    <a:pt x="2237" y="1222"/>
                  </a:lnTo>
                  <a:lnTo>
                    <a:pt x="2235" y="1231"/>
                  </a:lnTo>
                  <a:lnTo>
                    <a:pt x="2230" y="1238"/>
                  </a:lnTo>
                  <a:lnTo>
                    <a:pt x="2225" y="1246"/>
                  </a:lnTo>
                  <a:lnTo>
                    <a:pt x="2217" y="1251"/>
                  </a:lnTo>
                  <a:lnTo>
                    <a:pt x="2210" y="1256"/>
                  </a:lnTo>
                  <a:lnTo>
                    <a:pt x="2201" y="1258"/>
                  </a:lnTo>
                  <a:lnTo>
                    <a:pt x="2192" y="1259"/>
                  </a:lnTo>
                  <a:lnTo>
                    <a:pt x="2186" y="1258"/>
                  </a:lnTo>
                  <a:lnTo>
                    <a:pt x="2181" y="1257"/>
                  </a:lnTo>
                  <a:lnTo>
                    <a:pt x="2176" y="1256"/>
                  </a:lnTo>
                  <a:lnTo>
                    <a:pt x="2171" y="1253"/>
                  </a:lnTo>
                  <a:lnTo>
                    <a:pt x="2164" y="1247"/>
                  </a:lnTo>
                  <a:lnTo>
                    <a:pt x="2156" y="1238"/>
                  </a:lnTo>
                  <a:lnTo>
                    <a:pt x="2144" y="1218"/>
                  </a:lnTo>
                  <a:lnTo>
                    <a:pt x="2129" y="1200"/>
                  </a:lnTo>
                  <a:lnTo>
                    <a:pt x="2129" y="1200"/>
                  </a:lnTo>
                  <a:lnTo>
                    <a:pt x="2150" y="1173"/>
                  </a:lnTo>
                  <a:lnTo>
                    <a:pt x="2171" y="1151"/>
                  </a:lnTo>
                  <a:lnTo>
                    <a:pt x="2180" y="1140"/>
                  </a:lnTo>
                  <a:lnTo>
                    <a:pt x="2186" y="1128"/>
                  </a:lnTo>
                  <a:lnTo>
                    <a:pt x="2189" y="1120"/>
                  </a:lnTo>
                  <a:lnTo>
                    <a:pt x="2191" y="1113"/>
                  </a:lnTo>
                  <a:lnTo>
                    <a:pt x="2192" y="1106"/>
                  </a:lnTo>
                  <a:lnTo>
                    <a:pt x="2192" y="1097"/>
                  </a:lnTo>
                  <a:lnTo>
                    <a:pt x="2191" y="1077"/>
                  </a:lnTo>
                  <a:lnTo>
                    <a:pt x="2187" y="1060"/>
                  </a:lnTo>
                  <a:lnTo>
                    <a:pt x="2185" y="1042"/>
                  </a:lnTo>
                  <a:lnTo>
                    <a:pt x="2184" y="1022"/>
                  </a:lnTo>
                  <a:lnTo>
                    <a:pt x="2150" y="1020"/>
                  </a:lnTo>
                  <a:lnTo>
                    <a:pt x="2140" y="1032"/>
                  </a:lnTo>
                  <a:lnTo>
                    <a:pt x="2130" y="1045"/>
                  </a:lnTo>
                  <a:lnTo>
                    <a:pt x="2120" y="1055"/>
                  </a:lnTo>
                  <a:lnTo>
                    <a:pt x="2109" y="1065"/>
                  </a:lnTo>
                  <a:lnTo>
                    <a:pt x="2098" y="1072"/>
                  </a:lnTo>
                  <a:lnTo>
                    <a:pt x="2086" y="1078"/>
                  </a:lnTo>
                  <a:lnTo>
                    <a:pt x="2078" y="1079"/>
                  </a:lnTo>
                  <a:lnTo>
                    <a:pt x="2071" y="1082"/>
                  </a:lnTo>
                  <a:lnTo>
                    <a:pt x="2063" y="1082"/>
                  </a:lnTo>
                  <a:lnTo>
                    <a:pt x="2056" y="1083"/>
                  </a:lnTo>
                  <a:lnTo>
                    <a:pt x="2048" y="1082"/>
                  </a:lnTo>
                  <a:lnTo>
                    <a:pt x="2042" y="1081"/>
                  </a:lnTo>
                  <a:lnTo>
                    <a:pt x="2036" y="1078"/>
                  </a:lnTo>
                  <a:lnTo>
                    <a:pt x="2030" y="1076"/>
                  </a:lnTo>
                  <a:lnTo>
                    <a:pt x="2023" y="1073"/>
                  </a:lnTo>
                  <a:lnTo>
                    <a:pt x="2017" y="1071"/>
                  </a:lnTo>
                  <a:lnTo>
                    <a:pt x="2011" y="1070"/>
                  </a:lnTo>
                  <a:lnTo>
                    <a:pt x="2004" y="1068"/>
                  </a:lnTo>
                  <a:lnTo>
                    <a:pt x="1959" y="1068"/>
                  </a:lnTo>
                  <a:lnTo>
                    <a:pt x="1956" y="1101"/>
                  </a:lnTo>
                  <a:lnTo>
                    <a:pt x="1954" y="1129"/>
                  </a:lnTo>
                  <a:lnTo>
                    <a:pt x="1953" y="1143"/>
                  </a:lnTo>
                  <a:lnTo>
                    <a:pt x="1948" y="1155"/>
                  </a:lnTo>
                  <a:lnTo>
                    <a:pt x="1945" y="1161"/>
                  </a:lnTo>
                  <a:lnTo>
                    <a:pt x="1940" y="1168"/>
                  </a:lnTo>
                  <a:lnTo>
                    <a:pt x="1937" y="1174"/>
                  </a:lnTo>
                  <a:lnTo>
                    <a:pt x="1930" y="1179"/>
                  </a:lnTo>
                  <a:lnTo>
                    <a:pt x="1914" y="1187"/>
                  </a:lnTo>
                  <a:lnTo>
                    <a:pt x="1897" y="1194"/>
                  </a:lnTo>
                  <a:lnTo>
                    <a:pt x="1879" y="1201"/>
                  </a:lnTo>
                  <a:lnTo>
                    <a:pt x="1866" y="1209"/>
                  </a:lnTo>
                  <a:lnTo>
                    <a:pt x="1858" y="1213"/>
                  </a:lnTo>
                  <a:lnTo>
                    <a:pt x="1852" y="1217"/>
                  </a:lnTo>
                  <a:lnTo>
                    <a:pt x="1846" y="1223"/>
                  </a:lnTo>
                  <a:lnTo>
                    <a:pt x="1840" y="1231"/>
                  </a:lnTo>
                  <a:lnTo>
                    <a:pt x="1826" y="1251"/>
                  </a:lnTo>
                  <a:lnTo>
                    <a:pt x="1814" y="1271"/>
                  </a:lnTo>
                  <a:lnTo>
                    <a:pt x="1807" y="1278"/>
                  </a:lnTo>
                  <a:lnTo>
                    <a:pt x="1799" y="1284"/>
                  </a:lnTo>
                  <a:lnTo>
                    <a:pt x="1795" y="1287"/>
                  </a:lnTo>
                  <a:lnTo>
                    <a:pt x="1790" y="1289"/>
                  </a:lnTo>
                  <a:lnTo>
                    <a:pt x="1784" y="1290"/>
                  </a:lnTo>
                  <a:lnTo>
                    <a:pt x="1778" y="1290"/>
                  </a:lnTo>
                  <a:lnTo>
                    <a:pt x="1768" y="1289"/>
                  </a:lnTo>
                  <a:lnTo>
                    <a:pt x="1758" y="1288"/>
                  </a:lnTo>
                  <a:lnTo>
                    <a:pt x="1748" y="1287"/>
                  </a:lnTo>
                  <a:lnTo>
                    <a:pt x="1739" y="1284"/>
                  </a:lnTo>
                  <a:lnTo>
                    <a:pt x="1730" y="1283"/>
                  </a:lnTo>
                  <a:lnTo>
                    <a:pt x="1722" y="1280"/>
                  </a:lnTo>
                  <a:lnTo>
                    <a:pt x="1712" y="1279"/>
                  </a:lnTo>
                  <a:lnTo>
                    <a:pt x="1701" y="1279"/>
                  </a:lnTo>
                  <a:lnTo>
                    <a:pt x="1694" y="1279"/>
                  </a:lnTo>
                  <a:lnTo>
                    <a:pt x="1688" y="1283"/>
                  </a:lnTo>
                  <a:lnTo>
                    <a:pt x="1682" y="1287"/>
                  </a:lnTo>
                  <a:lnTo>
                    <a:pt x="1678" y="1292"/>
                  </a:lnTo>
                  <a:lnTo>
                    <a:pt x="1671" y="1304"/>
                  </a:lnTo>
                  <a:lnTo>
                    <a:pt x="1663" y="1319"/>
                  </a:lnTo>
                  <a:lnTo>
                    <a:pt x="1651" y="1338"/>
                  </a:lnTo>
                  <a:lnTo>
                    <a:pt x="1641" y="1354"/>
                  </a:lnTo>
                  <a:lnTo>
                    <a:pt x="1636" y="1361"/>
                  </a:lnTo>
                  <a:lnTo>
                    <a:pt x="1631" y="1370"/>
                  </a:lnTo>
                  <a:lnTo>
                    <a:pt x="1627" y="1380"/>
                  </a:lnTo>
                  <a:lnTo>
                    <a:pt x="1622" y="1390"/>
                  </a:lnTo>
                  <a:lnTo>
                    <a:pt x="1641" y="1401"/>
                  </a:lnTo>
                  <a:lnTo>
                    <a:pt x="1657" y="1412"/>
                  </a:lnTo>
                  <a:lnTo>
                    <a:pt x="1672" y="1423"/>
                  </a:lnTo>
                  <a:lnTo>
                    <a:pt x="1691" y="1432"/>
                  </a:lnTo>
                  <a:lnTo>
                    <a:pt x="1701" y="1436"/>
                  </a:lnTo>
                  <a:lnTo>
                    <a:pt x="1710" y="1437"/>
                  </a:lnTo>
                  <a:lnTo>
                    <a:pt x="1714" y="1437"/>
                  </a:lnTo>
                  <a:lnTo>
                    <a:pt x="1718" y="1438"/>
                  </a:lnTo>
                  <a:lnTo>
                    <a:pt x="1722" y="1440"/>
                  </a:lnTo>
                  <a:lnTo>
                    <a:pt x="1725" y="1444"/>
                  </a:lnTo>
                  <a:lnTo>
                    <a:pt x="1730" y="1450"/>
                  </a:lnTo>
                  <a:lnTo>
                    <a:pt x="1734" y="1458"/>
                  </a:lnTo>
                  <a:lnTo>
                    <a:pt x="1737" y="1467"/>
                  </a:lnTo>
                  <a:lnTo>
                    <a:pt x="1738" y="1474"/>
                  </a:lnTo>
                  <a:lnTo>
                    <a:pt x="1738" y="1491"/>
                  </a:lnTo>
                  <a:lnTo>
                    <a:pt x="1738" y="1507"/>
                  </a:lnTo>
                  <a:lnTo>
                    <a:pt x="1738" y="1515"/>
                  </a:lnTo>
                  <a:lnTo>
                    <a:pt x="1739" y="1524"/>
                  </a:lnTo>
                  <a:lnTo>
                    <a:pt x="1740" y="1531"/>
                  </a:lnTo>
                  <a:lnTo>
                    <a:pt x="1742" y="1538"/>
                  </a:lnTo>
                  <a:lnTo>
                    <a:pt x="1745" y="1545"/>
                  </a:lnTo>
                  <a:lnTo>
                    <a:pt x="1749" y="1551"/>
                  </a:lnTo>
                  <a:lnTo>
                    <a:pt x="1755" y="1556"/>
                  </a:lnTo>
                  <a:lnTo>
                    <a:pt x="1763" y="1561"/>
                  </a:lnTo>
                  <a:lnTo>
                    <a:pt x="1760" y="1568"/>
                  </a:lnTo>
                  <a:lnTo>
                    <a:pt x="1756" y="1574"/>
                  </a:lnTo>
                  <a:lnTo>
                    <a:pt x="1751" y="1579"/>
                  </a:lnTo>
                  <a:lnTo>
                    <a:pt x="1747" y="1586"/>
                  </a:lnTo>
                  <a:lnTo>
                    <a:pt x="1742" y="1591"/>
                  </a:lnTo>
                  <a:lnTo>
                    <a:pt x="1737" y="1596"/>
                  </a:lnTo>
                  <a:lnTo>
                    <a:pt x="1732" y="1602"/>
                  </a:lnTo>
                  <a:lnTo>
                    <a:pt x="1728" y="1609"/>
                  </a:lnTo>
                  <a:lnTo>
                    <a:pt x="1718" y="1630"/>
                  </a:lnTo>
                  <a:lnTo>
                    <a:pt x="1708" y="1649"/>
                  </a:lnTo>
                  <a:lnTo>
                    <a:pt x="1698" y="1666"/>
                  </a:lnTo>
                  <a:lnTo>
                    <a:pt x="1688" y="1684"/>
                  </a:lnTo>
                  <a:lnTo>
                    <a:pt x="1668" y="1717"/>
                  </a:lnTo>
                  <a:lnTo>
                    <a:pt x="1646" y="1757"/>
                  </a:lnTo>
                  <a:lnTo>
                    <a:pt x="1646" y="1757"/>
                  </a:lnTo>
                  <a:lnTo>
                    <a:pt x="1617" y="1753"/>
                  </a:lnTo>
                  <a:lnTo>
                    <a:pt x="1592" y="1748"/>
                  </a:lnTo>
                  <a:lnTo>
                    <a:pt x="1568" y="1742"/>
                  </a:lnTo>
                  <a:lnTo>
                    <a:pt x="1540" y="1734"/>
                  </a:lnTo>
                  <a:lnTo>
                    <a:pt x="1540" y="1734"/>
                  </a:lnTo>
                  <a:lnTo>
                    <a:pt x="1543" y="1723"/>
                  </a:lnTo>
                  <a:lnTo>
                    <a:pt x="1545" y="1712"/>
                  </a:lnTo>
                  <a:lnTo>
                    <a:pt x="1549" y="1702"/>
                  </a:lnTo>
                  <a:lnTo>
                    <a:pt x="1553" y="1694"/>
                  </a:lnTo>
                  <a:lnTo>
                    <a:pt x="1556" y="1684"/>
                  </a:lnTo>
                  <a:lnTo>
                    <a:pt x="1560" y="1674"/>
                  </a:lnTo>
                  <a:lnTo>
                    <a:pt x="1563" y="1664"/>
                  </a:lnTo>
                  <a:lnTo>
                    <a:pt x="1563" y="1651"/>
                  </a:lnTo>
                  <a:lnTo>
                    <a:pt x="1563" y="1643"/>
                  </a:lnTo>
                  <a:lnTo>
                    <a:pt x="1561" y="1635"/>
                  </a:lnTo>
                  <a:lnTo>
                    <a:pt x="1559" y="1628"/>
                  </a:lnTo>
                  <a:lnTo>
                    <a:pt x="1555" y="1620"/>
                  </a:lnTo>
                  <a:lnTo>
                    <a:pt x="1552" y="1614"/>
                  </a:lnTo>
                  <a:lnTo>
                    <a:pt x="1547" y="1609"/>
                  </a:lnTo>
                  <a:lnTo>
                    <a:pt x="1542" y="1603"/>
                  </a:lnTo>
                  <a:lnTo>
                    <a:pt x="1535" y="1598"/>
                  </a:lnTo>
                  <a:lnTo>
                    <a:pt x="1509" y="1579"/>
                  </a:lnTo>
                  <a:lnTo>
                    <a:pt x="1481" y="1561"/>
                  </a:lnTo>
                  <a:lnTo>
                    <a:pt x="1457" y="1543"/>
                  </a:lnTo>
                  <a:lnTo>
                    <a:pt x="1435" y="1529"/>
                  </a:lnTo>
                  <a:lnTo>
                    <a:pt x="1414" y="1516"/>
                  </a:lnTo>
                  <a:lnTo>
                    <a:pt x="1394" y="1504"/>
                  </a:lnTo>
                  <a:lnTo>
                    <a:pt x="1352" y="1479"/>
                  </a:lnTo>
                  <a:lnTo>
                    <a:pt x="1304" y="1449"/>
                  </a:lnTo>
                  <a:lnTo>
                    <a:pt x="1286" y="1437"/>
                  </a:lnTo>
                  <a:lnTo>
                    <a:pt x="1270" y="1424"/>
                  </a:lnTo>
                  <a:lnTo>
                    <a:pt x="1256" y="1411"/>
                  </a:lnTo>
                  <a:lnTo>
                    <a:pt x="1241" y="1398"/>
                  </a:lnTo>
                  <a:lnTo>
                    <a:pt x="1227" y="1387"/>
                  </a:lnTo>
                  <a:lnTo>
                    <a:pt x="1212" y="1375"/>
                  </a:lnTo>
                  <a:lnTo>
                    <a:pt x="1195" y="1364"/>
                  </a:lnTo>
                  <a:lnTo>
                    <a:pt x="1176" y="1352"/>
                  </a:lnTo>
                  <a:lnTo>
                    <a:pt x="1153" y="1341"/>
                  </a:lnTo>
                  <a:lnTo>
                    <a:pt x="1133" y="1329"/>
                  </a:lnTo>
                  <a:lnTo>
                    <a:pt x="1114" y="1315"/>
                  </a:lnTo>
                  <a:lnTo>
                    <a:pt x="1097" y="1302"/>
                  </a:lnTo>
                  <a:lnTo>
                    <a:pt x="1082" y="1285"/>
                  </a:lnTo>
                  <a:lnTo>
                    <a:pt x="1067" y="1268"/>
                  </a:lnTo>
                  <a:lnTo>
                    <a:pt x="1053" y="1249"/>
                  </a:lnTo>
                  <a:lnTo>
                    <a:pt x="1040" y="1227"/>
                  </a:lnTo>
                  <a:lnTo>
                    <a:pt x="1024" y="1207"/>
                  </a:lnTo>
                  <a:lnTo>
                    <a:pt x="1008" y="1190"/>
                  </a:lnTo>
                  <a:lnTo>
                    <a:pt x="1001" y="1181"/>
                  </a:lnTo>
                  <a:lnTo>
                    <a:pt x="994" y="1171"/>
                  </a:lnTo>
                  <a:lnTo>
                    <a:pt x="989" y="1161"/>
                  </a:lnTo>
                  <a:lnTo>
                    <a:pt x="985" y="1148"/>
                  </a:lnTo>
                  <a:lnTo>
                    <a:pt x="983" y="1129"/>
                  </a:lnTo>
                  <a:lnTo>
                    <a:pt x="981" y="1112"/>
                  </a:lnTo>
                  <a:lnTo>
                    <a:pt x="981" y="1103"/>
                  </a:lnTo>
                  <a:lnTo>
                    <a:pt x="980" y="1094"/>
                  </a:lnTo>
                  <a:lnTo>
                    <a:pt x="978" y="1086"/>
                  </a:lnTo>
                  <a:lnTo>
                    <a:pt x="974" y="1077"/>
                  </a:lnTo>
                  <a:lnTo>
                    <a:pt x="958" y="1041"/>
                  </a:lnTo>
                  <a:lnTo>
                    <a:pt x="944" y="1009"/>
                  </a:lnTo>
                  <a:lnTo>
                    <a:pt x="938" y="993"/>
                  </a:lnTo>
                  <a:lnTo>
                    <a:pt x="933" y="975"/>
                  </a:lnTo>
                  <a:lnTo>
                    <a:pt x="928" y="958"/>
                  </a:lnTo>
                  <a:lnTo>
                    <a:pt x="923" y="938"/>
                  </a:lnTo>
                  <a:lnTo>
                    <a:pt x="919" y="926"/>
                  </a:lnTo>
                  <a:lnTo>
                    <a:pt x="914" y="915"/>
                  </a:lnTo>
                  <a:lnTo>
                    <a:pt x="909" y="905"/>
                  </a:lnTo>
                  <a:lnTo>
                    <a:pt x="904" y="895"/>
                  </a:lnTo>
                  <a:lnTo>
                    <a:pt x="898" y="886"/>
                  </a:lnTo>
                  <a:lnTo>
                    <a:pt x="891" y="879"/>
                  </a:lnTo>
                  <a:lnTo>
                    <a:pt x="883" y="871"/>
                  </a:lnTo>
                  <a:lnTo>
                    <a:pt x="875" y="864"/>
                  </a:lnTo>
                  <a:lnTo>
                    <a:pt x="857" y="851"/>
                  </a:lnTo>
                  <a:lnTo>
                    <a:pt x="837" y="841"/>
                  </a:lnTo>
                  <a:lnTo>
                    <a:pt x="815" y="833"/>
                  </a:lnTo>
                  <a:lnTo>
                    <a:pt x="791" y="824"/>
                  </a:lnTo>
                  <a:lnTo>
                    <a:pt x="775" y="819"/>
                  </a:lnTo>
                  <a:lnTo>
                    <a:pt x="758" y="814"/>
                  </a:lnTo>
                  <a:lnTo>
                    <a:pt x="742" y="808"/>
                  </a:lnTo>
                  <a:lnTo>
                    <a:pt x="727" y="800"/>
                  </a:lnTo>
                  <a:lnTo>
                    <a:pt x="719" y="797"/>
                  </a:lnTo>
                  <a:lnTo>
                    <a:pt x="714" y="793"/>
                  </a:lnTo>
                  <a:lnTo>
                    <a:pt x="708" y="788"/>
                  </a:lnTo>
                  <a:lnTo>
                    <a:pt x="703" y="782"/>
                  </a:lnTo>
                  <a:lnTo>
                    <a:pt x="700" y="777"/>
                  </a:lnTo>
                  <a:lnTo>
                    <a:pt x="697" y="769"/>
                  </a:lnTo>
                  <a:lnTo>
                    <a:pt x="696" y="762"/>
                  </a:lnTo>
                  <a:lnTo>
                    <a:pt x="695" y="753"/>
                  </a:lnTo>
                  <a:lnTo>
                    <a:pt x="695" y="692"/>
                  </a:lnTo>
                  <a:lnTo>
                    <a:pt x="698" y="678"/>
                  </a:lnTo>
                  <a:lnTo>
                    <a:pt x="701" y="663"/>
                  </a:lnTo>
                  <a:lnTo>
                    <a:pt x="700" y="655"/>
                  </a:lnTo>
                  <a:lnTo>
                    <a:pt x="698" y="648"/>
                  </a:lnTo>
                  <a:lnTo>
                    <a:pt x="696" y="642"/>
                  </a:lnTo>
                  <a:lnTo>
                    <a:pt x="692" y="637"/>
                  </a:lnTo>
                  <a:lnTo>
                    <a:pt x="688" y="632"/>
                  </a:lnTo>
                  <a:lnTo>
                    <a:pt x="683" y="627"/>
                  </a:lnTo>
                  <a:lnTo>
                    <a:pt x="677" y="622"/>
                  </a:lnTo>
                  <a:lnTo>
                    <a:pt x="671" y="618"/>
                  </a:lnTo>
                  <a:lnTo>
                    <a:pt x="642" y="604"/>
                  </a:lnTo>
                  <a:lnTo>
                    <a:pt x="613" y="591"/>
                  </a:lnTo>
                  <a:lnTo>
                    <a:pt x="601" y="583"/>
                  </a:lnTo>
                  <a:lnTo>
                    <a:pt x="593" y="576"/>
                  </a:lnTo>
                  <a:lnTo>
                    <a:pt x="585" y="566"/>
                  </a:lnTo>
                  <a:lnTo>
                    <a:pt x="577" y="557"/>
                  </a:lnTo>
                  <a:lnTo>
                    <a:pt x="569" y="550"/>
                  </a:lnTo>
                  <a:lnTo>
                    <a:pt x="560" y="542"/>
                  </a:lnTo>
                  <a:lnTo>
                    <a:pt x="555" y="540"/>
                  </a:lnTo>
                  <a:lnTo>
                    <a:pt x="550" y="539"/>
                  </a:lnTo>
                  <a:lnTo>
                    <a:pt x="544" y="537"/>
                  </a:lnTo>
                  <a:lnTo>
                    <a:pt x="538" y="536"/>
                  </a:lnTo>
                  <a:lnTo>
                    <a:pt x="523" y="537"/>
                  </a:lnTo>
                  <a:lnTo>
                    <a:pt x="509" y="540"/>
                  </a:lnTo>
                  <a:lnTo>
                    <a:pt x="497" y="542"/>
                  </a:lnTo>
                  <a:lnTo>
                    <a:pt x="485" y="547"/>
                  </a:lnTo>
                  <a:lnTo>
                    <a:pt x="473" y="555"/>
                  </a:lnTo>
                  <a:lnTo>
                    <a:pt x="464" y="562"/>
                  </a:lnTo>
                  <a:lnTo>
                    <a:pt x="455" y="573"/>
                  </a:lnTo>
                  <a:lnTo>
                    <a:pt x="447" y="585"/>
                  </a:lnTo>
                  <a:lnTo>
                    <a:pt x="436" y="585"/>
                  </a:lnTo>
                  <a:lnTo>
                    <a:pt x="426" y="583"/>
                  </a:lnTo>
                  <a:lnTo>
                    <a:pt x="416" y="582"/>
                  </a:lnTo>
                  <a:lnTo>
                    <a:pt x="405" y="582"/>
                  </a:lnTo>
                  <a:lnTo>
                    <a:pt x="389" y="583"/>
                  </a:lnTo>
                  <a:lnTo>
                    <a:pt x="374" y="587"/>
                  </a:lnTo>
                  <a:lnTo>
                    <a:pt x="359" y="592"/>
                  </a:lnTo>
                  <a:lnTo>
                    <a:pt x="347" y="598"/>
                  </a:lnTo>
                  <a:lnTo>
                    <a:pt x="333" y="603"/>
                  </a:lnTo>
                  <a:lnTo>
                    <a:pt x="319" y="608"/>
                  </a:lnTo>
                  <a:lnTo>
                    <a:pt x="305" y="612"/>
                  </a:lnTo>
                  <a:lnTo>
                    <a:pt x="287" y="613"/>
                  </a:lnTo>
                  <a:lnTo>
                    <a:pt x="280" y="611"/>
                  </a:lnTo>
                  <a:lnTo>
                    <a:pt x="271" y="608"/>
                  </a:lnTo>
                  <a:lnTo>
                    <a:pt x="266" y="608"/>
                  </a:lnTo>
                  <a:lnTo>
                    <a:pt x="262" y="609"/>
                  </a:lnTo>
                  <a:lnTo>
                    <a:pt x="259" y="611"/>
                  </a:lnTo>
                  <a:lnTo>
                    <a:pt x="255" y="613"/>
                  </a:lnTo>
                  <a:lnTo>
                    <a:pt x="249" y="619"/>
                  </a:lnTo>
                  <a:lnTo>
                    <a:pt x="245" y="627"/>
                  </a:lnTo>
                  <a:lnTo>
                    <a:pt x="239" y="645"/>
                  </a:lnTo>
                  <a:lnTo>
                    <a:pt x="234" y="665"/>
                  </a:lnTo>
                  <a:lnTo>
                    <a:pt x="229" y="680"/>
                  </a:lnTo>
                  <a:lnTo>
                    <a:pt x="224" y="694"/>
                  </a:lnTo>
                  <a:lnTo>
                    <a:pt x="216" y="707"/>
                  </a:lnTo>
                  <a:lnTo>
                    <a:pt x="208" y="720"/>
                  </a:lnTo>
                  <a:lnTo>
                    <a:pt x="204" y="725"/>
                  </a:lnTo>
                  <a:lnTo>
                    <a:pt x="199" y="730"/>
                  </a:lnTo>
                  <a:lnTo>
                    <a:pt x="193" y="733"/>
                  </a:lnTo>
                  <a:lnTo>
                    <a:pt x="188" y="737"/>
                  </a:lnTo>
                  <a:lnTo>
                    <a:pt x="182" y="741"/>
                  </a:lnTo>
                  <a:lnTo>
                    <a:pt x="174" y="742"/>
                  </a:lnTo>
                  <a:lnTo>
                    <a:pt x="167" y="743"/>
                  </a:lnTo>
                  <a:lnTo>
                    <a:pt x="159" y="745"/>
                  </a:lnTo>
                  <a:lnTo>
                    <a:pt x="151" y="743"/>
                  </a:lnTo>
                  <a:lnTo>
                    <a:pt x="142" y="742"/>
                  </a:lnTo>
                  <a:lnTo>
                    <a:pt x="134" y="740"/>
                  </a:lnTo>
                  <a:lnTo>
                    <a:pt x="127" y="736"/>
                  </a:lnTo>
                  <a:lnTo>
                    <a:pt x="113" y="727"/>
                  </a:lnTo>
                  <a:lnTo>
                    <a:pt x="97" y="719"/>
                  </a:lnTo>
                  <a:lnTo>
                    <a:pt x="85" y="714"/>
                  </a:lnTo>
                  <a:lnTo>
                    <a:pt x="72" y="710"/>
                  </a:lnTo>
                  <a:lnTo>
                    <a:pt x="61" y="709"/>
                  </a:lnTo>
                  <a:lnTo>
                    <a:pt x="50" y="707"/>
                  </a:lnTo>
                  <a:lnTo>
                    <a:pt x="38" y="706"/>
                  </a:lnTo>
                  <a:lnTo>
                    <a:pt x="26" y="706"/>
                  </a:lnTo>
                  <a:lnTo>
                    <a:pt x="14" y="704"/>
                  </a:lnTo>
                  <a:lnTo>
                    <a:pt x="0" y="700"/>
                  </a:lnTo>
                  <a:lnTo>
                    <a:pt x="0" y="700"/>
                  </a:lnTo>
                  <a:lnTo>
                    <a:pt x="168" y="65"/>
                  </a:lnTo>
                  <a:lnTo>
                    <a:pt x="667" y="0"/>
                  </a:lnTo>
                  <a:lnTo>
                    <a:pt x="667" y="0"/>
                  </a:lnTo>
                  <a:close/>
                </a:path>
              </a:pathLst>
            </a:custGeom>
            <a:noFill/>
            <a:ln w="317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66" name="Arrow: Curved Down 65">
              <a:extLst>
                <a:ext uri="{FF2B5EF4-FFF2-40B4-BE49-F238E27FC236}">
                  <a16:creationId xmlns:a16="http://schemas.microsoft.com/office/drawing/2014/main" id="{F9310455-3872-4D58-8F89-115854088B2A}"/>
                </a:ext>
              </a:extLst>
            </p:cNvPr>
            <p:cNvSpPr/>
            <p:nvPr/>
          </p:nvSpPr>
          <p:spPr>
            <a:xfrm rot="18808333">
              <a:off x="8671312" y="2619852"/>
              <a:ext cx="681099" cy="423907"/>
            </a:xfrm>
            <a:prstGeom prst="curvedDownArrow">
              <a:avLst/>
            </a:prstGeom>
            <a:solidFill>
              <a:srgbClr val="FFC000"/>
            </a:solidFill>
            <a:ln w="12700" cap="flat" cmpd="sng" algn="ctr">
              <a:solidFill>
                <a:srgbClr val="4472C4">
                  <a:shade val="50000"/>
                </a:srgbClr>
              </a:solid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7" name="TextBox 1537">
              <a:extLst>
                <a:ext uri="{FF2B5EF4-FFF2-40B4-BE49-F238E27FC236}">
                  <a16:creationId xmlns:a16="http://schemas.microsoft.com/office/drawing/2014/main" id="{0CB8AD12-38A2-4BA0-91A5-2F0061F6F06F}"/>
                </a:ext>
              </a:extLst>
            </p:cNvPr>
            <p:cNvSpPr txBox="1"/>
            <p:nvPr/>
          </p:nvSpPr>
          <p:spPr>
            <a:xfrm>
              <a:off x="7285476" y="2264848"/>
              <a:ext cx="2080477" cy="323802"/>
            </a:xfrm>
            <a:prstGeom prst="rect">
              <a:avLst/>
            </a:prstGeom>
            <a:solidFill>
              <a:schemeClr val="bg2"/>
            </a:solidFill>
          </p:spPr>
          <p:txBody>
            <a:bodyPr wrap="square" rtlCol="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panose="020B0604020202020204" pitchFamily="34" charset="0"/>
                  <a:ea typeface="SimSun" panose="02010600030101010101" pitchFamily="2" charset="-122"/>
                  <a:cs typeface="Arial" panose="020B0604020202020204" pitchFamily="34" charset="0"/>
                </a:rPr>
                <a:t>US$ 1.05 bn</a:t>
              </a:r>
              <a:endParaRPr kumimoji="0" lang="en-GB" sz="1000" b="0" i="0" u="none" strike="noStrike" kern="0" cap="none" spc="0" normalizeH="0" baseline="0" noProof="0">
                <a:ln>
                  <a:noFill/>
                </a:ln>
                <a:effectLst/>
                <a:uLnTx/>
                <a:uFillTx/>
                <a:latin typeface="Arial" panose="020B0604020202020204" pitchFamily="34" charset="0"/>
                <a:ea typeface="SimSun" panose="02010600030101010101" pitchFamily="2" charset="-122"/>
                <a:cs typeface="Arial" panose="020B0604020202020204" pitchFamily="34" charset="0"/>
              </a:endParaRPr>
            </a:p>
          </p:txBody>
        </p:sp>
        <p:sp>
          <p:nvSpPr>
            <p:cNvPr id="68" name="Arrow: Curved Down 67">
              <a:extLst>
                <a:ext uri="{FF2B5EF4-FFF2-40B4-BE49-F238E27FC236}">
                  <a16:creationId xmlns:a16="http://schemas.microsoft.com/office/drawing/2014/main" id="{BE48B044-D442-4E4B-8DA2-9419FA740C3B}"/>
                </a:ext>
              </a:extLst>
            </p:cNvPr>
            <p:cNvSpPr/>
            <p:nvPr/>
          </p:nvSpPr>
          <p:spPr>
            <a:xfrm rot="6267403">
              <a:off x="9210059" y="2984019"/>
              <a:ext cx="681099" cy="423907"/>
            </a:xfrm>
            <a:prstGeom prst="curvedDownArrow">
              <a:avLst/>
            </a:prstGeom>
            <a:solidFill>
              <a:srgbClr val="FFC000"/>
            </a:solidFill>
            <a:ln w="12700" cap="flat" cmpd="sng" algn="ctr">
              <a:solidFill>
                <a:srgbClr val="4472C4">
                  <a:shade val="50000"/>
                </a:srgbClr>
              </a:solid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9" name="TextBox 390">
              <a:extLst>
                <a:ext uri="{FF2B5EF4-FFF2-40B4-BE49-F238E27FC236}">
                  <a16:creationId xmlns:a16="http://schemas.microsoft.com/office/drawing/2014/main" id="{E9B51F15-D8BC-4CE9-B761-5291FB01C325}"/>
                </a:ext>
              </a:extLst>
            </p:cNvPr>
            <p:cNvSpPr txBox="1"/>
            <p:nvPr/>
          </p:nvSpPr>
          <p:spPr>
            <a:xfrm>
              <a:off x="9810630" y="2825799"/>
              <a:ext cx="2315993" cy="323800"/>
            </a:xfrm>
            <a:prstGeom prst="rect">
              <a:avLst/>
            </a:prstGeom>
            <a:solidFill>
              <a:schemeClr val="bg2"/>
            </a:solidFill>
          </p:spPr>
          <p:txBody>
            <a:bodyPr wrap="square" rtlCol="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panose="020B0604020202020204" pitchFamily="34" charset="0"/>
                  <a:ea typeface="SimSun" panose="02010600030101010101" pitchFamily="2" charset="-122"/>
                  <a:cs typeface="Arial" panose="020B0604020202020204" pitchFamily="34" charset="0"/>
                </a:rPr>
                <a:t>US$ 2.84 bn</a:t>
              </a:r>
              <a:endParaRPr kumimoji="0" lang="en-GB" sz="1000" b="0" i="0" u="none" strike="noStrike" kern="0" cap="none" spc="0" normalizeH="0" baseline="0" noProof="0">
                <a:ln>
                  <a:noFill/>
                </a:ln>
                <a:effectLst/>
                <a:uLnTx/>
                <a:uFillTx/>
                <a:latin typeface="Arial" panose="020B0604020202020204" pitchFamily="34" charset="0"/>
                <a:ea typeface="SimSun" panose="02010600030101010101" pitchFamily="2" charset="-122"/>
                <a:cs typeface="Arial" panose="020B0604020202020204" pitchFamily="34" charset="0"/>
              </a:endParaRPr>
            </a:p>
          </p:txBody>
        </p:sp>
      </p:grpSp>
      <p:sp>
        <p:nvSpPr>
          <p:cNvPr id="70" name="Rectangle 69">
            <a:extLst>
              <a:ext uri="{FF2B5EF4-FFF2-40B4-BE49-F238E27FC236}">
                <a16:creationId xmlns:a16="http://schemas.microsoft.com/office/drawing/2014/main" id="{25B659A4-F107-4B46-AFB3-8CCC8EE3EADC}"/>
              </a:ext>
            </a:extLst>
          </p:cNvPr>
          <p:cNvSpPr/>
          <p:nvPr/>
        </p:nvSpPr>
        <p:spPr>
          <a:xfrm>
            <a:off x="267590" y="1356557"/>
            <a:ext cx="11481499" cy="2670881"/>
          </a:xfrm>
          <a:prstGeom prst="rect">
            <a:avLst/>
          </a:prstGeom>
          <a:noFill/>
          <a:ln>
            <a:solidFill>
              <a:schemeClr val="accent5">
                <a:lumMod val="75000"/>
              </a:schemeClr>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71" name="TextBox 70">
            <a:extLst>
              <a:ext uri="{FF2B5EF4-FFF2-40B4-BE49-F238E27FC236}">
                <a16:creationId xmlns:a16="http://schemas.microsoft.com/office/drawing/2014/main" id="{445EA218-4665-4F49-BDF1-954E0515110F}"/>
              </a:ext>
            </a:extLst>
          </p:cNvPr>
          <p:cNvSpPr txBox="1"/>
          <p:nvPr/>
        </p:nvSpPr>
        <p:spPr>
          <a:xfrm>
            <a:off x="783052" y="1228034"/>
            <a:ext cx="4475632" cy="184666"/>
          </a:xfrm>
          <a:prstGeom prst="rect">
            <a:avLst/>
          </a:prstGeom>
          <a:noFill/>
        </p:spPr>
        <p:txBody>
          <a:bodyPr wrap="square" lIns="0" tIns="0" rIns="0" bIns="0" rtlCol="0">
            <a:spAutoFit/>
          </a:bodyPr>
          <a:lstStyle/>
          <a:p>
            <a:pPr algn="ctr">
              <a:lnSpc>
                <a:spcPct val="100000"/>
              </a:lnSpc>
              <a:spcAft>
                <a:spcPts val="600"/>
              </a:spcAft>
              <a:buSzPct val="100000"/>
            </a:pPr>
            <a:r>
              <a:rPr lang="en-US" sz="1200" b="1" i="1">
                <a:solidFill>
                  <a:schemeClr val="accent5">
                    <a:lumMod val="75000"/>
                  </a:schemeClr>
                </a:solidFill>
                <a:highlight>
                  <a:srgbClr val="F1D4D9"/>
                </a:highlight>
              </a:rPr>
              <a:t>Bilateral Economic Relations</a:t>
            </a:r>
          </a:p>
        </p:txBody>
      </p:sp>
      <p:sp>
        <p:nvSpPr>
          <p:cNvPr id="72" name="TextBox 71">
            <a:extLst>
              <a:ext uri="{FF2B5EF4-FFF2-40B4-BE49-F238E27FC236}">
                <a16:creationId xmlns:a16="http://schemas.microsoft.com/office/drawing/2014/main" id="{CE5EBBEB-F9FD-489B-9E9A-32128919166F}"/>
              </a:ext>
            </a:extLst>
          </p:cNvPr>
          <p:cNvSpPr txBox="1"/>
          <p:nvPr/>
        </p:nvSpPr>
        <p:spPr>
          <a:xfrm>
            <a:off x="6726289" y="1268299"/>
            <a:ext cx="4475632" cy="184666"/>
          </a:xfrm>
          <a:prstGeom prst="rect">
            <a:avLst/>
          </a:prstGeom>
          <a:noFill/>
        </p:spPr>
        <p:txBody>
          <a:bodyPr wrap="square" lIns="0" tIns="0" rIns="0" bIns="0" rtlCol="0">
            <a:spAutoFit/>
          </a:bodyPr>
          <a:lstStyle/>
          <a:p>
            <a:pPr algn="ctr">
              <a:lnSpc>
                <a:spcPct val="100000"/>
              </a:lnSpc>
              <a:spcAft>
                <a:spcPts val="600"/>
              </a:spcAft>
              <a:buSzPct val="100000"/>
            </a:pPr>
            <a:r>
              <a:rPr lang="en-US" sz="1200" b="1" i="1">
                <a:solidFill>
                  <a:schemeClr val="accent5">
                    <a:lumMod val="75000"/>
                  </a:schemeClr>
                </a:solidFill>
                <a:highlight>
                  <a:srgbClr val="F1D4D9"/>
                </a:highlight>
              </a:rPr>
              <a:t>Break-up of traded commodities</a:t>
            </a:r>
          </a:p>
        </p:txBody>
      </p:sp>
      <p:graphicFrame>
        <p:nvGraphicFramePr>
          <p:cNvPr id="73" name="Chart 72">
            <a:extLst>
              <a:ext uri="{FF2B5EF4-FFF2-40B4-BE49-F238E27FC236}">
                <a16:creationId xmlns:a16="http://schemas.microsoft.com/office/drawing/2014/main" id="{19E5CA9F-B4E9-48F9-89E5-2827847ED7EB}"/>
              </a:ext>
            </a:extLst>
          </p:cNvPr>
          <p:cNvGraphicFramePr/>
          <p:nvPr>
            <p:extLst>
              <p:ext uri="{D42A27DB-BD31-4B8C-83A1-F6EECF244321}">
                <p14:modId xmlns:p14="http://schemas.microsoft.com/office/powerpoint/2010/main" val="4178690109"/>
              </p:ext>
            </p:extLst>
          </p:nvPr>
        </p:nvGraphicFramePr>
        <p:xfrm>
          <a:off x="6432554" y="1856705"/>
          <a:ext cx="2271330" cy="1968253"/>
        </p:xfrm>
        <a:graphic>
          <a:graphicData uri="http://schemas.openxmlformats.org/drawingml/2006/chart">
            <c:chart xmlns:c="http://schemas.openxmlformats.org/drawingml/2006/chart" xmlns:r="http://schemas.openxmlformats.org/officeDocument/2006/relationships" r:id="rId20"/>
          </a:graphicData>
        </a:graphic>
      </p:graphicFrame>
      <p:sp>
        <p:nvSpPr>
          <p:cNvPr id="74" name="Rectangle 73">
            <a:extLst>
              <a:ext uri="{FF2B5EF4-FFF2-40B4-BE49-F238E27FC236}">
                <a16:creationId xmlns:a16="http://schemas.microsoft.com/office/drawing/2014/main" id="{11D1135C-80B5-439F-B47A-5F4750357D71}"/>
              </a:ext>
            </a:extLst>
          </p:cNvPr>
          <p:cNvSpPr/>
          <p:nvPr/>
        </p:nvSpPr>
        <p:spPr>
          <a:xfrm>
            <a:off x="6469276" y="1549402"/>
            <a:ext cx="2234608" cy="2554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latin typeface="Arial" panose="020B0604020202020204" pitchFamily="34" charset="0"/>
                <a:cs typeface="Arial" panose="020B0604020202020204" pitchFamily="34" charset="0"/>
              </a:rPr>
              <a:t>Kazakhstan Export to Uzbekistan</a:t>
            </a:r>
          </a:p>
        </p:txBody>
      </p:sp>
      <p:sp>
        <p:nvSpPr>
          <p:cNvPr id="75" name="Rectangle 74">
            <a:extLst>
              <a:ext uri="{FF2B5EF4-FFF2-40B4-BE49-F238E27FC236}">
                <a16:creationId xmlns:a16="http://schemas.microsoft.com/office/drawing/2014/main" id="{90C4DB34-29D3-4826-9D84-EC4802D13EAE}"/>
              </a:ext>
            </a:extLst>
          </p:cNvPr>
          <p:cNvSpPr/>
          <p:nvPr/>
        </p:nvSpPr>
        <p:spPr>
          <a:xfrm>
            <a:off x="9218251" y="1549402"/>
            <a:ext cx="2238910" cy="26107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a:solidFill>
                  <a:schemeClr val="tx1"/>
                </a:solidFill>
                <a:latin typeface="Arial" panose="020B0604020202020204" pitchFamily="34" charset="0"/>
                <a:cs typeface="Arial" panose="020B0604020202020204" pitchFamily="34" charset="0"/>
              </a:rPr>
              <a:t>Uzbekistan Export to Kazakhstan</a:t>
            </a:r>
          </a:p>
        </p:txBody>
      </p:sp>
      <p:graphicFrame>
        <p:nvGraphicFramePr>
          <p:cNvPr id="76" name="Chart 75">
            <a:extLst>
              <a:ext uri="{FF2B5EF4-FFF2-40B4-BE49-F238E27FC236}">
                <a16:creationId xmlns:a16="http://schemas.microsoft.com/office/drawing/2014/main" id="{3E489D93-AB60-431D-8698-320803CF7DA1}"/>
              </a:ext>
            </a:extLst>
          </p:cNvPr>
          <p:cNvGraphicFramePr/>
          <p:nvPr>
            <p:extLst>
              <p:ext uri="{D42A27DB-BD31-4B8C-83A1-F6EECF244321}">
                <p14:modId xmlns:p14="http://schemas.microsoft.com/office/powerpoint/2010/main" val="3727751787"/>
              </p:ext>
            </p:extLst>
          </p:nvPr>
        </p:nvGraphicFramePr>
        <p:xfrm>
          <a:off x="9223076" y="1846973"/>
          <a:ext cx="2343454" cy="1977985"/>
        </p:xfrm>
        <a:graphic>
          <a:graphicData uri="http://schemas.openxmlformats.org/drawingml/2006/chart">
            <c:chart xmlns:c="http://schemas.openxmlformats.org/drawingml/2006/chart" xmlns:r="http://schemas.openxmlformats.org/officeDocument/2006/relationships" r:id="rId21"/>
          </a:graphicData>
        </a:graphic>
      </p:graphicFrame>
      <p:sp>
        <p:nvSpPr>
          <p:cNvPr id="78" name="Rectangle: Rounded Corners 77">
            <a:extLst>
              <a:ext uri="{FF2B5EF4-FFF2-40B4-BE49-F238E27FC236}">
                <a16:creationId xmlns:a16="http://schemas.microsoft.com/office/drawing/2014/main" id="{DCC53DAC-6729-421A-BEEB-FE16D242DA2E}"/>
              </a:ext>
            </a:extLst>
          </p:cNvPr>
          <p:cNvSpPr/>
          <p:nvPr/>
        </p:nvSpPr>
        <p:spPr>
          <a:xfrm>
            <a:off x="3192693" y="1903329"/>
            <a:ext cx="3094023" cy="1308027"/>
          </a:xfrm>
          <a:prstGeom prst="roundRect">
            <a:avLst>
              <a:gd name="adj" fmla="val 14475"/>
            </a:avLst>
          </a:prstGeom>
          <a:solidFill>
            <a:schemeClr val="bg2"/>
          </a:solidFill>
          <a:ln>
            <a:noFill/>
          </a:ln>
          <a:effectLst/>
        </p:spPr>
        <p:txBody>
          <a:bodyPr rtlCol="0" anchor="ctr"/>
          <a:lstStyle/>
          <a:p>
            <a:pPr marL="0" marR="0" lvl="2" indent="0" algn="ctr" defTabSz="91440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effectLst/>
                <a:uLnTx/>
                <a:uFillTx/>
                <a:latin typeface="Arial"/>
                <a:ea typeface="+mn-ea"/>
                <a:cs typeface="+mn-cs"/>
              </a:rPr>
              <a:t>Current trade is mostly around primary commodities:</a:t>
            </a:r>
          </a:p>
          <a:p>
            <a:pPr marL="0" marR="0" lvl="2" indent="0" algn="ctr" defTabSz="914400" eaLnBrk="1" fontAlgn="auto" latinLnBrk="0" hangingPunct="1">
              <a:lnSpc>
                <a:spcPct val="100000"/>
              </a:lnSpc>
              <a:spcBef>
                <a:spcPts val="0"/>
              </a:spcBef>
              <a:spcAft>
                <a:spcPts val="0"/>
              </a:spcAft>
              <a:buClrTx/>
              <a:buSzTx/>
              <a:buFontTx/>
              <a:buNone/>
              <a:tabLst/>
              <a:defRPr/>
            </a:pPr>
            <a:r>
              <a:rPr lang="en-US" sz="1200" i="1" kern="0" err="1">
                <a:latin typeface="Arial"/>
              </a:rPr>
              <a:t>Kaz</a:t>
            </a:r>
            <a:r>
              <a:rPr lang="en-US" sz="1200" i="1" kern="0">
                <a:latin typeface="Arial"/>
              </a:rPr>
              <a:t> to </a:t>
            </a:r>
            <a:r>
              <a:rPr lang="en-US" sz="1200" i="1" kern="0" err="1">
                <a:latin typeface="Arial"/>
              </a:rPr>
              <a:t>Uzb</a:t>
            </a:r>
            <a:r>
              <a:rPr lang="en-US" sz="1200" i="1" kern="0">
                <a:latin typeface="Arial"/>
              </a:rPr>
              <a:t>: </a:t>
            </a:r>
            <a:r>
              <a:rPr lang="en-US" sz="1200" kern="0">
                <a:latin typeface="Arial"/>
              </a:rPr>
              <a:t>Iron and steel, Aluminum, oil and wheats</a:t>
            </a:r>
          </a:p>
          <a:p>
            <a:pPr marL="0" lvl="2" algn="ctr">
              <a:defRPr/>
            </a:pPr>
            <a:r>
              <a:rPr lang="en-US" sz="1200" i="1" kern="0" err="1">
                <a:latin typeface="Arial"/>
              </a:rPr>
              <a:t>Uzb</a:t>
            </a:r>
            <a:r>
              <a:rPr lang="en-US" sz="1200" i="1" kern="0">
                <a:latin typeface="Arial"/>
              </a:rPr>
              <a:t> to </a:t>
            </a:r>
            <a:r>
              <a:rPr lang="en-US" sz="1200" i="1" kern="0" err="1">
                <a:latin typeface="Arial"/>
              </a:rPr>
              <a:t>Kaz</a:t>
            </a:r>
            <a:r>
              <a:rPr lang="en-US" sz="1200" i="1" kern="0">
                <a:latin typeface="Arial"/>
              </a:rPr>
              <a:t>: N</a:t>
            </a:r>
            <a:r>
              <a:rPr lang="en-US" sz="1200" kern="0">
                <a:latin typeface="Arial"/>
              </a:rPr>
              <a:t>atural gas, fruits, motor vehicles and chemical products</a:t>
            </a:r>
            <a:endParaRPr kumimoji="0" lang="en-US" sz="1200" i="1" u="none" strike="noStrike" kern="0" cap="none" spc="0" normalizeH="0" baseline="0" noProof="0">
              <a:ln>
                <a:noFill/>
              </a:ln>
              <a:effectLst/>
              <a:uLnTx/>
              <a:uFillTx/>
              <a:latin typeface="Arial"/>
              <a:ea typeface="+mn-ea"/>
              <a:cs typeface="+mn-cs"/>
            </a:endParaRPr>
          </a:p>
        </p:txBody>
      </p:sp>
      <p:graphicFrame>
        <p:nvGraphicFramePr>
          <p:cNvPr id="79" name="Chart 78">
            <a:extLst>
              <a:ext uri="{FF2B5EF4-FFF2-40B4-BE49-F238E27FC236}">
                <a16:creationId xmlns:a16="http://schemas.microsoft.com/office/drawing/2014/main" id="{0DB4CD43-6A65-48B2-8F1F-149E5042DD05}"/>
              </a:ext>
            </a:extLst>
          </p:cNvPr>
          <p:cNvGraphicFramePr/>
          <p:nvPr>
            <p:custDataLst>
              <p:tags r:id="rId3"/>
            </p:custDataLst>
            <p:extLst>
              <p:ext uri="{D42A27DB-BD31-4B8C-83A1-F6EECF244321}">
                <p14:modId xmlns:p14="http://schemas.microsoft.com/office/powerpoint/2010/main" val="3404353158"/>
              </p:ext>
            </p:extLst>
          </p:nvPr>
        </p:nvGraphicFramePr>
        <p:xfrm>
          <a:off x="6658366" y="4280846"/>
          <a:ext cx="5084609" cy="1126076"/>
        </p:xfrm>
        <a:graphic>
          <a:graphicData uri="http://schemas.openxmlformats.org/drawingml/2006/chart">
            <c:chart xmlns:c="http://schemas.openxmlformats.org/drawingml/2006/chart" xmlns:r="http://schemas.openxmlformats.org/officeDocument/2006/relationships" r:id="rId22"/>
          </a:graphicData>
        </a:graphic>
      </p:graphicFrame>
      <p:sp>
        <p:nvSpPr>
          <p:cNvPr id="80" name="TextBox 79">
            <a:extLst>
              <a:ext uri="{FF2B5EF4-FFF2-40B4-BE49-F238E27FC236}">
                <a16:creationId xmlns:a16="http://schemas.microsoft.com/office/drawing/2014/main" id="{A836D1C6-70CD-4F33-B9DA-D7CCAF84A208}"/>
              </a:ext>
            </a:extLst>
          </p:cNvPr>
          <p:cNvSpPr txBox="1"/>
          <p:nvPr/>
        </p:nvSpPr>
        <p:spPr>
          <a:xfrm>
            <a:off x="368985" y="4355864"/>
            <a:ext cx="6100291" cy="1600438"/>
          </a:xfrm>
          <a:prstGeom prst="rect">
            <a:avLst/>
          </a:prstGeom>
          <a:noFill/>
          <a:ln>
            <a:noFill/>
          </a:ln>
        </p:spPr>
        <p:txBody>
          <a:bodyPr wrap="square" lIns="0" tIns="0" rIns="0" bIns="0" rtlCol="0">
            <a:spAutoFit/>
          </a:bodyPr>
          <a:lstStyle/>
          <a:p>
            <a:pPr marL="285750" indent="-285750">
              <a:spcBef>
                <a:spcPts val="600"/>
              </a:spcBef>
              <a:spcAft>
                <a:spcPts val="600"/>
              </a:spcAft>
              <a:buFont typeface="Arial" panose="020B0604020202020204" pitchFamily="34" charset="0"/>
              <a:buChar char="•"/>
            </a:pPr>
            <a:r>
              <a:rPr lang="en-US" sz="1400" dirty="0">
                <a:cs typeface="Arial" pitchFamily="34" charset="0"/>
              </a:rPr>
              <a:t>Manufacturing in both the countries has relatively grown faster as compared to services and agriculture, forestry &amp; fishing</a:t>
            </a:r>
          </a:p>
          <a:p>
            <a:pPr marL="285750" indent="-285750">
              <a:spcBef>
                <a:spcPts val="600"/>
              </a:spcBef>
              <a:spcAft>
                <a:spcPts val="600"/>
              </a:spcAft>
              <a:buFont typeface="Arial" panose="020B0604020202020204" pitchFamily="34" charset="0"/>
              <a:buChar char="•"/>
            </a:pPr>
            <a:r>
              <a:rPr lang="en-US" sz="1400" dirty="0">
                <a:cs typeface="Arial" pitchFamily="34" charset="0"/>
              </a:rPr>
              <a:t>However, the manufacturing focus on high value-added products is limited</a:t>
            </a:r>
          </a:p>
          <a:p>
            <a:pPr marL="285750" indent="-285750">
              <a:spcBef>
                <a:spcPts val="600"/>
              </a:spcBef>
              <a:spcAft>
                <a:spcPts val="600"/>
              </a:spcAft>
              <a:buFont typeface="Arial" panose="020B0604020202020204" pitchFamily="34" charset="0"/>
              <a:buChar char="•"/>
            </a:pPr>
            <a:r>
              <a:rPr lang="en-US" sz="1400" dirty="0">
                <a:cs typeface="Arial" pitchFamily="34" charset="0"/>
              </a:rPr>
              <a:t>There is a large potential for both the countries to leverage their natural resources and focusing on improving the trade profile to achieve their desired goals </a:t>
            </a:r>
          </a:p>
        </p:txBody>
      </p:sp>
      <p:sp>
        <p:nvSpPr>
          <p:cNvPr id="81" name="Text Placeholder 2">
            <a:extLst>
              <a:ext uri="{FF2B5EF4-FFF2-40B4-BE49-F238E27FC236}">
                <a16:creationId xmlns:a16="http://schemas.microsoft.com/office/drawing/2014/main" id="{4007D8AC-8A2A-4405-89B7-836F558A4A8C}"/>
              </a:ext>
            </a:extLst>
          </p:cNvPr>
          <p:cNvSpPr>
            <a:spLocks noGrp="1"/>
          </p:cNvSpPr>
          <p:nvPr>
            <p:custDataLst>
              <p:tags r:id="rId4"/>
            </p:custDataLst>
          </p:nvPr>
        </p:nvSpPr>
        <p:spPr bwMode="auto">
          <a:xfrm>
            <a:off x="7892079" y="5368467"/>
            <a:ext cx="671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063A9CA2-B7AE-4E56-810F-D94A9AD1C87F}" type="datetime'K''''a''z''ak''''''''''h''''''s''t''''''an'''''">
              <a:rPr lang="en-US" altLang="en-US" sz="1000" smtClean="0"/>
              <a:pPr lvl="0" algn="ctr">
                <a:spcBef>
                  <a:spcPct val="0"/>
                </a:spcBef>
                <a:spcAft>
                  <a:spcPct val="0"/>
                </a:spcAft>
              </a:pPr>
              <a:t>Kazakhstan</a:t>
            </a:fld>
            <a:endParaRPr lang="en-US" sz="1000" noProof="0"/>
          </a:p>
        </p:txBody>
      </p:sp>
      <p:sp>
        <p:nvSpPr>
          <p:cNvPr id="82" name="Text Placeholder 2">
            <a:extLst>
              <a:ext uri="{FF2B5EF4-FFF2-40B4-BE49-F238E27FC236}">
                <a16:creationId xmlns:a16="http://schemas.microsoft.com/office/drawing/2014/main" id="{711E4F0A-D311-4B82-86F0-F9BF51B7B3C2}"/>
              </a:ext>
            </a:extLst>
          </p:cNvPr>
          <p:cNvSpPr>
            <a:spLocks noGrp="1"/>
          </p:cNvSpPr>
          <p:nvPr>
            <p:custDataLst>
              <p:tags r:id="rId5"/>
            </p:custDataLst>
          </p:nvPr>
        </p:nvSpPr>
        <p:spPr bwMode="auto">
          <a:xfrm>
            <a:off x="10418920" y="5412854"/>
            <a:ext cx="638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ctr">
              <a:spcBef>
                <a:spcPct val="0"/>
              </a:spcBef>
              <a:spcAft>
                <a:spcPct val="0"/>
              </a:spcAft>
            </a:pPr>
            <a:fld id="{A9F3F675-2386-49B0-90EE-2BAB6EF283FB}" type="datetime'''''''''U''''''z''''bek''''''''''is''''t''''''''''''''a''n'">
              <a:rPr lang="en-US" altLang="en-US" sz="1000" smtClean="0"/>
              <a:pPr lvl="0" algn="ctr">
                <a:spcBef>
                  <a:spcPct val="0"/>
                </a:spcBef>
                <a:spcAft>
                  <a:spcPct val="0"/>
                </a:spcAft>
              </a:pPr>
              <a:t>Uzbekistan</a:t>
            </a:fld>
            <a:endParaRPr lang="en-US" sz="1000" noProof="0"/>
          </a:p>
        </p:txBody>
      </p:sp>
      <p:sp>
        <p:nvSpPr>
          <p:cNvPr id="83" name="Rectangle 82">
            <a:extLst>
              <a:ext uri="{FF2B5EF4-FFF2-40B4-BE49-F238E27FC236}">
                <a16:creationId xmlns:a16="http://schemas.microsoft.com/office/drawing/2014/main" id="{CAC9A5D4-4431-49A7-B789-86D1B1E0027C}"/>
              </a:ext>
            </a:extLst>
          </p:cNvPr>
          <p:cNvSpPr/>
          <p:nvPr>
            <p:custDataLst>
              <p:tags r:id="rId6"/>
            </p:custDataLst>
          </p:nvPr>
        </p:nvSpPr>
        <p:spPr bwMode="auto">
          <a:xfrm>
            <a:off x="7662070" y="5619352"/>
            <a:ext cx="179388" cy="133350"/>
          </a:xfrm>
          <a:prstGeom prst="rect">
            <a:avLst/>
          </a:prstGeom>
          <a:solidFill>
            <a:srgbClr val="DB536A"/>
          </a:solidFill>
          <a:ln w="9525" cap="flat"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 name="Rectangle 83">
            <a:extLst>
              <a:ext uri="{FF2B5EF4-FFF2-40B4-BE49-F238E27FC236}">
                <a16:creationId xmlns:a16="http://schemas.microsoft.com/office/drawing/2014/main" id="{CEDBA1BD-25EB-412C-957B-0A9630A249D0}"/>
              </a:ext>
            </a:extLst>
          </p:cNvPr>
          <p:cNvSpPr/>
          <p:nvPr>
            <p:custDataLst>
              <p:tags r:id="rId7"/>
            </p:custDataLst>
          </p:nvPr>
        </p:nvSpPr>
        <p:spPr bwMode="auto">
          <a:xfrm>
            <a:off x="9770270" y="5619352"/>
            <a:ext cx="179388" cy="133350"/>
          </a:xfrm>
          <a:prstGeom prst="rect">
            <a:avLst/>
          </a:prstGeom>
          <a:solidFill>
            <a:srgbClr val="000000"/>
          </a:solidFill>
          <a:ln w="9525" cap="flat"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5" name="Rectangle 84">
            <a:extLst>
              <a:ext uri="{FF2B5EF4-FFF2-40B4-BE49-F238E27FC236}">
                <a16:creationId xmlns:a16="http://schemas.microsoft.com/office/drawing/2014/main" id="{1A0F63FA-1F10-46D0-A4AA-2CF59B39DEC4}"/>
              </a:ext>
            </a:extLst>
          </p:cNvPr>
          <p:cNvSpPr/>
          <p:nvPr>
            <p:custDataLst>
              <p:tags r:id="rId8"/>
            </p:custDataLst>
          </p:nvPr>
        </p:nvSpPr>
        <p:spPr bwMode="auto">
          <a:xfrm>
            <a:off x="10832308" y="5619352"/>
            <a:ext cx="179388" cy="133350"/>
          </a:xfrm>
          <a:prstGeom prst="rect">
            <a:avLst/>
          </a:prstGeom>
          <a:solidFill>
            <a:srgbClr val="464646"/>
          </a:solidFill>
          <a:ln w="9525" cap="flat"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6" name="Rectangle 85">
            <a:extLst>
              <a:ext uri="{FF2B5EF4-FFF2-40B4-BE49-F238E27FC236}">
                <a16:creationId xmlns:a16="http://schemas.microsoft.com/office/drawing/2014/main" id="{4F215BD7-9A10-4DE5-9040-D2456F3F596A}"/>
              </a:ext>
            </a:extLst>
          </p:cNvPr>
          <p:cNvSpPr/>
          <p:nvPr>
            <p:custDataLst>
              <p:tags r:id="rId9"/>
            </p:custDataLst>
          </p:nvPr>
        </p:nvSpPr>
        <p:spPr bwMode="auto">
          <a:xfrm>
            <a:off x="7055645" y="5619352"/>
            <a:ext cx="179388" cy="133350"/>
          </a:xfrm>
          <a:prstGeom prst="rect">
            <a:avLst/>
          </a:prstGeom>
          <a:solidFill>
            <a:srgbClr val="A32020"/>
          </a:solidFill>
          <a:ln w="9525" cap="flat" cmpd="sng" algn="ctr">
            <a:solidFill>
              <a:srgbClr val="FFFFFF"/>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7" name="Text Placeholder 2">
            <a:extLst>
              <a:ext uri="{FF2B5EF4-FFF2-40B4-BE49-F238E27FC236}">
                <a16:creationId xmlns:a16="http://schemas.microsoft.com/office/drawing/2014/main" id="{9D477CA8-11A6-4749-BC26-64CBE0BE3EE8}"/>
              </a:ext>
            </a:extLst>
          </p:cNvPr>
          <p:cNvSpPr>
            <a:spLocks noGrp="1"/>
          </p:cNvSpPr>
          <p:nvPr>
            <p:custDataLst>
              <p:tags r:id="rId10"/>
            </p:custDataLst>
          </p:nvPr>
        </p:nvSpPr>
        <p:spPr bwMode="auto">
          <a:xfrm>
            <a:off x="7892258" y="5614590"/>
            <a:ext cx="177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993510C5-E02A-4B22-8FA3-C4E9B76723E4}" type="datetime'Agric''ulture'','''''''' for''''estry, a''nd'' fis''h''''ing'">
              <a:rPr lang="en-US" altLang="en-US" sz="1000" smtClean="0"/>
              <a:pPr lvl="0">
                <a:spcBef>
                  <a:spcPct val="0"/>
                </a:spcBef>
                <a:spcAft>
                  <a:spcPct val="0"/>
                </a:spcAft>
              </a:pPr>
              <a:t>Agriculture, forestry, and fishing</a:t>
            </a:fld>
            <a:endParaRPr lang="en-US" sz="1000" noProof="0"/>
          </a:p>
        </p:txBody>
      </p:sp>
      <p:sp>
        <p:nvSpPr>
          <p:cNvPr id="88" name="Text Placeholder 2">
            <a:extLst>
              <a:ext uri="{FF2B5EF4-FFF2-40B4-BE49-F238E27FC236}">
                <a16:creationId xmlns:a16="http://schemas.microsoft.com/office/drawing/2014/main" id="{E6D67C9B-A14D-4ED2-B32F-59995C79A279}"/>
              </a:ext>
            </a:extLst>
          </p:cNvPr>
          <p:cNvSpPr>
            <a:spLocks noGrp="1"/>
          </p:cNvSpPr>
          <p:nvPr>
            <p:custDataLst>
              <p:tags r:id="rId11"/>
            </p:custDataLst>
          </p:nvPr>
        </p:nvSpPr>
        <p:spPr bwMode="auto">
          <a:xfrm>
            <a:off x="10000458" y="5614590"/>
            <a:ext cx="730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D7F44DE3-7FDD-4B91-98E9-E14CAB6267A1}" type="datetime'''''''''''M''''''a''''u''''''f''ac''''tu''''''r''''in''''g'''">
              <a:rPr lang="en-US" altLang="en-US" sz="1000" smtClean="0"/>
              <a:pPr lvl="0">
                <a:spcBef>
                  <a:spcPct val="0"/>
                </a:spcBef>
                <a:spcAft>
                  <a:spcPct val="0"/>
                </a:spcAft>
              </a:pPr>
              <a:t>Maufacturing</a:t>
            </a:fld>
            <a:endParaRPr lang="en-US" sz="1000" noProof="0"/>
          </a:p>
        </p:txBody>
      </p:sp>
      <p:sp>
        <p:nvSpPr>
          <p:cNvPr id="89" name="Text Placeholder 2">
            <a:extLst>
              <a:ext uri="{FF2B5EF4-FFF2-40B4-BE49-F238E27FC236}">
                <a16:creationId xmlns:a16="http://schemas.microsoft.com/office/drawing/2014/main" id="{7695EA24-741B-488B-BFFA-F5551F10E5A0}"/>
              </a:ext>
            </a:extLst>
          </p:cNvPr>
          <p:cNvSpPr>
            <a:spLocks noGrp="1"/>
          </p:cNvSpPr>
          <p:nvPr>
            <p:custDataLst>
              <p:tags r:id="rId12"/>
            </p:custDataLst>
          </p:nvPr>
        </p:nvSpPr>
        <p:spPr bwMode="auto">
          <a:xfrm>
            <a:off x="11062495" y="5614590"/>
            <a:ext cx="485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CB0F1577-2DD6-4FB7-BCC9-DCF30E2A6E7D}" type="datetime'''''''S''''''''''''e''''''''''''''''r''v''''ic''''e''''s'">
              <a:rPr lang="en-US" altLang="en-US" sz="1000" smtClean="0"/>
              <a:pPr lvl="0">
                <a:spcBef>
                  <a:spcPct val="0"/>
                </a:spcBef>
                <a:spcAft>
                  <a:spcPct val="0"/>
                </a:spcAft>
              </a:pPr>
              <a:t>Services</a:t>
            </a:fld>
            <a:endParaRPr lang="en-US" sz="1000" noProof="0"/>
          </a:p>
        </p:txBody>
      </p:sp>
      <p:sp>
        <p:nvSpPr>
          <p:cNvPr id="90" name="Text Placeholder 2">
            <a:extLst>
              <a:ext uri="{FF2B5EF4-FFF2-40B4-BE49-F238E27FC236}">
                <a16:creationId xmlns:a16="http://schemas.microsoft.com/office/drawing/2014/main" id="{163D2175-3043-4878-8F93-E1B859F5CE27}"/>
              </a:ext>
            </a:extLst>
          </p:cNvPr>
          <p:cNvSpPr>
            <a:spLocks noGrp="1"/>
          </p:cNvSpPr>
          <p:nvPr>
            <p:custDataLst>
              <p:tags r:id="rId13"/>
            </p:custDataLst>
          </p:nvPr>
        </p:nvSpPr>
        <p:spPr bwMode="auto">
          <a:xfrm>
            <a:off x="7285833" y="5614590"/>
            <a:ext cx="274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fld id="{13F238CF-E8A2-4850-B249-686418C2B8C1}" type="datetime'''''''''''''''G''''''''''''D''''''P'''''''''''''''''''''''''''">
              <a:rPr lang="en-US" altLang="en-US" sz="1000" smtClean="0"/>
              <a:pPr lvl="0">
                <a:spcBef>
                  <a:spcPct val="0"/>
                </a:spcBef>
                <a:spcAft>
                  <a:spcPct val="0"/>
                </a:spcAft>
              </a:pPr>
              <a:t>GDP</a:t>
            </a:fld>
            <a:endParaRPr lang="en-US" sz="1000" noProof="0"/>
          </a:p>
        </p:txBody>
      </p:sp>
      <p:sp>
        <p:nvSpPr>
          <p:cNvPr id="91" name="Text Placeholder 2">
            <a:extLst>
              <a:ext uri="{FF2B5EF4-FFF2-40B4-BE49-F238E27FC236}">
                <a16:creationId xmlns:a16="http://schemas.microsoft.com/office/drawing/2014/main" id="{3E7653CD-DCC6-4FAF-BD7B-B154072B2112}"/>
              </a:ext>
            </a:extLst>
          </p:cNvPr>
          <p:cNvSpPr>
            <a:spLocks noGrp="1"/>
          </p:cNvSpPr>
          <p:nvPr>
            <p:custDataLst>
              <p:tags r:id="rId14"/>
            </p:custDataLst>
          </p:nvPr>
        </p:nvSpPr>
        <p:spPr bwMode="auto">
          <a:xfrm>
            <a:off x="9859964" y="4062555"/>
            <a:ext cx="1889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lgn="r">
              <a:spcBef>
                <a:spcPct val="0"/>
              </a:spcBef>
              <a:spcAft>
                <a:spcPct val="0"/>
              </a:spcAft>
            </a:pPr>
            <a:r>
              <a:rPr lang="en-US" altLang="en-US" sz="1000" i="1" dirty="0">
                <a:effectLst/>
              </a:rPr>
              <a:t>Growth rate between 2017-2021</a:t>
            </a:r>
          </a:p>
        </p:txBody>
      </p:sp>
      <p:sp>
        <p:nvSpPr>
          <p:cNvPr id="37" name="Text Placeholder 2">
            <a:extLst>
              <a:ext uri="{FF2B5EF4-FFF2-40B4-BE49-F238E27FC236}">
                <a16:creationId xmlns:a16="http://schemas.microsoft.com/office/drawing/2014/main" id="{28BE1D04-9567-4CCD-B5E4-A2BF6C190F96}"/>
              </a:ext>
            </a:extLst>
          </p:cNvPr>
          <p:cNvSpPr>
            <a:spLocks noGrp="1"/>
          </p:cNvSpPr>
          <p:nvPr>
            <p:custDataLst>
              <p:tags r:id="rId15"/>
            </p:custDataLst>
          </p:nvPr>
        </p:nvSpPr>
        <p:spPr bwMode="auto">
          <a:xfrm>
            <a:off x="267590" y="6132328"/>
            <a:ext cx="1889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a:lstStyle>
          <a:p>
            <a:pPr lvl="0">
              <a:spcBef>
                <a:spcPct val="0"/>
              </a:spcBef>
              <a:spcAft>
                <a:spcPct val="0"/>
              </a:spcAft>
            </a:pPr>
            <a:r>
              <a:rPr lang="en-US" altLang="en-US" sz="1000" i="1" dirty="0">
                <a:effectLst/>
              </a:rPr>
              <a:t>Source: ITC Trade map</a:t>
            </a:r>
            <a:r>
              <a:rPr lang="en-US" altLang="en-US" sz="1000" i="1" dirty="0"/>
              <a:t>; World Bank Database</a:t>
            </a:r>
            <a:endParaRPr lang="en-US" altLang="en-US" sz="1000" i="1" dirty="0">
              <a:effectLst/>
            </a:endParaRPr>
          </a:p>
        </p:txBody>
      </p:sp>
    </p:spTree>
    <p:custDataLst>
      <p:custData r:id="rId1"/>
    </p:custDataLst>
    <p:extLst>
      <p:ext uri="{BB962C8B-B14F-4D97-AF65-F5344CB8AC3E}">
        <p14:creationId xmlns:p14="http://schemas.microsoft.com/office/powerpoint/2010/main" val="503608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095B41-810A-40B0-8ED6-F81B04F6610B}"/>
              </a:ext>
            </a:extLst>
          </p:cNvPr>
          <p:cNvGraphicFramePr>
            <a:graphicFrameLocks noChangeAspect="1"/>
          </p:cNvGraphicFramePr>
          <p:nvPr>
            <p:custDataLst>
              <p:tags r:id="rId2"/>
            </p:custDataLst>
            <p:extLst>
              <p:ext uri="{D42A27DB-BD31-4B8C-83A1-F6EECF244321}">
                <p14:modId xmlns:p14="http://schemas.microsoft.com/office/powerpoint/2010/main" val="2698124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2" name="Object 1" hidden="1">
                        <a:extLst>
                          <a:ext uri="{FF2B5EF4-FFF2-40B4-BE49-F238E27FC236}">
                            <a16:creationId xmlns:a16="http://schemas.microsoft.com/office/drawing/2014/main" id="{58095B41-810A-40B0-8ED6-F81B04F661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Rounded Corners 22">
            <a:extLst>
              <a:ext uri="{FF2B5EF4-FFF2-40B4-BE49-F238E27FC236}">
                <a16:creationId xmlns:a16="http://schemas.microsoft.com/office/drawing/2014/main" id="{50BC18F9-2CD8-4F73-8858-45C4B53D82B2}"/>
              </a:ext>
            </a:extLst>
          </p:cNvPr>
          <p:cNvSpPr/>
          <p:nvPr/>
        </p:nvSpPr>
        <p:spPr>
          <a:xfrm>
            <a:off x="349336" y="5466067"/>
            <a:ext cx="11696274" cy="798378"/>
          </a:xfrm>
          <a:prstGeom prst="roundRect">
            <a:avLst/>
          </a:prstGeom>
          <a:solidFill>
            <a:srgbClr val="FFFFFF"/>
          </a:solidFill>
          <a:ln w="6350">
            <a:solidFill>
              <a:srgbClr val="AE6800"/>
            </a:solidFill>
            <a:prstDash val="lgDashDot"/>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 name="Google Shape;50;p2"/>
          <p:cNvSpPr txBox="1">
            <a:spLocks noGrp="1"/>
          </p:cNvSpPr>
          <p:nvPr>
            <p:ph type="title"/>
          </p:nvPr>
        </p:nvSpPr>
        <p:spPr>
          <a:xfrm>
            <a:off x="442914" y="345559"/>
            <a:ext cx="11306175" cy="369332"/>
          </a:xfrm>
        </p:spPr>
        <p:txBody>
          <a:bodyPr anchor="ctr" anchorCtr="0">
            <a:normAutofit/>
          </a:bodyPr>
          <a:lstStyle/>
          <a:p>
            <a:pPr lvl="0"/>
            <a:r>
              <a:rPr lang="en-US" sz="2400" b="0" dirty="0">
                <a:latin typeface="Georgia" panose="02040502050405020303" pitchFamily="18" charset="0"/>
              </a:rPr>
              <a:t>Non-Tariff Barriers between Kazakhstan and Uzbekistan</a:t>
            </a:r>
          </a:p>
        </p:txBody>
      </p:sp>
      <p:sp>
        <p:nvSpPr>
          <p:cNvPr id="67" name="Rectangle: Rounded Corners 66">
            <a:extLst>
              <a:ext uri="{FF2B5EF4-FFF2-40B4-BE49-F238E27FC236}">
                <a16:creationId xmlns:a16="http://schemas.microsoft.com/office/drawing/2014/main" id="{2E221770-D155-4210-B438-453618879711}"/>
              </a:ext>
            </a:extLst>
          </p:cNvPr>
          <p:cNvSpPr/>
          <p:nvPr/>
        </p:nvSpPr>
        <p:spPr>
          <a:xfrm>
            <a:off x="349336" y="3501274"/>
            <a:ext cx="11696274" cy="1871336"/>
          </a:xfrm>
          <a:prstGeom prst="roundRect">
            <a:avLst/>
          </a:prstGeom>
          <a:solidFill>
            <a:srgbClr val="FFFFFF"/>
          </a:solidFill>
          <a:ln w="6350">
            <a:solidFill>
              <a:srgbClr val="AE6800"/>
            </a:solidFill>
            <a:prstDash val="lgDashDot"/>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Rounded Corners 6">
            <a:extLst>
              <a:ext uri="{FF2B5EF4-FFF2-40B4-BE49-F238E27FC236}">
                <a16:creationId xmlns:a16="http://schemas.microsoft.com/office/drawing/2014/main" id="{65081390-D4D4-4025-8641-086646EE7247}"/>
              </a:ext>
            </a:extLst>
          </p:cNvPr>
          <p:cNvSpPr/>
          <p:nvPr/>
        </p:nvSpPr>
        <p:spPr>
          <a:xfrm>
            <a:off x="349336" y="1668335"/>
            <a:ext cx="11696274" cy="1760665"/>
          </a:xfrm>
          <a:prstGeom prst="roundRect">
            <a:avLst/>
          </a:prstGeom>
          <a:solidFill>
            <a:srgbClr val="FFFFFF"/>
          </a:solidFill>
          <a:ln w="6350">
            <a:solidFill>
              <a:srgbClr val="AE6800"/>
            </a:solidFill>
            <a:prstDash val="lgDashDot"/>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2" name="TextBox 51">
            <a:extLst>
              <a:ext uri="{FF2B5EF4-FFF2-40B4-BE49-F238E27FC236}">
                <a16:creationId xmlns:a16="http://schemas.microsoft.com/office/drawing/2014/main" id="{6570146E-0CD3-4108-A073-CEB971B18340}"/>
              </a:ext>
            </a:extLst>
          </p:cNvPr>
          <p:cNvSpPr txBox="1"/>
          <p:nvPr/>
        </p:nvSpPr>
        <p:spPr>
          <a:xfrm>
            <a:off x="349336" y="1438318"/>
            <a:ext cx="11404739" cy="646331"/>
          </a:xfrm>
          <a:prstGeom prst="rect">
            <a:avLst/>
          </a:prstGeom>
          <a:noFill/>
          <a:ln>
            <a:noFill/>
          </a:ln>
        </p:spPr>
        <p:txBody>
          <a:bodyPr wrap="square" lIns="0" tIns="0" rIns="0" bIns="0" rtlCol="0">
            <a:spAutoFit/>
          </a:bodyPr>
          <a:lstStyle/>
          <a:p>
            <a:pPr algn="ctr"/>
            <a:r>
              <a:rPr lang="en-US" sz="1400" i="1">
                <a:cs typeface="Arial" pitchFamily="34" charset="0"/>
              </a:rPr>
              <a:t>M</a:t>
            </a:r>
            <a:r>
              <a:rPr lang="en-US" sz="1400" i="1" noProof="0" err="1">
                <a:solidFill>
                  <a:schemeClr val="tx1"/>
                </a:solidFill>
                <a:cs typeface="Arial" pitchFamily="34" charset="0"/>
              </a:rPr>
              <a:t>ultiple</a:t>
            </a:r>
            <a:r>
              <a:rPr lang="en-US" sz="1400" i="1" noProof="0">
                <a:solidFill>
                  <a:schemeClr val="tx1"/>
                </a:solidFill>
                <a:cs typeface="Arial" pitchFamily="34" charset="0"/>
              </a:rPr>
              <a:t> non-tariff barriers constrain their bilateral trade. </a:t>
            </a:r>
          </a:p>
          <a:p>
            <a:pPr algn="ctr"/>
            <a:endParaRPr lang="en-US" sz="1400" i="1" noProof="0">
              <a:solidFill>
                <a:schemeClr val="tx1"/>
              </a:solidFill>
              <a:cs typeface="Arial" pitchFamily="34" charset="0"/>
            </a:endParaRPr>
          </a:p>
          <a:p>
            <a:pPr algn="ctr"/>
            <a:endParaRPr lang="en-US" sz="1400" i="1" noProof="0">
              <a:solidFill>
                <a:schemeClr val="tx1"/>
              </a:solidFill>
              <a:cs typeface="Arial" pitchFamily="34" charset="0"/>
            </a:endParaRPr>
          </a:p>
        </p:txBody>
      </p:sp>
      <p:sp>
        <p:nvSpPr>
          <p:cNvPr id="53" name="TextBox 52">
            <a:extLst>
              <a:ext uri="{FF2B5EF4-FFF2-40B4-BE49-F238E27FC236}">
                <a16:creationId xmlns:a16="http://schemas.microsoft.com/office/drawing/2014/main" id="{D729D9AA-954C-4EF2-B007-EECD3EF14233}"/>
              </a:ext>
            </a:extLst>
          </p:cNvPr>
          <p:cNvSpPr txBox="1"/>
          <p:nvPr/>
        </p:nvSpPr>
        <p:spPr>
          <a:xfrm>
            <a:off x="1201326" y="1187650"/>
            <a:ext cx="8682650" cy="184666"/>
          </a:xfrm>
          <a:prstGeom prst="rect">
            <a:avLst/>
          </a:prstGeom>
          <a:noFill/>
        </p:spPr>
        <p:txBody>
          <a:bodyPr wrap="square" lIns="0" tIns="0" rIns="0" bIns="0" rtlCol="0">
            <a:spAutoFit/>
          </a:bodyPr>
          <a:lstStyle/>
          <a:p>
            <a:pPr algn="ctr">
              <a:lnSpc>
                <a:spcPct val="100000"/>
              </a:lnSpc>
              <a:spcAft>
                <a:spcPts val="600"/>
              </a:spcAft>
              <a:buSzPct val="100000"/>
            </a:pPr>
            <a:r>
              <a:rPr lang="en-US" sz="1200" b="1" i="1">
                <a:solidFill>
                  <a:schemeClr val="accent5">
                    <a:lumMod val="75000"/>
                  </a:schemeClr>
                </a:solidFill>
                <a:highlight>
                  <a:srgbClr val="F1D4D9"/>
                </a:highlight>
              </a:rPr>
              <a:t>Non- Tariff Barriers</a:t>
            </a:r>
          </a:p>
        </p:txBody>
      </p:sp>
      <p:sp>
        <p:nvSpPr>
          <p:cNvPr id="56" name="Rectangle: Rounded Corners 55">
            <a:extLst>
              <a:ext uri="{FF2B5EF4-FFF2-40B4-BE49-F238E27FC236}">
                <a16:creationId xmlns:a16="http://schemas.microsoft.com/office/drawing/2014/main" id="{680F7ADE-226D-4F1E-9050-8CC02CB46909}"/>
              </a:ext>
            </a:extLst>
          </p:cNvPr>
          <p:cNvSpPr/>
          <p:nvPr/>
        </p:nvSpPr>
        <p:spPr>
          <a:xfrm>
            <a:off x="4555448" y="1843627"/>
            <a:ext cx="7162167" cy="525529"/>
          </a:xfrm>
          <a:prstGeom prst="roundRect">
            <a:avLst>
              <a:gd name="adj" fmla="val 14475"/>
            </a:avLst>
          </a:prstGeom>
          <a:solidFill>
            <a:schemeClr val="bg2"/>
          </a:solidFill>
          <a:ln>
            <a:noFill/>
          </a:ln>
          <a:effectLst/>
        </p:spPr>
        <p:txBody>
          <a:bodyPr rtlCol="0" anchor="ctr"/>
          <a:lstStyle/>
          <a:p>
            <a:pPr marL="0" marR="0" lvl="2" indent="0" algn="ctr" defTabSz="91440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effectLst/>
                <a:uLnTx/>
                <a:uFillTx/>
                <a:latin typeface="Arial"/>
                <a:ea typeface="+mn-ea"/>
                <a:cs typeface="+mn-cs"/>
              </a:rPr>
              <a:t>Kazakhstan implements </a:t>
            </a:r>
            <a:r>
              <a:rPr kumimoji="0" lang="en-US" sz="1200" b="1" i="1" u="none" strike="noStrike" kern="0" cap="none" spc="0" normalizeH="0" baseline="0" noProof="0">
                <a:ln>
                  <a:noFill/>
                </a:ln>
                <a:effectLst/>
                <a:uLnTx/>
                <a:uFillTx/>
                <a:latin typeface="Arial"/>
                <a:ea typeface="+mn-ea"/>
                <a:cs typeface="+mn-cs"/>
              </a:rPr>
              <a:t>EAEU technical regulations </a:t>
            </a:r>
          </a:p>
        </p:txBody>
      </p:sp>
      <p:sp>
        <p:nvSpPr>
          <p:cNvPr id="3" name="Rectangle: Rounded Corners 2">
            <a:extLst>
              <a:ext uri="{FF2B5EF4-FFF2-40B4-BE49-F238E27FC236}">
                <a16:creationId xmlns:a16="http://schemas.microsoft.com/office/drawing/2014/main" id="{2A24D285-366B-472A-80D5-B9209DC47BA3}"/>
              </a:ext>
            </a:extLst>
          </p:cNvPr>
          <p:cNvSpPr/>
          <p:nvPr/>
        </p:nvSpPr>
        <p:spPr>
          <a:xfrm>
            <a:off x="452099" y="1987375"/>
            <a:ext cx="3811814" cy="853456"/>
          </a:xfrm>
          <a:prstGeom prst="roundRect">
            <a:avLst/>
          </a:prstGeom>
          <a:solidFill>
            <a:srgbClr val="A32020"/>
          </a:solidFill>
          <a:ln w="635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Unharmonized trade standards</a:t>
            </a:r>
          </a:p>
        </p:txBody>
      </p:sp>
      <p:sp>
        <p:nvSpPr>
          <p:cNvPr id="57" name="Rectangle: Rounded Corners 56">
            <a:extLst>
              <a:ext uri="{FF2B5EF4-FFF2-40B4-BE49-F238E27FC236}">
                <a16:creationId xmlns:a16="http://schemas.microsoft.com/office/drawing/2014/main" id="{C675E43B-7FD9-4F26-8E63-C953D0559578}"/>
              </a:ext>
            </a:extLst>
          </p:cNvPr>
          <p:cNvSpPr/>
          <p:nvPr/>
        </p:nvSpPr>
        <p:spPr>
          <a:xfrm>
            <a:off x="562624" y="3870755"/>
            <a:ext cx="3811814" cy="646331"/>
          </a:xfrm>
          <a:prstGeom prst="roundRect">
            <a:avLst/>
          </a:prstGeom>
          <a:solidFill>
            <a:srgbClr val="A32020"/>
          </a:solidFill>
          <a:ln w="635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bg1"/>
                </a:solidFill>
              </a:rPr>
              <a:t>High Cost of Border Crossing</a:t>
            </a:r>
          </a:p>
        </p:txBody>
      </p:sp>
      <p:grpSp>
        <p:nvGrpSpPr>
          <p:cNvPr id="10" name="Group 9">
            <a:extLst>
              <a:ext uri="{FF2B5EF4-FFF2-40B4-BE49-F238E27FC236}">
                <a16:creationId xmlns:a16="http://schemas.microsoft.com/office/drawing/2014/main" id="{60700623-5BEB-425B-81F5-F16C66838281}"/>
              </a:ext>
            </a:extLst>
          </p:cNvPr>
          <p:cNvGrpSpPr/>
          <p:nvPr/>
        </p:nvGrpSpPr>
        <p:grpSpPr>
          <a:xfrm>
            <a:off x="562624" y="5539873"/>
            <a:ext cx="11265510" cy="650766"/>
            <a:chOff x="562624" y="5615897"/>
            <a:chExt cx="11265510" cy="650766"/>
          </a:xfrm>
        </p:grpSpPr>
        <p:sp>
          <p:nvSpPr>
            <p:cNvPr id="58" name="Rectangle: Rounded Corners 57">
              <a:extLst>
                <a:ext uri="{FF2B5EF4-FFF2-40B4-BE49-F238E27FC236}">
                  <a16:creationId xmlns:a16="http://schemas.microsoft.com/office/drawing/2014/main" id="{81D100A9-D220-40D1-80F6-E2EB476FF49E}"/>
                </a:ext>
              </a:extLst>
            </p:cNvPr>
            <p:cNvSpPr/>
            <p:nvPr/>
          </p:nvSpPr>
          <p:spPr>
            <a:xfrm>
              <a:off x="562624" y="5615897"/>
              <a:ext cx="3811814" cy="646331"/>
            </a:xfrm>
            <a:prstGeom prst="roundRect">
              <a:avLst/>
            </a:prstGeom>
            <a:solidFill>
              <a:srgbClr val="A32020"/>
            </a:solidFill>
            <a:ln w="6350">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1"/>
                  </a:solidFill>
                </a:rPr>
                <a:t>Occasional trade Restrictions</a:t>
              </a:r>
            </a:p>
          </p:txBody>
        </p:sp>
        <p:sp>
          <p:nvSpPr>
            <p:cNvPr id="60" name="Rectangle: Rounded Corners 59">
              <a:extLst>
                <a:ext uri="{FF2B5EF4-FFF2-40B4-BE49-F238E27FC236}">
                  <a16:creationId xmlns:a16="http://schemas.microsoft.com/office/drawing/2014/main" id="{1D6C84B9-254A-4158-8899-F02ACCE3C06D}"/>
                </a:ext>
              </a:extLst>
            </p:cNvPr>
            <p:cNvSpPr/>
            <p:nvPr/>
          </p:nvSpPr>
          <p:spPr>
            <a:xfrm>
              <a:off x="4665967" y="5615897"/>
              <a:ext cx="7162167" cy="650766"/>
            </a:xfrm>
            <a:prstGeom prst="roundRect">
              <a:avLst>
                <a:gd name="adj" fmla="val 14475"/>
              </a:avLst>
            </a:prstGeom>
            <a:solidFill>
              <a:schemeClr val="bg2"/>
            </a:solidFill>
            <a:ln>
              <a:noFill/>
            </a:ln>
            <a:effectLst/>
          </p:spPr>
          <p:txBody>
            <a:bodyPr rtlCol="0" anchor="ctr"/>
            <a:lstStyle/>
            <a:p>
              <a:pPr marL="0" marR="0" lvl="2" indent="0" algn="ctr" defTabSz="91440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effectLst/>
                  <a:uLnTx/>
                  <a:uFillTx/>
                  <a:latin typeface="Arial"/>
                  <a:ea typeface="+mn-ea"/>
                  <a:cs typeface="+mn-cs"/>
                </a:rPr>
                <a:t>Ad-hoc export restrictions on essential goods negatively impact bi-lateral trade flows and risks cross border supply chains</a:t>
              </a:r>
            </a:p>
          </p:txBody>
        </p:sp>
      </p:grpSp>
      <p:sp>
        <p:nvSpPr>
          <p:cNvPr id="62" name="Rectangle: Rounded Corners 61">
            <a:extLst>
              <a:ext uri="{FF2B5EF4-FFF2-40B4-BE49-F238E27FC236}">
                <a16:creationId xmlns:a16="http://schemas.microsoft.com/office/drawing/2014/main" id="{DAC90D72-638B-4E4B-9311-6ED7D96D5A45}"/>
              </a:ext>
            </a:extLst>
          </p:cNvPr>
          <p:cNvSpPr/>
          <p:nvPr/>
        </p:nvSpPr>
        <p:spPr>
          <a:xfrm>
            <a:off x="4555448" y="2484007"/>
            <a:ext cx="7162167" cy="381781"/>
          </a:xfrm>
          <a:prstGeom prst="roundRect">
            <a:avLst>
              <a:gd name="adj" fmla="val 14475"/>
            </a:avLst>
          </a:prstGeom>
          <a:solidFill>
            <a:schemeClr val="bg2"/>
          </a:solidFill>
          <a:ln>
            <a:noFill/>
          </a:ln>
          <a:effectLst/>
        </p:spPr>
        <p:txBody>
          <a:bodyPr rtlCol="0" anchor="ctr"/>
          <a:lstStyle/>
          <a:p>
            <a:pPr marL="0" marR="0" lvl="2" indent="0" algn="ctr" defTabSz="91440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effectLst/>
                <a:uLnTx/>
                <a:uFillTx/>
                <a:latin typeface="Arial"/>
                <a:ea typeface="+mn-ea"/>
                <a:cs typeface="+mn-cs"/>
              </a:rPr>
              <a:t>Uzbekistan adheres to its </a:t>
            </a:r>
            <a:r>
              <a:rPr kumimoji="0" lang="en-US" sz="1200" b="1" i="1" u="none" strike="noStrike" kern="0" cap="none" spc="0" normalizeH="0" baseline="0" noProof="0">
                <a:ln>
                  <a:noFill/>
                </a:ln>
                <a:effectLst/>
                <a:uLnTx/>
                <a:uFillTx/>
                <a:latin typeface="Arial"/>
                <a:ea typeface="+mn-ea"/>
                <a:cs typeface="+mn-cs"/>
              </a:rPr>
              <a:t>National technical regulations </a:t>
            </a:r>
          </a:p>
        </p:txBody>
      </p:sp>
      <p:sp>
        <p:nvSpPr>
          <p:cNvPr id="6" name="TextBox 5">
            <a:extLst>
              <a:ext uri="{FF2B5EF4-FFF2-40B4-BE49-F238E27FC236}">
                <a16:creationId xmlns:a16="http://schemas.microsoft.com/office/drawing/2014/main" id="{EA4C589A-2331-482A-A330-4AB7DE8CDE80}"/>
              </a:ext>
            </a:extLst>
          </p:cNvPr>
          <p:cNvSpPr txBox="1"/>
          <p:nvPr/>
        </p:nvSpPr>
        <p:spPr>
          <a:xfrm>
            <a:off x="442915" y="2931114"/>
            <a:ext cx="11274700" cy="418576"/>
          </a:xfrm>
          <a:prstGeom prst="rect">
            <a:avLst/>
          </a:prstGeom>
          <a:noFill/>
          <a:ln>
            <a:noFill/>
          </a:ln>
        </p:spPr>
        <p:txBody>
          <a:bodyPr wrap="square" lIns="0" tIns="0" rIns="0" bIns="0" rtlCol="0">
            <a:spAutoFit/>
          </a:bodyPr>
          <a:lstStyle/>
          <a:p>
            <a:pPr algn="ctr"/>
            <a:r>
              <a:rPr lang="en-US" sz="1360" b="1">
                <a:solidFill>
                  <a:schemeClr val="accent5">
                    <a:lumMod val="75000"/>
                  </a:schemeClr>
                </a:solidFill>
                <a:cs typeface="Arial" pitchFamily="34" charset="0"/>
              </a:rPr>
              <a:t>Both EAEU and Uzbekistan’s National Technical standards are only partially consistent with International Standards causing significant barrier to Bi-lateral trade</a:t>
            </a:r>
            <a:endParaRPr lang="en-US" sz="1360" b="1" noProof="0">
              <a:solidFill>
                <a:schemeClr val="accent5">
                  <a:lumMod val="75000"/>
                </a:schemeClr>
              </a:solidFill>
              <a:cs typeface="Arial" pitchFamily="34" charset="0"/>
            </a:endParaRPr>
          </a:p>
        </p:txBody>
      </p:sp>
      <p:sp>
        <p:nvSpPr>
          <p:cNvPr id="63" name="Rectangle: Rounded Corners 62">
            <a:extLst>
              <a:ext uri="{FF2B5EF4-FFF2-40B4-BE49-F238E27FC236}">
                <a16:creationId xmlns:a16="http://schemas.microsoft.com/office/drawing/2014/main" id="{35860C49-547D-4262-BC50-796E0936B90A}"/>
              </a:ext>
            </a:extLst>
          </p:cNvPr>
          <p:cNvSpPr/>
          <p:nvPr/>
        </p:nvSpPr>
        <p:spPr>
          <a:xfrm>
            <a:off x="4648317" y="3598811"/>
            <a:ext cx="7162167" cy="650766"/>
          </a:xfrm>
          <a:prstGeom prst="roundRect">
            <a:avLst>
              <a:gd name="adj" fmla="val 14475"/>
            </a:avLst>
          </a:prstGeom>
          <a:solidFill>
            <a:schemeClr val="bg2"/>
          </a:solidFill>
          <a:ln>
            <a:noFill/>
          </a:ln>
          <a:effectLst/>
        </p:spPr>
        <p:txBody>
          <a:bodyPr rtlCol="0" anchor="ctr"/>
          <a:lstStyle/>
          <a:p>
            <a:pPr marL="0" marR="0" lvl="2" indent="0" algn="ctr" defTabSz="91440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effectLst/>
                <a:uLnTx/>
                <a:uFillTx/>
                <a:latin typeface="Arial"/>
                <a:ea typeface="+mn-ea"/>
                <a:cs typeface="+mn-cs"/>
              </a:rPr>
              <a:t>High cost of border crossing for cargo shipments by road and rail due to inadequate BCP infra, cumbersome border controls</a:t>
            </a:r>
          </a:p>
        </p:txBody>
      </p:sp>
      <p:sp>
        <p:nvSpPr>
          <p:cNvPr id="64" name="TextBox 63">
            <a:extLst>
              <a:ext uri="{FF2B5EF4-FFF2-40B4-BE49-F238E27FC236}">
                <a16:creationId xmlns:a16="http://schemas.microsoft.com/office/drawing/2014/main" id="{81A63D1D-40B4-44D8-8517-7B9E2012ED66}"/>
              </a:ext>
            </a:extLst>
          </p:cNvPr>
          <p:cNvSpPr txBox="1"/>
          <p:nvPr/>
        </p:nvSpPr>
        <p:spPr>
          <a:xfrm>
            <a:off x="562624" y="4678753"/>
            <a:ext cx="3811814" cy="418576"/>
          </a:xfrm>
          <a:prstGeom prst="rect">
            <a:avLst/>
          </a:prstGeom>
          <a:noFill/>
          <a:ln>
            <a:noFill/>
          </a:ln>
        </p:spPr>
        <p:txBody>
          <a:bodyPr wrap="square" lIns="0" tIns="0" rIns="0" bIns="0" rtlCol="0">
            <a:spAutoFit/>
          </a:bodyPr>
          <a:lstStyle/>
          <a:p>
            <a:pPr algn="ctr"/>
            <a:r>
              <a:rPr lang="en-US" sz="1360" b="1">
                <a:solidFill>
                  <a:schemeClr val="accent5">
                    <a:lumMod val="75000"/>
                  </a:schemeClr>
                </a:solidFill>
                <a:cs typeface="Arial" pitchFamily="34" charset="0"/>
              </a:rPr>
              <a:t>Higher trade cost as % of cost of traded goods</a:t>
            </a:r>
            <a:endParaRPr lang="en-US" sz="1360" b="1" noProof="0">
              <a:solidFill>
                <a:schemeClr val="accent5">
                  <a:lumMod val="75000"/>
                </a:schemeClr>
              </a:solidFill>
              <a:cs typeface="Arial" pitchFamily="34" charset="0"/>
            </a:endParaRPr>
          </a:p>
        </p:txBody>
      </p:sp>
      <p:graphicFrame>
        <p:nvGraphicFramePr>
          <p:cNvPr id="9" name="Table 8">
            <a:extLst>
              <a:ext uri="{FF2B5EF4-FFF2-40B4-BE49-F238E27FC236}">
                <a16:creationId xmlns:a16="http://schemas.microsoft.com/office/drawing/2014/main" id="{87343E33-DF8D-469A-A821-7AB8C7744E61}"/>
              </a:ext>
            </a:extLst>
          </p:cNvPr>
          <p:cNvGraphicFramePr>
            <a:graphicFrameLocks noGrp="1"/>
          </p:cNvGraphicFramePr>
          <p:nvPr>
            <p:extLst>
              <p:ext uri="{D42A27DB-BD31-4B8C-83A1-F6EECF244321}">
                <p14:modId xmlns:p14="http://schemas.microsoft.com/office/powerpoint/2010/main" val="2068455003"/>
              </p:ext>
            </p:extLst>
          </p:nvPr>
        </p:nvGraphicFramePr>
        <p:xfrm>
          <a:off x="4648317" y="4298499"/>
          <a:ext cx="7194346" cy="1020948"/>
        </p:xfrm>
        <a:graphic>
          <a:graphicData uri="http://schemas.openxmlformats.org/drawingml/2006/table">
            <a:tbl>
              <a:tblPr firstRow="1" firstCol="1" bandRow="1">
                <a:tableStyleId>{0E3FDE45-AF77-4B5C-9715-49D594BDF05E}</a:tableStyleId>
              </a:tblPr>
              <a:tblGrid>
                <a:gridCol w="2690356">
                  <a:extLst>
                    <a:ext uri="{9D8B030D-6E8A-4147-A177-3AD203B41FA5}">
                      <a16:colId xmlns:a16="http://schemas.microsoft.com/office/drawing/2014/main" val="2833792557"/>
                    </a:ext>
                  </a:extLst>
                </a:gridCol>
                <a:gridCol w="1501330">
                  <a:extLst>
                    <a:ext uri="{9D8B030D-6E8A-4147-A177-3AD203B41FA5}">
                      <a16:colId xmlns:a16="http://schemas.microsoft.com/office/drawing/2014/main" val="1238592215"/>
                    </a:ext>
                  </a:extLst>
                </a:gridCol>
                <a:gridCol w="1501330">
                  <a:extLst>
                    <a:ext uri="{9D8B030D-6E8A-4147-A177-3AD203B41FA5}">
                      <a16:colId xmlns:a16="http://schemas.microsoft.com/office/drawing/2014/main" val="2055720056"/>
                    </a:ext>
                  </a:extLst>
                </a:gridCol>
                <a:gridCol w="1501330">
                  <a:extLst>
                    <a:ext uri="{9D8B030D-6E8A-4147-A177-3AD203B41FA5}">
                      <a16:colId xmlns:a16="http://schemas.microsoft.com/office/drawing/2014/main" val="3779187455"/>
                    </a:ext>
                  </a:extLst>
                </a:gridCol>
              </a:tblGrid>
              <a:tr h="255237">
                <a:tc>
                  <a:txBody>
                    <a:bodyPr/>
                    <a:lstStyle/>
                    <a:p>
                      <a:pPr marL="0" marR="0" algn="just">
                        <a:spcBef>
                          <a:spcPts val="0"/>
                        </a:spcBef>
                        <a:spcAft>
                          <a:spcPts val="0"/>
                        </a:spcAft>
                      </a:pPr>
                      <a:r>
                        <a:rPr lang="en-US" sz="1200">
                          <a:effectLst/>
                          <a:latin typeface="Arial" panose="020B0604020202020204" pitchFamily="34" charset="0"/>
                          <a:ea typeface="SimSun" panose="02010600030101010101" pitchFamily="2" charset="-122"/>
                          <a:cs typeface="Times New Roman" panose="02020603050405020304" pitchFamily="18" charset="0"/>
                        </a:rPr>
                        <a:t>Year</a:t>
                      </a:r>
                    </a:p>
                  </a:txBody>
                  <a:tcPr marL="68580" marR="68580" marT="0" marB="0"/>
                </a:tc>
                <a:tc>
                  <a:txBody>
                    <a:bodyPr/>
                    <a:lstStyle/>
                    <a:p>
                      <a:pPr marL="0" marR="0" algn="ctr">
                        <a:spcBef>
                          <a:spcPts val="0"/>
                        </a:spcBef>
                        <a:spcAft>
                          <a:spcPts val="0"/>
                        </a:spcAft>
                      </a:pPr>
                      <a:r>
                        <a:rPr lang="en-US" sz="1200">
                          <a:effectLst/>
                          <a:latin typeface="Arial" panose="020B0604020202020204" pitchFamily="34" charset="0"/>
                          <a:ea typeface="SimSun" panose="02010600030101010101" pitchFamily="2" charset="-122"/>
                          <a:cs typeface="Times New Roman" panose="02020603050405020304" pitchFamily="18" charset="0"/>
                        </a:rPr>
                        <a:t>2005</a:t>
                      </a:r>
                    </a:p>
                  </a:txBody>
                  <a:tcPr marL="68580" marR="68580" marT="0" marB="0"/>
                </a:tc>
                <a:tc>
                  <a:txBody>
                    <a:bodyPr/>
                    <a:lstStyle/>
                    <a:p>
                      <a:pPr marL="0" marR="0" algn="ctr">
                        <a:spcBef>
                          <a:spcPts val="0"/>
                        </a:spcBef>
                        <a:spcAft>
                          <a:spcPts val="0"/>
                        </a:spcAft>
                      </a:pPr>
                      <a:r>
                        <a:rPr lang="en-US" sz="1200">
                          <a:effectLst/>
                          <a:latin typeface="Arial" panose="020B0604020202020204" pitchFamily="34" charset="0"/>
                          <a:ea typeface="SimSun" panose="02010600030101010101" pitchFamily="2" charset="-122"/>
                          <a:cs typeface="Times New Roman" panose="02020603050405020304" pitchFamily="18" charset="0"/>
                        </a:rPr>
                        <a:t>2017</a:t>
                      </a:r>
                    </a:p>
                  </a:txBody>
                  <a:tcPr marL="68580" marR="68580" marT="0" marB="0"/>
                </a:tc>
                <a:tc>
                  <a:txBody>
                    <a:bodyPr/>
                    <a:lstStyle/>
                    <a:p>
                      <a:pPr marL="0" marR="0" algn="ctr">
                        <a:spcBef>
                          <a:spcPts val="0"/>
                        </a:spcBef>
                        <a:spcAft>
                          <a:spcPts val="0"/>
                        </a:spcAft>
                      </a:pPr>
                      <a:r>
                        <a:rPr lang="en-US" sz="1200">
                          <a:effectLst/>
                          <a:latin typeface="Arial" panose="020B0604020202020204" pitchFamily="34" charset="0"/>
                          <a:ea typeface="SimSun" panose="02010600030101010101" pitchFamily="2" charset="-122"/>
                          <a:cs typeface="Times New Roman" panose="02020603050405020304" pitchFamily="18" charset="0"/>
                        </a:rPr>
                        <a:t>2018</a:t>
                      </a:r>
                    </a:p>
                  </a:txBody>
                  <a:tcPr marL="68580" marR="68580" marT="0" marB="0"/>
                </a:tc>
                <a:extLst>
                  <a:ext uri="{0D108BD9-81ED-4DB2-BD59-A6C34878D82A}">
                    <a16:rowId xmlns:a16="http://schemas.microsoft.com/office/drawing/2014/main" val="1660872014"/>
                  </a:ext>
                </a:extLst>
              </a:tr>
              <a:tr h="255237">
                <a:tc>
                  <a:txBody>
                    <a:bodyPr/>
                    <a:lstStyle/>
                    <a:p>
                      <a:pPr marL="0" marR="0" algn="just">
                        <a:spcBef>
                          <a:spcPts val="0"/>
                        </a:spcBef>
                        <a:spcAft>
                          <a:spcPts val="0"/>
                        </a:spcAft>
                      </a:pPr>
                      <a:r>
                        <a:rPr lang="en-US" sz="1200">
                          <a:effectLst/>
                        </a:rPr>
                        <a:t>Agriculture</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200">
                          <a:effectLst/>
                        </a:rPr>
                        <a:t>145.07</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200">
                          <a:effectLst/>
                        </a:rPr>
                        <a:t>78.79</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200">
                          <a:effectLst/>
                        </a:rPr>
                        <a:t>68.78</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2882206818"/>
                  </a:ext>
                </a:extLst>
              </a:tr>
              <a:tr h="255237">
                <a:tc>
                  <a:txBody>
                    <a:bodyPr/>
                    <a:lstStyle/>
                    <a:p>
                      <a:pPr marL="0" marR="0" algn="just">
                        <a:spcBef>
                          <a:spcPts val="0"/>
                        </a:spcBef>
                        <a:spcAft>
                          <a:spcPts val="0"/>
                        </a:spcAft>
                      </a:pPr>
                      <a:r>
                        <a:rPr lang="en-US" sz="1200">
                          <a:effectLst/>
                        </a:rPr>
                        <a:t>Manufacturing</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200">
                          <a:effectLst/>
                        </a:rPr>
                        <a:t>69.94</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200">
                          <a:effectLst/>
                        </a:rPr>
                        <a:t>86.16</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200">
                          <a:effectLst/>
                        </a:rPr>
                        <a:t>80.96</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1514351447"/>
                  </a:ext>
                </a:extLst>
              </a:tr>
              <a:tr h="255237">
                <a:tc>
                  <a:txBody>
                    <a:bodyPr/>
                    <a:lstStyle/>
                    <a:p>
                      <a:pPr marL="0" marR="0" algn="just">
                        <a:spcBef>
                          <a:spcPts val="0"/>
                        </a:spcBef>
                        <a:spcAft>
                          <a:spcPts val="0"/>
                        </a:spcAft>
                      </a:pPr>
                      <a:r>
                        <a:rPr lang="en-US" sz="1200">
                          <a:effectLst/>
                        </a:rPr>
                        <a:t>Total Trade</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200">
                          <a:effectLst/>
                        </a:rPr>
                        <a:t>89.25</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200">
                          <a:effectLst/>
                        </a:rPr>
                        <a:t>84.63</a:t>
                      </a:r>
                      <a:endParaRPr lang="en-US" sz="12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200" dirty="0">
                          <a:effectLst/>
                        </a:rPr>
                        <a:t>76.83</a:t>
                      </a:r>
                      <a:endParaRPr lang="en-US" sz="12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tc>
                <a:extLst>
                  <a:ext uri="{0D108BD9-81ED-4DB2-BD59-A6C34878D82A}">
                    <a16:rowId xmlns:a16="http://schemas.microsoft.com/office/drawing/2014/main" val="767081015"/>
                  </a:ext>
                </a:extLst>
              </a:tr>
            </a:tbl>
          </a:graphicData>
        </a:graphic>
      </p:graphicFrame>
      <p:sp>
        <p:nvSpPr>
          <p:cNvPr id="5" name="Date Placeholder 4">
            <a:extLst>
              <a:ext uri="{FF2B5EF4-FFF2-40B4-BE49-F238E27FC236}">
                <a16:creationId xmlns:a16="http://schemas.microsoft.com/office/drawing/2014/main" id="{8C87DC60-5F92-43E8-B94B-901893F43E18}"/>
              </a:ext>
            </a:extLst>
          </p:cNvPr>
          <p:cNvSpPr>
            <a:spLocks noGrp="1"/>
          </p:cNvSpPr>
          <p:nvPr>
            <p:ph type="dt" idx="10"/>
          </p:nvPr>
        </p:nvSpPr>
        <p:spPr/>
        <p:txBody>
          <a:bodyPr/>
          <a:lstStyle/>
          <a:p>
            <a:pPr marL="0" lvl="0" indent="0" algn="r" rtl="0">
              <a:spcBef>
                <a:spcPts val="0"/>
              </a:spcBef>
              <a:spcAft>
                <a:spcPts val="0"/>
              </a:spcAft>
              <a:buNone/>
            </a:pPr>
            <a:r>
              <a:rPr lang="en-US"/>
              <a:t>Sep 23</a:t>
            </a:r>
          </a:p>
        </p:txBody>
      </p:sp>
      <p:sp>
        <p:nvSpPr>
          <p:cNvPr id="8" name="Slide Number Placeholder 7">
            <a:extLst>
              <a:ext uri="{FF2B5EF4-FFF2-40B4-BE49-F238E27FC236}">
                <a16:creationId xmlns:a16="http://schemas.microsoft.com/office/drawing/2014/main" id="{423A7113-30EF-488C-AD79-81F0B4F8FDAE}"/>
              </a:ext>
            </a:extLst>
          </p:cNvPr>
          <p:cNvSpPr>
            <a:spLocks noGrp="1"/>
          </p:cNvSpPr>
          <p:nvPr>
            <p:ph type="sldNum" idx="12"/>
          </p:nvPr>
        </p:nvSpPr>
        <p:spPr/>
        <p:txBody>
          <a:bodyPr/>
          <a:lstStyle/>
          <a:p>
            <a:pPr lvl="0"/>
            <a:fld id="{00000000-1234-1234-1234-123412341234}" type="slidenum">
              <a:rPr lang="en-US" smtClean="0"/>
              <a:pPr lvl="0"/>
              <a:t>9</a:t>
            </a:fld>
            <a:endParaRPr lang="en-US"/>
          </a:p>
        </p:txBody>
      </p:sp>
      <p:sp>
        <p:nvSpPr>
          <p:cNvPr id="22" name="Footer Placeholder 11">
            <a:extLst>
              <a:ext uri="{FF2B5EF4-FFF2-40B4-BE49-F238E27FC236}">
                <a16:creationId xmlns:a16="http://schemas.microsoft.com/office/drawing/2014/main" id="{C60ECAF1-3A2D-4F51-946B-0C8B132F0126}"/>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ICIC under STKEC</a:t>
            </a:r>
          </a:p>
        </p:txBody>
      </p:sp>
    </p:spTree>
    <p:custDataLst>
      <p:custData r:id="rId1"/>
    </p:custDataLst>
    <p:extLst>
      <p:ext uri="{BB962C8B-B14F-4D97-AF65-F5344CB8AC3E}">
        <p14:creationId xmlns:p14="http://schemas.microsoft.com/office/powerpoint/2010/main" val="3538977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49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 name="LASTSLIDEVIEWED" val="272,25,Thank you"/>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FBuaQn3_7tYEzA.iyPv9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WGEhY81sKrn50bp2q8ukR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2C2JpMD6Ujxa9xF_p04wV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soQgzzPxQ8zI.7Y6ww6yE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JIehOYK5hCqWcPEFsNChP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c0TIUoLOEfwFsyRbGvSBK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m.YDNDQUwZZm63hbbkmOv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P4x7feVmpH6UdIrO4THgq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aNw06Ze4p0GvWqurmKPpu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cHViMuL1Hl8hQ9Lzj8dXdA"/>
</p:tagLst>
</file>

<file path=ppt/tags/tag101.xml><?xml version="1.0" encoding="utf-8"?>
<p:tagLst xmlns:a="http://schemas.openxmlformats.org/drawingml/2006/main" xmlns:r="http://schemas.openxmlformats.org/officeDocument/2006/relationships" xmlns:p="http://schemas.openxmlformats.org/presentationml/2006/main">
  <p:tag name="FULLLENGTH" val="Tru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34e_FfK4JpcAT1boogvW.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A1mvsU4BItx2E9COo.v8k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ICSgf.NLKe.4Kp6tr.ZX.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D12vQUI9BEx.1htkmIYJ5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_yR3zE.C3i25aKK79pdz4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oNjH0rbnMWpqJSXQxPxjp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FULLLENGTH" val="Tru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Uhmar8mXOmw.8npPsTZhb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G8.Uy0OraQR_KS6tKG0SF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0OPLgD_EukZVncuyxZfAR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d1ixBeDzWV4L20BLQHNFd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ANKXhJmI2NiR3BKrbjj8j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dR8M2XnprdGFmuWLB41SW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2yD8D1YzI5W9GKOiBOAnw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vchaWaF.TR5Asn5wMI9Lt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Lart97nhHlLvg4qzUc1YDw"/>
</p:tagLst>
</file>

<file path=ppt/tags/tag103.xml><?xml version="1.0" encoding="utf-8"?>
<p:tagLst xmlns:a="http://schemas.openxmlformats.org/drawingml/2006/main" xmlns:r="http://schemas.openxmlformats.org/officeDocument/2006/relationships" xmlns:p="http://schemas.openxmlformats.org/presentationml/2006/main">
  <p:tag name="FULLLENGTH" val="Tru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IiXquOIE3fkyi2ody48cd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C9OH5Jz_BBo0rDdKJGL8p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86MF5OsHe.1UjFhPFFpnn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x9eLF1aTa15FmuD9KS6da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1D_LQEnnlTe2hqS1cL4m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ivI1nAE3j9rYueOuNy_Ej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E2FppYiufbnXCL_L1mSsm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P9lHHsThJ4md4kRkQUao1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7EJrPw7NJsEiUWQCzVsTN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6zHGwuLz2TzqSAi0D0il7A"/>
</p:tagLst>
</file>

<file path=ppt/tags/tag10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cu.wa.__ivN097UGHVxhq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bkG4sJ3Vcn38XVS_ZZw3g"/>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XjwjtZy5OIF7qqEEypDVc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0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09.xml><?xml version="1.0" encoding="utf-8"?>
<p:tagLst xmlns:a="http://schemas.openxmlformats.org/drawingml/2006/main" xmlns:r="http://schemas.openxmlformats.org/officeDocument/2006/relationships" xmlns:p="http://schemas.openxmlformats.org/presentationml/2006/main">
  <p:tag name="FULLLENGTH" val="True"/>
</p:tagLst>
</file>

<file path=ppt/tags/tag1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1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4.xml><?xml version="1.0" encoding="utf-8"?>
<p:tagLst xmlns:a="http://schemas.openxmlformats.org/drawingml/2006/main" xmlns:r="http://schemas.openxmlformats.org/officeDocument/2006/relationships" xmlns:p="http://schemas.openxmlformats.org/presentationml/2006/main">
  <p:tag name="FULLLENGTH" val="True"/>
</p:tagLst>
</file>

<file path=ppt/tags/tag115.xml><?xml version="1.0" encoding="utf-8"?>
<p:tagLst xmlns:a="http://schemas.openxmlformats.org/drawingml/2006/main" xmlns:r="http://schemas.openxmlformats.org/officeDocument/2006/relationships" xmlns:p="http://schemas.openxmlformats.org/presentationml/2006/main">
  <p:tag name="FULLLENGTH" val="True"/>
</p:tagLst>
</file>

<file path=ppt/tags/tag11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2.xml><?xml version="1.0" encoding="utf-8"?>
<p:tagLst xmlns:a="http://schemas.openxmlformats.org/drawingml/2006/main" xmlns:r="http://schemas.openxmlformats.org/officeDocument/2006/relationships" xmlns:p="http://schemas.openxmlformats.org/presentationml/2006/main">
  <p:tag name="SMARTLOCKSHAPE" val="Yes"/>
</p:tagLst>
</file>

<file path=ppt/tags/tag12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2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2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4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4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51.xml><?xml version="1.0" encoding="utf-8"?>
<p:tagLst xmlns:a="http://schemas.openxmlformats.org/drawingml/2006/main" xmlns:r="http://schemas.openxmlformats.org/officeDocument/2006/relationships" xmlns:p="http://schemas.openxmlformats.org/presentationml/2006/main">
  <p:tag name="FULLLENGTH" val="True"/>
</p:tagLst>
</file>

<file path=ppt/tags/tag15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5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6.xml><?xml version="1.0" encoding="utf-8"?>
<p:tagLst xmlns:a="http://schemas.openxmlformats.org/drawingml/2006/main" xmlns:r="http://schemas.openxmlformats.org/officeDocument/2006/relationships" xmlns:p="http://schemas.openxmlformats.org/presentationml/2006/main">
  <p:tag name="FULLLENGTH" val="True"/>
</p:tagLst>
</file>

<file path=ppt/tags/tag157.xml><?xml version="1.0" encoding="utf-8"?>
<p:tagLst xmlns:a="http://schemas.openxmlformats.org/drawingml/2006/main" xmlns:r="http://schemas.openxmlformats.org/officeDocument/2006/relationships" xmlns:p="http://schemas.openxmlformats.org/presentationml/2006/main">
  <p:tag name="FULLLENGTH" val="True"/>
</p:tagLst>
</file>

<file path=ppt/tags/tag158.xml><?xml version="1.0" encoding="utf-8"?>
<p:tagLst xmlns:a="http://schemas.openxmlformats.org/drawingml/2006/main" xmlns:r="http://schemas.openxmlformats.org/officeDocument/2006/relationships" xmlns:p="http://schemas.openxmlformats.org/presentationml/2006/main">
  <p:tag name="FULLLENGTH" val="True"/>
</p:tagLst>
</file>

<file path=ppt/tags/tag15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6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6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64.xml><?xml version="1.0" encoding="utf-8"?>
<p:tagLst xmlns:a="http://schemas.openxmlformats.org/drawingml/2006/main" xmlns:r="http://schemas.openxmlformats.org/officeDocument/2006/relationships" xmlns:p="http://schemas.openxmlformats.org/presentationml/2006/main">
  <p:tag name="FULLLENGTH" val="True"/>
</p:tagLst>
</file>

<file path=ppt/tags/tag16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6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7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7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7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6.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177.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7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8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8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3.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8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85.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186.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8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8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9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2.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9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94.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195.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9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9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9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1.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0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03.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204.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20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0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0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1.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12.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13.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214.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215.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216.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1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18.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219.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2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20.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221.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22.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23.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224.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225.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226.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227.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228.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22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2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30.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231.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232.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233.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234.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235.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236.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237.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238.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239.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2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40.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4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4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43.xml><?xml version="1.0" encoding="utf-8"?>
<p:tagLst xmlns:a="http://schemas.openxmlformats.org/drawingml/2006/main" xmlns:r="http://schemas.openxmlformats.org/officeDocument/2006/relationships" xmlns:p="http://schemas.openxmlformats.org/presentationml/2006/main">
  <p:tag name="SMARTWRITE" val="{!Today} {!FilePath}"/>
  <p:tag name="SMARTISVISIBLE" val="{@Show Date FilePath} = Yes"/>
  <p:tag name="SMARTLOCKSHAPE" val="Yes"/>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HOQo1aNuRoK6WSGX8yv_Q"/>
</p:tagLst>
</file>

<file path=ppt/tags/tag246.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47.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48.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249.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2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5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25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54.xml><?xml version="1.0" encoding="utf-8"?>
<p:tagLst xmlns:a="http://schemas.openxmlformats.org/drawingml/2006/main" xmlns:r="http://schemas.openxmlformats.org/officeDocument/2006/relationships" xmlns:p="http://schemas.openxmlformats.org/presentationml/2006/main">
  <p:tag name="SMARTLOCKSHAPE" val="Yes"/>
</p:tagLst>
</file>

<file path=ppt/tags/tag25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5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5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5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5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6.xml><?xml version="1.0" encoding="utf-8"?>
<p:tagLst xmlns:a="http://schemas.openxmlformats.org/drawingml/2006/main" xmlns:r="http://schemas.openxmlformats.org/officeDocument/2006/relationships" xmlns:p="http://schemas.openxmlformats.org/presentationml/2006/main">
  <p:tag name="FULLLENGTH" val="True"/>
</p:tagLst>
</file>

<file path=ppt/tags/tag26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6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6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6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6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6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6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6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68.xml><?xml version="1.0" encoding="utf-8"?>
<p:tagLst xmlns:a="http://schemas.openxmlformats.org/drawingml/2006/main" xmlns:r="http://schemas.openxmlformats.org/officeDocument/2006/relationships" xmlns:p="http://schemas.openxmlformats.org/presentationml/2006/main">
  <p:tag name="FULLLENGTH" val="True"/>
</p:tagLst>
</file>

<file path=ppt/tags/tag26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7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7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7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73.xml><?xml version="1.0" encoding="utf-8"?>
<p:tagLst xmlns:a="http://schemas.openxmlformats.org/drawingml/2006/main" xmlns:r="http://schemas.openxmlformats.org/officeDocument/2006/relationships" xmlns:p="http://schemas.openxmlformats.org/presentationml/2006/main">
  <p:tag name="FULLLENGTH" val="True"/>
</p:tagLst>
</file>

<file path=ppt/tags/tag274.xml><?xml version="1.0" encoding="utf-8"?>
<p:tagLst xmlns:a="http://schemas.openxmlformats.org/drawingml/2006/main" xmlns:r="http://schemas.openxmlformats.org/officeDocument/2006/relationships" xmlns:p="http://schemas.openxmlformats.org/presentationml/2006/main">
  <p:tag name="FULLLENGTH" val="True"/>
</p:tagLst>
</file>

<file path=ppt/tags/tag27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7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7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7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7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8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81.xml><?xml version="1.0" encoding="utf-8"?>
<p:tagLst xmlns:a="http://schemas.openxmlformats.org/drawingml/2006/main" xmlns:r="http://schemas.openxmlformats.org/officeDocument/2006/relationships" xmlns:p="http://schemas.openxmlformats.org/presentationml/2006/main">
  <p:tag name="FULLLENGTH" val="True"/>
</p:tagLst>
</file>

<file path=ppt/tags/tag282.xml><?xml version="1.0" encoding="utf-8"?>
<p:tagLst xmlns:a="http://schemas.openxmlformats.org/drawingml/2006/main" xmlns:r="http://schemas.openxmlformats.org/officeDocument/2006/relationships" xmlns:p="http://schemas.openxmlformats.org/presentationml/2006/main">
  <p:tag name="FULLLENGTH" val="True"/>
</p:tagLst>
</file>

<file path=ppt/tags/tag28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8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8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8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87.xml><?xml version="1.0" encoding="utf-8"?>
<p:tagLst xmlns:a="http://schemas.openxmlformats.org/drawingml/2006/main" xmlns:r="http://schemas.openxmlformats.org/officeDocument/2006/relationships" xmlns:p="http://schemas.openxmlformats.org/presentationml/2006/main">
  <p:tag name="FULLLENGTH" val="True"/>
</p:tagLst>
</file>

<file path=ppt/tags/tag288.xml><?xml version="1.0" encoding="utf-8"?>
<p:tagLst xmlns:a="http://schemas.openxmlformats.org/drawingml/2006/main" xmlns:r="http://schemas.openxmlformats.org/officeDocument/2006/relationships" xmlns:p="http://schemas.openxmlformats.org/presentationml/2006/main">
  <p:tag name="FULLLENGTH" val="True"/>
</p:tagLst>
</file>

<file path=ppt/tags/tag28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9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9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9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9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9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95.xml><?xml version="1.0" encoding="utf-8"?>
<p:tagLst xmlns:a="http://schemas.openxmlformats.org/drawingml/2006/main" xmlns:r="http://schemas.openxmlformats.org/officeDocument/2006/relationships" xmlns:p="http://schemas.openxmlformats.org/presentationml/2006/main">
  <p:tag name="FULLLENGTH" val="True"/>
</p:tagLst>
</file>

<file path=ppt/tags/tag29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9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9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9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HOQo1aNuRoK6WSGX8yv_Q"/>
</p:tagLst>
</file>

<file path=ppt/tags/tag3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0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0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0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0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0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05.xml><?xml version="1.0" encoding="utf-8"?>
<p:tagLst xmlns:a="http://schemas.openxmlformats.org/drawingml/2006/main" xmlns:r="http://schemas.openxmlformats.org/officeDocument/2006/relationships" xmlns:p="http://schemas.openxmlformats.org/presentationml/2006/main">
  <p:tag name="FULLLENGTH" val="True"/>
</p:tagLst>
</file>

<file path=ppt/tags/tag306.xml><?xml version="1.0" encoding="utf-8"?>
<p:tagLst xmlns:a="http://schemas.openxmlformats.org/drawingml/2006/main" xmlns:r="http://schemas.openxmlformats.org/officeDocument/2006/relationships" xmlns:p="http://schemas.openxmlformats.org/presentationml/2006/main">
  <p:tag name="FULLLENGTH" val="True"/>
</p:tagLst>
</file>

<file path=ppt/tags/tag30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0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0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1.xml><?xml version="1.0" encoding="utf-8"?>
<p:tagLst xmlns:a="http://schemas.openxmlformats.org/drawingml/2006/main" xmlns:r="http://schemas.openxmlformats.org/officeDocument/2006/relationships" xmlns:p="http://schemas.openxmlformats.org/presentationml/2006/main">
  <p:tag name="FULLLENGTH" val="True"/>
</p:tagLst>
</file>

<file path=ppt/tags/tag31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1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1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1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1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1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16.xml><?xml version="1.0" encoding="utf-8"?>
<p:tagLst xmlns:a="http://schemas.openxmlformats.org/drawingml/2006/main" xmlns:r="http://schemas.openxmlformats.org/officeDocument/2006/relationships" xmlns:p="http://schemas.openxmlformats.org/presentationml/2006/main">
  <p:tag name="FULLLENGTH" val="True"/>
</p:tagLst>
</file>

<file path=ppt/tags/tag317.xml><?xml version="1.0" encoding="utf-8"?>
<p:tagLst xmlns:a="http://schemas.openxmlformats.org/drawingml/2006/main" xmlns:r="http://schemas.openxmlformats.org/officeDocument/2006/relationships" xmlns:p="http://schemas.openxmlformats.org/presentationml/2006/main">
  <p:tag name="FULLLENGTH" val="True"/>
</p:tagLst>
</file>

<file path=ppt/tags/tag31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1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2.xml><?xml version="1.0" encoding="utf-8"?>
<p:tagLst xmlns:a="http://schemas.openxmlformats.org/drawingml/2006/main" xmlns:r="http://schemas.openxmlformats.org/officeDocument/2006/relationships" xmlns:p="http://schemas.openxmlformats.org/presentationml/2006/main">
  <p:tag name="FULLLENGTH" val="True"/>
</p:tagLst>
</file>

<file path=ppt/tags/tag32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2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2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2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2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2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2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27.xml><?xml version="1.0" encoding="utf-8"?>
<p:tagLst xmlns:a="http://schemas.openxmlformats.org/drawingml/2006/main" xmlns:r="http://schemas.openxmlformats.org/officeDocument/2006/relationships" xmlns:p="http://schemas.openxmlformats.org/presentationml/2006/main">
  <p:tag name="FULLLENGTH" val="True"/>
</p:tagLst>
</file>

<file path=ppt/tags/tag328.xml><?xml version="1.0" encoding="utf-8"?>
<p:tagLst xmlns:a="http://schemas.openxmlformats.org/drawingml/2006/main" xmlns:r="http://schemas.openxmlformats.org/officeDocument/2006/relationships" xmlns:p="http://schemas.openxmlformats.org/presentationml/2006/main">
  <p:tag name="FULLLENGTH" val="True"/>
</p:tagLst>
</file>

<file path=ppt/tags/tag329.xml><?xml version="1.0" encoding="utf-8"?>
<p:tagLst xmlns:a="http://schemas.openxmlformats.org/drawingml/2006/main" xmlns:r="http://schemas.openxmlformats.org/officeDocument/2006/relationships" xmlns:p="http://schemas.openxmlformats.org/presentationml/2006/main">
  <p:tag name="FULLLENGTH" val="True"/>
</p:tagLst>
</file>

<file path=ppt/tags/tag3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3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3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3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3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3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3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3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3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3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3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4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4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4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43.xml><?xml version="1.0" encoding="utf-8"?>
<p:tagLst xmlns:a="http://schemas.openxmlformats.org/drawingml/2006/main" xmlns:r="http://schemas.openxmlformats.org/officeDocument/2006/relationships" xmlns:p="http://schemas.openxmlformats.org/presentationml/2006/main">
  <p:tag name="FULLLENGTH" val="True"/>
</p:tagLst>
</file>

<file path=ppt/tags/tag344.xml><?xml version="1.0" encoding="utf-8"?>
<p:tagLst xmlns:a="http://schemas.openxmlformats.org/drawingml/2006/main" xmlns:r="http://schemas.openxmlformats.org/officeDocument/2006/relationships" xmlns:p="http://schemas.openxmlformats.org/presentationml/2006/main">
  <p:tag name="FULLLENGTH" val="True"/>
</p:tagLst>
</file>

<file path=ppt/tags/tag345.xml><?xml version="1.0" encoding="utf-8"?>
<p:tagLst xmlns:a="http://schemas.openxmlformats.org/drawingml/2006/main" xmlns:r="http://schemas.openxmlformats.org/officeDocument/2006/relationships" xmlns:p="http://schemas.openxmlformats.org/presentationml/2006/main">
  <p:tag name="FULLLENGTH" val="True"/>
</p:tagLst>
</file>

<file path=ppt/tags/tag34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4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4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4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5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51.xml><?xml version="1.0" encoding="utf-8"?>
<p:tagLst xmlns:a="http://schemas.openxmlformats.org/drawingml/2006/main" xmlns:r="http://schemas.openxmlformats.org/officeDocument/2006/relationships" xmlns:p="http://schemas.openxmlformats.org/presentationml/2006/main">
  <p:tag name="FULLLENGTH" val="True"/>
</p:tagLst>
</file>

<file path=ppt/tags/tag35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5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5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5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56.xml><?xml version="1.0" encoding="utf-8"?>
<p:tagLst xmlns:a="http://schemas.openxmlformats.org/drawingml/2006/main" xmlns:r="http://schemas.openxmlformats.org/officeDocument/2006/relationships" xmlns:p="http://schemas.openxmlformats.org/presentationml/2006/main">
  <p:tag name="FULLLENGTH" val="True"/>
</p:tagLst>
</file>

<file path=ppt/tags/tag357.xml><?xml version="1.0" encoding="utf-8"?>
<p:tagLst xmlns:a="http://schemas.openxmlformats.org/drawingml/2006/main" xmlns:r="http://schemas.openxmlformats.org/officeDocument/2006/relationships" xmlns:p="http://schemas.openxmlformats.org/presentationml/2006/main">
  <p:tag name="FULLLENGTH" val="True"/>
</p:tagLst>
</file>

<file path=ppt/tags/tag35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5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6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6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6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6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6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6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6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6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6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6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7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7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7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7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7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7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7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7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7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7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8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8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8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8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8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8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8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8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8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8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9.xml><?xml version="1.0" encoding="utf-8"?>
<p:tagLst xmlns:a="http://schemas.openxmlformats.org/drawingml/2006/main" xmlns:r="http://schemas.openxmlformats.org/officeDocument/2006/relationships" xmlns:p="http://schemas.openxmlformats.org/presentationml/2006/main">
  <p:tag name="FULLLENGTH" val="True"/>
</p:tagLst>
</file>

<file path=ppt/tags/tag39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9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9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93.xml><?xml version="1.0" encoding="utf-8"?>
<p:tagLst xmlns:a="http://schemas.openxmlformats.org/drawingml/2006/main" xmlns:r="http://schemas.openxmlformats.org/officeDocument/2006/relationships" xmlns:p="http://schemas.openxmlformats.org/presentationml/2006/main">
  <p:tag name="FULLLENGTH" val="True"/>
</p:tagLst>
</file>

<file path=ppt/tags/tag39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9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9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9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98.xml><?xml version="1.0" encoding="utf-8"?>
<p:tagLst xmlns:a="http://schemas.openxmlformats.org/drawingml/2006/main" xmlns:r="http://schemas.openxmlformats.org/officeDocument/2006/relationships" xmlns:p="http://schemas.openxmlformats.org/presentationml/2006/main">
  <p:tag name="FULLLENGTH" val="True"/>
</p:tagLst>
</file>

<file path=ppt/tags/tag399.xml><?xml version="1.0" encoding="utf-8"?>
<p:tagLst xmlns:a="http://schemas.openxmlformats.org/drawingml/2006/main" xmlns:r="http://schemas.openxmlformats.org/officeDocument/2006/relationships" xmlns:p="http://schemas.openxmlformats.org/presentationml/2006/main">
  <p:tag name="FULLLENGTH" val="True"/>
</p:tagLst>
</file>

<file path=ppt/tags/tag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40.xml><?xml version="1.0" encoding="utf-8"?>
<p:tagLst xmlns:a="http://schemas.openxmlformats.org/drawingml/2006/main" xmlns:r="http://schemas.openxmlformats.org/officeDocument/2006/relationships" xmlns:p="http://schemas.openxmlformats.org/presentationml/2006/main">
  <p:tag name="FULLLENGTH" val="True"/>
</p:tagLst>
</file>

<file path=ppt/tags/tag400.xml><?xml version="1.0" encoding="utf-8"?>
<p:tagLst xmlns:a="http://schemas.openxmlformats.org/drawingml/2006/main" xmlns:r="http://schemas.openxmlformats.org/officeDocument/2006/relationships" xmlns:p="http://schemas.openxmlformats.org/presentationml/2006/main">
  <p:tag name="FULLLENGTH" val="True"/>
</p:tagLst>
</file>

<file path=ppt/tags/tag40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0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0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0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40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06.xml><?xml version="1.0" encoding="utf-8"?>
<p:tagLst xmlns:a="http://schemas.openxmlformats.org/drawingml/2006/main" xmlns:r="http://schemas.openxmlformats.org/officeDocument/2006/relationships" xmlns:p="http://schemas.openxmlformats.org/presentationml/2006/main">
  <p:tag name="FULLLENGTH" val="True"/>
</p:tagLst>
</file>

<file path=ppt/tags/tag40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0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0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1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1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1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1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1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41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16.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41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18.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419.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4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2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2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2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2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2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25.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42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27.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428.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42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3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3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3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3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43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36.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437.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43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3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4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4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4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43.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44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45.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446.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44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4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4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5.xml><?xml version="1.0" encoding="utf-8"?>
<p:tagLst xmlns:a="http://schemas.openxmlformats.org/drawingml/2006/main" xmlns:r="http://schemas.openxmlformats.org/officeDocument/2006/relationships" xmlns:p="http://schemas.openxmlformats.org/presentationml/2006/main">
  <p:tag name="FULLLENGTH" val="True"/>
</p:tagLst>
</file>

<file path=ppt/tags/tag45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5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5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53.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454.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455.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456.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457.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458.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459.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46.xml><?xml version="1.0" encoding="utf-8"?>
<p:tagLst xmlns:a="http://schemas.openxmlformats.org/drawingml/2006/main" xmlns:r="http://schemas.openxmlformats.org/officeDocument/2006/relationships" xmlns:p="http://schemas.openxmlformats.org/presentationml/2006/main">
  <p:tag name="FULLLENGTH" val="True"/>
</p:tagLst>
</file>

<file path=ppt/tags/tag460.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461.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462.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463.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464.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465.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466.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467.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468.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469.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4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7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47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472.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473.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474.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475.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476.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47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47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479.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4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80.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481.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HOQo1aNuRoK6WSGX8yv_Q"/>
</p:tagLst>
</file>

<file path=ppt/tags/tag487.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488.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489.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4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90.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491.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492.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95.xml><?xml version="1.0" encoding="utf-8"?>
<p:tagLst xmlns:a="http://schemas.openxmlformats.org/drawingml/2006/main" xmlns:r="http://schemas.openxmlformats.org/officeDocument/2006/relationships" xmlns:p="http://schemas.openxmlformats.org/presentationml/2006/main">
  <p:tag name="SMARTLOCKSHAPE" val="Yes"/>
</p:tagLst>
</file>

<file path=ppt/tags/tag49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9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9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9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5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0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0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0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0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0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0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0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0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0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09.xml><?xml version="1.0" encoding="utf-8"?>
<p:tagLst xmlns:a="http://schemas.openxmlformats.org/drawingml/2006/main" xmlns:r="http://schemas.openxmlformats.org/officeDocument/2006/relationships" xmlns:p="http://schemas.openxmlformats.org/presentationml/2006/main">
  <p:tag name="FULLLENGTH" val="True"/>
</p:tagLst>
</file>

<file path=ppt/tags/tag5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1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1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1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1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14.xml><?xml version="1.0" encoding="utf-8"?>
<p:tagLst xmlns:a="http://schemas.openxmlformats.org/drawingml/2006/main" xmlns:r="http://schemas.openxmlformats.org/officeDocument/2006/relationships" xmlns:p="http://schemas.openxmlformats.org/presentationml/2006/main">
  <p:tag name="FULLLENGTH" val="True"/>
</p:tagLst>
</file>

<file path=ppt/tags/tag515.xml><?xml version="1.0" encoding="utf-8"?>
<p:tagLst xmlns:a="http://schemas.openxmlformats.org/drawingml/2006/main" xmlns:r="http://schemas.openxmlformats.org/officeDocument/2006/relationships" xmlns:p="http://schemas.openxmlformats.org/presentationml/2006/main">
  <p:tag name="FULLLENGTH" val="True"/>
</p:tagLst>
</file>

<file path=ppt/tags/tag51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1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1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1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2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2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22.xml><?xml version="1.0" encoding="utf-8"?>
<p:tagLst xmlns:a="http://schemas.openxmlformats.org/drawingml/2006/main" xmlns:r="http://schemas.openxmlformats.org/officeDocument/2006/relationships" xmlns:p="http://schemas.openxmlformats.org/presentationml/2006/main">
  <p:tag name="FULLLENGTH" val="True"/>
</p:tagLst>
</file>

<file path=ppt/tags/tag523.xml><?xml version="1.0" encoding="utf-8"?>
<p:tagLst xmlns:a="http://schemas.openxmlformats.org/drawingml/2006/main" xmlns:r="http://schemas.openxmlformats.org/officeDocument/2006/relationships" xmlns:p="http://schemas.openxmlformats.org/presentationml/2006/main">
  <p:tag name="FULLLENGTH" val="True"/>
</p:tagLst>
</file>

<file path=ppt/tags/tag52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2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2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2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28.xml><?xml version="1.0" encoding="utf-8"?>
<p:tagLst xmlns:a="http://schemas.openxmlformats.org/drawingml/2006/main" xmlns:r="http://schemas.openxmlformats.org/officeDocument/2006/relationships" xmlns:p="http://schemas.openxmlformats.org/presentationml/2006/main">
  <p:tag name="FULLLENGTH" val="True"/>
</p:tagLst>
</file>

<file path=ppt/tags/tag529.xml><?xml version="1.0" encoding="utf-8"?>
<p:tagLst xmlns:a="http://schemas.openxmlformats.org/drawingml/2006/main" xmlns:r="http://schemas.openxmlformats.org/officeDocument/2006/relationships" xmlns:p="http://schemas.openxmlformats.org/presentationml/2006/main">
  <p:tag name="FULLLENGTH" val="True"/>
</p:tagLst>
</file>

<file path=ppt/tags/tag53.xml><?xml version="1.0" encoding="utf-8"?>
<p:tagLst xmlns:a="http://schemas.openxmlformats.org/drawingml/2006/main" xmlns:r="http://schemas.openxmlformats.org/officeDocument/2006/relationships" xmlns:p="http://schemas.openxmlformats.org/presentationml/2006/main">
  <p:tag name="FULLLENGTH" val="True"/>
</p:tagLst>
</file>

<file path=ppt/tags/tag53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3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3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3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3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3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36.xml><?xml version="1.0" encoding="utf-8"?>
<p:tagLst xmlns:a="http://schemas.openxmlformats.org/drawingml/2006/main" xmlns:r="http://schemas.openxmlformats.org/officeDocument/2006/relationships" xmlns:p="http://schemas.openxmlformats.org/presentationml/2006/main">
  <p:tag name="FULLLENGTH" val="True"/>
</p:tagLst>
</file>

<file path=ppt/tags/tag53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3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3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4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4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4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4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4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4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46.xml><?xml version="1.0" encoding="utf-8"?>
<p:tagLst xmlns:a="http://schemas.openxmlformats.org/drawingml/2006/main" xmlns:r="http://schemas.openxmlformats.org/officeDocument/2006/relationships" xmlns:p="http://schemas.openxmlformats.org/presentationml/2006/main">
  <p:tag name="FULLLENGTH" val="True"/>
</p:tagLst>
</file>

<file path=ppt/tags/tag547.xml><?xml version="1.0" encoding="utf-8"?>
<p:tagLst xmlns:a="http://schemas.openxmlformats.org/drawingml/2006/main" xmlns:r="http://schemas.openxmlformats.org/officeDocument/2006/relationships" xmlns:p="http://schemas.openxmlformats.org/presentationml/2006/main">
  <p:tag name="FULLLENGTH" val="True"/>
</p:tagLst>
</file>

<file path=ppt/tags/tag54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4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5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5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5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5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5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5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57.xml><?xml version="1.0" encoding="utf-8"?>
<p:tagLst xmlns:a="http://schemas.openxmlformats.org/drawingml/2006/main" xmlns:r="http://schemas.openxmlformats.org/officeDocument/2006/relationships" xmlns:p="http://schemas.openxmlformats.org/presentationml/2006/main">
  <p:tag name="FULLLENGTH" val="True"/>
</p:tagLst>
</file>

<file path=ppt/tags/tag558.xml><?xml version="1.0" encoding="utf-8"?>
<p:tagLst xmlns:a="http://schemas.openxmlformats.org/drawingml/2006/main" xmlns:r="http://schemas.openxmlformats.org/officeDocument/2006/relationships" xmlns:p="http://schemas.openxmlformats.org/presentationml/2006/main">
  <p:tag name="FULLLENGTH" val="True"/>
</p:tagLst>
</file>

<file path=ppt/tags/tag55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6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6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6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6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6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6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6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6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68.xml><?xml version="1.0" encoding="utf-8"?>
<p:tagLst xmlns:a="http://schemas.openxmlformats.org/drawingml/2006/main" xmlns:r="http://schemas.openxmlformats.org/officeDocument/2006/relationships" xmlns:p="http://schemas.openxmlformats.org/presentationml/2006/main">
  <p:tag name="FULLLENGTH" val="True"/>
</p:tagLst>
</file>

<file path=ppt/tags/tag569.xml><?xml version="1.0" encoding="utf-8"?>
<p:tagLst xmlns:a="http://schemas.openxmlformats.org/drawingml/2006/main" xmlns:r="http://schemas.openxmlformats.org/officeDocument/2006/relationships" xmlns:p="http://schemas.openxmlformats.org/presentationml/2006/main">
  <p:tag name="FULLLENGTH" val="True"/>
</p:tagLst>
</file>

<file path=ppt/tags/tag5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70.xml><?xml version="1.0" encoding="utf-8"?>
<p:tagLst xmlns:a="http://schemas.openxmlformats.org/drawingml/2006/main" xmlns:r="http://schemas.openxmlformats.org/officeDocument/2006/relationships" xmlns:p="http://schemas.openxmlformats.org/presentationml/2006/main">
  <p:tag name="FULLLENGTH" val="True"/>
</p:tagLst>
</file>

<file path=ppt/tags/tag57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7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7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7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7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7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7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7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7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8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8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8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8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84.xml><?xml version="1.0" encoding="utf-8"?>
<p:tagLst xmlns:a="http://schemas.openxmlformats.org/drawingml/2006/main" xmlns:r="http://schemas.openxmlformats.org/officeDocument/2006/relationships" xmlns:p="http://schemas.openxmlformats.org/presentationml/2006/main">
  <p:tag name="FULLLENGTH" val="True"/>
</p:tagLst>
</file>

<file path=ppt/tags/tag585.xml><?xml version="1.0" encoding="utf-8"?>
<p:tagLst xmlns:a="http://schemas.openxmlformats.org/drawingml/2006/main" xmlns:r="http://schemas.openxmlformats.org/officeDocument/2006/relationships" xmlns:p="http://schemas.openxmlformats.org/presentationml/2006/main">
  <p:tag name="FULLLENGTH" val="True"/>
</p:tagLst>
</file>

<file path=ppt/tags/tag586.xml><?xml version="1.0" encoding="utf-8"?>
<p:tagLst xmlns:a="http://schemas.openxmlformats.org/drawingml/2006/main" xmlns:r="http://schemas.openxmlformats.org/officeDocument/2006/relationships" xmlns:p="http://schemas.openxmlformats.org/presentationml/2006/main">
  <p:tag name="FULLLENGTH" val="True"/>
</p:tagLst>
</file>

<file path=ppt/tags/tag58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8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8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9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9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92.xml><?xml version="1.0" encoding="utf-8"?>
<p:tagLst xmlns:a="http://schemas.openxmlformats.org/drawingml/2006/main" xmlns:r="http://schemas.openxmlformats.org/officeDocument/2006/relationships" xmlns:p="http://schemas.openxmlformats.org/presentationml/2006/main">
  <p:tag name="FULLLENGTH" val="True"/>
</p:tagLst>
</file>

<file path=ppt/tags/tag59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9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9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9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97.xml><?xml version="1.0" encoding="utf-8"?>
<p:tagLst xmlns:a="http://schemas.openxmlformats.org/drawingml/2006/main" xmlns:r="http://schemas.openxmlformats.org/officeDocument/2006/relationships" xmlns:p="http://schemas.openxmlformats.org/presentationml/2006/main">
  <p:tag name="FULLLENGTH" val="True"/>
</p:tagLst>
</file>

<file path=ppt/tags/tag598.xml><?xml version="1.0" encoding="utf-8"?>
<p:tagLst xmlns:a="http://schemas.openxmlformats.org/drawingml/2006/main" xmlns:r="http://schemas.openxmlformats.org/officeDocument/2006/relationships" xmlns:p="http://schemas.openxmlformats.org/presentationml/2006/main">
  <p:tag name="FULLLENGTH" val="True"/>
</p:tagLst>
</file>

<file path=ppt/tags/tag59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6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0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0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0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0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0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0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0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0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0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0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1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1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1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1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1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1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1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1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1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1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2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2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2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2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2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2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2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2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2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2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3.xml><?xml version="1.0" encoding="utf-8"?>
<p:tagLst xmlns:a="http://schemas.openxmlformats.org/drawingml/2006/main" xmlns:r="http://schemas.openxmlformats.org/officeDocument/2006/relationships" xmlns:p="http://schemas.openxmlformats.org/presentationml/2006/main">
  <p:tag name="FULLLENGTH" val="True"/>
</p:tagLst>
</file>

<file path=ppt/tags/tag6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3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3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3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34.xml><?xml version="1.0" encoding="utf-8"?>
<p:tagLst xmlns:a="http://schemas.openxmlformats.org/drawingml/2006/main" xmlns:r="http://schemas.openxmlformats.org/officeDocument/2006/relationships" xmlns:p="http://schemas.openxmlformats.org/presentationml/2006/main">
  <p:tag name="FULLLENGTH" val="True"/>
</p:tagLst>
</file>

<file path=ppt/tags/tag63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3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3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3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39.xml><?xml version="1.0" encoding="utf-8"?>
<p:tagLst xmlns:a="http://schemas.openxmlformats.org/drawingml/2006/main" xmlns:r="http://schemas.openxmlformats.org/officeDocument/2006/relationships" xmlns:p="http://schemas.openxmlformats.org/presentationml/2006/main">
  <p:tag name="FULLLENGTH" val="True"/>
</p:tagLst>
</file>

<file path=ppt/tags/tag64.xml><?xml version="1.0" encoding="utf-8"?>
<p:tagLst xmlns:a="http://schemas.openxmlformats.org/drawingml/2006/main" xmlns:r="http://schemas.openxmlformats.org/officeDocument/2006/relationships" xmlns:p="http://schemas.openxmlformats.org/presentationml/2006/main">
  <p:tag name="FULLLENGTH" val="True"/>
</p:tagLst>
</file>

<file path=ppt/tags/tag640.xml><?xml version="1.0" encoding="utf-8"?>
<p:tagLst xmlns:a="http://schemas.openxmlformats.org/drawingml/2006/main" xmlns:r="http://schemas.openxmlformats.org/officeDocument/2006/relationships" xmlns:p="http://schemas.openxmlformats.org/presentationml/2006/main">
  <p:tag name="FULLLENGTH" val="True"/>
</p:tagLst>
</file>

<file path=ppt/tags/tag641.xml><?xml version="1.0" encoding="utf-8"?>
<p:tagLst xmlns:a="http://schemas.openxmlformats.org/drawingml/2006/main" xmlns:r="http://schemas.openxmlformats.org/officeDocument/2006/relationships" xmlns:p="http://schemas.openxmlformats.org/presentationml/2006/main">
  <p:tag name="FULLLENGTH" val="True"/>
</p:tagLst>
</file>

<file path=ppt/tags/tag64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4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4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4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4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47.xml><?xml version="1.0" encoding="utf-8"?>
<p:tagLst xmlns:a="http://schemas.openxmlformats.org/drawingml/2006/main" xmlns:r="http://schemas.openxmlformats.org/officeDocument/2006/relationships" xmlns:p="http://schemas.openxmlformats.org/presentationml/2006/main">
  <p:tag name="FULLLENGTH" val="True"/>
</p:tagLst>
</file>

<file path=ppt/tags/tag64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4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5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5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5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5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5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5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5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57.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65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59.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6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60.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66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6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6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6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6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66.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66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68.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669.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6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7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7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7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7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7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75.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67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77.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678.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67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8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8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8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8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8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68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86.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687.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68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8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9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9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9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9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94.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69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696.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69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69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699.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7.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7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00.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701.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70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70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704.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70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706.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70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70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709.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7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10.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711.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712.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713.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714.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715.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716.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717.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718.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71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7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20.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721.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722.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THOQo1aNuRoK6WSGX8yv_Q"/>
</p:tagLst>
</file>

<file path=ppt/tags/tag728.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729.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7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30.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731.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73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73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36.xml><?xml version="1.0" encoding="utf-8"?>
<p:tagLst xmlns:a="http://schemas.openxmlformats.org/drawingml/2006/main" xmlns:r="http://schemas.openxmlformats.org/officeDocument/2006/relationships" xmlns:p="http://schemas.openxmlformats.org/presentationml/2006/main">
  <p:tag name="SMARTLOCKSHAPE" val="Yes"/>
</p:tagLst>
</file>

<file path=ppt/tags/tag73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3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3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4.xml><?xml version="1.0" encoding="utf-8"?>
<p:tagLst xmlns:a="http://schemas.openxmlformats.org/drawingml/2006/main" xmlns:r="http://schemas.openxmlformats.org/officeDocument/2006/relationships" xmlns:p="http://schemas.openxmlformats.org/presentationml/2006/main">
  <p:tag name="FULLLENGTH" val="True"/>
</p:tagLst>
</file>

<file path=ppt/tags/tag74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4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4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4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4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4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4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4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4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4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5.xml><?xml version="1.0" encoding="utf-8"?>
<p:tagLst xmlns:a="http://schemas.openxmlformats.org/drawingml/2006/main" xmlns:r="http://schemas.openxmlformats.org/officeDocument/2006/relationships" xmlns:p="http://schemas.openxmlformats.org/presentationml/2006/main">
  <p:tag name="FULLLENGTH" val="True"/>
</p:tagLst>
</file>

<file path=ppt/tags/tag750.xml><?xml version="1.0" encoding="utf-8"?>
<p:tagLst xmlns:a="http://schemas.openxmlformats.org/drawingml/2006/main" xmlns:r="http://schemas.openxmlformats.org/officeDocument/2006/relationships" xmlns:p="http://schemas.openxmlformats.org/presentationml/2006/main">
  <p:tag name="FULLLENGTH" val="True"/>
</p:tagLst>
</file>

<file path=ppt/tags/tag75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5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5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5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55.xml><?xml version="1.0" encoding="utf-8"?>
<p:tagLst xmlns:a="http://schemas.openxmlformats.org/drawingml/2006/main" xmlns:r="http://schemas.openxmlformats.org/officeDocument/2006/relationships" xmlns:p="http://schemas.openxmlformats.org/presentationml/2006/main">
  <p:tag name="FULLLENGTH" val="True"/>
</p:tagLst>
</file>

<file path=ppt/tags/tag756.xml><?xml version="1.0" encoding="utf-8"?>
<p:tagLst xmlns:a="http://schemas.openxmlformats.org/drawingml/2006/main" xmlns:r="http://schemas.openxmlformats.org/officeDocument/2006/relationships" xmlns:p="http://schemas.openxmlformats.org/presentationml/2006/main">
  <p:tag name="FULLLENGTH" val="True"/>
</p:tagLst>
</file>

<file path=ppt/tags/tag75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5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5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6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6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6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63.xml><?xml version="1.0" encoding="utf-8"?>
<p:tagLst xmlns:a="http://schemas.openxmlformats.org/drawingml/2006/main" xmlns:r="http://schemas.openxmlformats.org/officeDocument/2006/relationships" xmlns:p="http://schemas.openxmlformats.org/presentationml/2006/main">
  <p:tag name="FULLLENGTH" val="True"/>
</p:tagLst>
</file>

<file path=ppt/tags/tag764.xml><?xml version="1.0" encoding="utf-8"?>
<p:tagLst xmlns:a="http://schemas.openxmlformats.org/drawingml/2006/main" xmlns:r="http://schemas.openxmlformats.org/officeDocument/2006/relationships" xmlns:p="http://schemas.openxmlformats.org/presentationml/2006/main">
  <p:tag name="FULLLENGTH" val="True"/>
</p:tagLst>
</file>

<file path=ppt/tags/tag76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6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6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6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69.xml><?xml version="1.0" encoding="utf-8"?>
<p:tagLst xmlns:a="http://schemas.openxmlformats.org/drawingml/2006/main" xmlns:r="http://schemas.openxmlformats.org/officeDocument/2006/relationships" xmlns:p="http://schemas.openxmlformats.org/presentationml/2006/main">
  <p:tag name="FULLLENGTH" val="True"/>
</p:tagLst>
</file>

<file path=ppt/tags/tag7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70.xml><?xml version="1.0" encoding="utf-8"?>
<p:tagLst xmlns:a="http://schemas.openxmlformats.org/drawingml/2006/main" xmlns:r="http://schemas.openxmlformats.org/officeDocument/2006/relationships" xmlns:p="http://schemas.openxmlformats.org/presentationml/2006/main">
  <p:tag name="FULLLENGTH" val="True"/>
</p:tagLst>
</file>

<file path=ppt/tags/tag77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7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7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7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7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7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77.xml><?xml version="1.0" encoding="utf-8"?>
<p:tagLst xmlns:a="http://schemas.openxmlformats.org/drawingml/2006/main" xmlns:r="http://schemas.openxmlformats.org/officeDocument/2006/relationships" xmlns:p="http://schemas.openxmlformats.org/presentationml/2006/main">
  <p:tag name="FULLLENGTH" val="True"/>
</p:tagLst>
</file>

<file path=ppt/tags/tag77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7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8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8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8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8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8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8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8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87.xml><?xml version="1.0" encoding="utf-8"?>
<p:tagLst xmlns:a="http://schemas.openxmlformats.org/drawingml/2006/main" xmlns:r="http://schemas.openxmlformats.org/officeDocument/2006/relationships" xmlns:p="http://schemas.openxmlformats.org/presentationml/2006/main">
  <p:tag name="FULLLENGTH" val="True"/>
</p:tagLst>
</file>

<file path=ppt/tags/tag788.xml><?xml version="1.0" encoding="utf-8"?>
<p:tagLst xmlns:a="http://schemas.openxmlformats.org/drawingml/2006/main" xmlns:r="http://schemas.openxmlformats.org/officeDocument/2006/relationships" xmlns:p="http://schemas.openxmlformats.org/presentationml/2006/main">
  <p:tag name="FULLLENGTH" val="True"/>
</p:tagLst>
</file>

<file path=ppt/tags/tag78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9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9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9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9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9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9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9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9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98.xml><?xml version="1.0" encoding="utf-8"?>
<p:tagLst xmlns:a="http://schemas.openxmlformats.org/drawingml/2006/main" xmlns:r="http://schemas.openxmlformats.org/officeDocument/2006/relationships" xmlns:p="http://schemas.openxmlformats.org/presentationml/2006/main">
  <p:tag name="FULLLENGTH" val="True"/>
</p:tagLst>
</file>

<file path=ppt/tags/tag799.xml><?xml version="1.0" encoding="utf-8"?>
<p:tagLst xmlns:a="http://schemas.openxmlformats.org/drawingml/2006/main" xmlns:r="http://schemas.openxmlformats.org/officeDocument/2006/relationships" xmlns:p="http://schemas.openxmlformats.org/presentationml/2006/main">
  <p:tag name="FULLLENGTH" val="True"/>
</p:tagLst>
</file>

<file path=ppt/tags/tag8.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8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0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0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0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0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0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0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0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0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0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09.xml><?xml version="1.0" encoding="utf-8"?>
<p:tagLst xmlns:a="http://schemas.openxmlformats.org/drawingml/2006/main" xmlns:r="http://schemas.openxmlformats.org/officeDocument/2006/relationships" xmlns:p="http://schemas.openxmlformats.org/presentationml/2006/main">
  <p:tag name="FULLLENGTH" val="True"/>
</p:tagLst>
</file>

<file path=ppt/tags/tag8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10.xml><?xml version="1.0" encoding="utf-8"?>
<p:tagLst xmlns:a="http://schemas.openxmlformats.org/drawingml/2006/main" xmlns:r="http://schemas.openxmlformats.org/officeDocument/2006/relationships" xmlns:p="http://schemas.openxmlformats.org/presentationml/2006/main">
  <p:tag name="FULLLENGTH" val="True"/>
</p:tagLst>
</file>

<file path=ppt/tags/tag811.xml><?xml version="1.0" encoding="utf-8"?>
<p:tagLst xmlns:a="http://schemas.openxmlformats.org/drawingml/2006/main" xmlns:r="http://schemas.openxmlformats.org/officeDocument/2006/relationships" xmlns:p="http://schemas.openxmlformats.org/presentationml/2006/main">
  <p:tag name="FULLLENGTH" val="True"/>
</p:tagLst>
</file>

<file path=ppt/tags/tag81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1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1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1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1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1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1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1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2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2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2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2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2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25.xml><?xml version="1.0" encoding="utf-8"?>
<p:tagLst xmlns:a="http://schemas.openxmlformats.org/drawingml/2006/main" xmlns:r="http://schemas.openxmlformats.org/officeDocument/2006/relationships" xmlns:p="http://schemas.openxmlformats.org/presentationml/2006/main">
  <p:tag name="FULLLENGTH" val="True"/>
</p:tagLst>
</file>

<file path=ppt/tags/tag826.xml><?xml version="1.0" encoding="utf-8"?>
<p:tagLst xmlns:a="http://schemas.openxmlformats.org/drawingml/2006/main" xmlns:r="http://schemas.openxmlformats.org/officeDocument/2006/relationships" xmlns:p="http://schemas.openxmlformats.org/presentationml/2006/main">
  <p:tag name="FULLLENGTH" val="True"/>
</p:tagLst>
</file>

<file path=ppt/tags/tag827.xml><?xml version="1.0" encoding="utf-8"?>
<p:tagLst xmlns:a="http://schemas.openxmlformats.org/drawingml/2006/main" xmlns:r="http://schemas.openxmlformats.org/officeDocument/2006/relationships" xmlns:p="http://schemas.openxmlformats.org/presentationml/2006/main">
  <p:tag name="FULLLENGTH" val="True"/>
</p:tagLst>
</file>

<file path=ppt/tags/tag82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2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3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3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33.xml><?xml version="1.0" encoding="utf-8"?>
<p:tagLst xmlns:a="http://schemas.openxmlformats.org/drawingml/2006/main" xmlns:r="http://schemas.openxmlformats.org/officeDocument/2006/relationships" xmlns:p="http://schemas.openxmlformats.org/presentationml/2006/main">
  <p:tag name="FULLLENGTH" val="True"/>
</p:tagLst>
</file>

<file path=ppt/tags/tag83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3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3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38.xml><?xml version="1.0" encoding="utf-8"?>
<p:tagLst xmlns:a="http://schemas.openxmlformats.org/drawingml/2006/main" xmlns:r="http://schemas.openxmlformats.org/officeDocument/2006/relationships" xmlns:p="http://schemas.openxmlformats.org/presentationml/2006/main">
  <p:tag name="FULLLENGTH" val="True"/>
</p:tagLst>
</file>

<file path=ppt/tags/tag839.xml><?xml version="1.0" encoding="utf-8"?>
<p:tagLst xmlns:a="http://schemas.openxmlformats.org/drawingml/2006/main" xmlns:r="http://schemas.openxmlformats.org/officeDocument/2006/relationships" xmlns:p="http://schemas.openxmlformats.org/presentationml/2006/main">
  <p:tag name="FULLLENGTH" val="True"/>
</p:tagLst>
</file>

<file path=ppt/tags/tag8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4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4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4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4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4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4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4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4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4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4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5.xml><?xml version="1.0" encoding="utf-8"?>
<p:tagLst xmlns:a="http://schemas.openxmlformats.org/drawingml/2006/main" xmlns:r="http://schemas.openxmlformats.org/officeDocument/2006/relationships" xmlns:p="http://schemas.openxmlformats.org/presentationml/2006/main">
  <p:tag name="FULLLENGTH" val="True"/>
</p:tagLst>
</file>

<file path=ppt/tags/tag85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5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5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5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5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5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5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5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5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5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6.xml><?xml version="1.0" encoding="utf-8"?>
<p:tagLst xmlns:a="http://schemas.openxmlformats.org/drawingml/2006/main" xmlns:r="http://schemas.openxmlformats.org/officeDocument/2006/relationships" xmlns:p="http://schemas.openxmlformats.org/presentationml/2006/main">
  <p:tag name="FULLLENGTH" val="True"/>
</p:tagLst>
</file>

<file path=ppt/tags/tag86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6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6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6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6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6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6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6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6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6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7.xml><?xml version="1.0" encoding="utf-8"?>
<p:tagLst xmlns:a="http://schemas.openxmlformats.org/drawingml/2006/main" xmlns:r="http://schemas.openxmlformats.org/officeDocument/2006/relationships" xmlns:p="http://schemas.openxmlformats.org/presentationml/2006/main">
  <p:tag name="FULLLENGTH" val="True"/>
</p:tagLst>
</file>

<file path=ppt/tags/tag87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7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7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7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7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75.xml><?xml version="1.0" encoding="utf-8"?>
<p:tagLst xmlns:a="http://schemas.openxmlformats.org/drawingml/2006/main" xmlns:r="http://schemas.openxmlformats.org/officeDocument/2006/relationships" xmlns:p="http://schemas.openxmlformats.org/presentationml/2006/main">
  <p:tag name="FULLLENGTH" val="True"/>
</p:tagLst>
</file>

<file path=ppt/tags/tag87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7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7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7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80.xml><?xml version="1.0" encoding="utf-8"?>
<p:tagLst xmlns:a="http://schemas.openxmlformats.org/drawingml/2006/main" xmlns:r="http://schemas.openxmlformats.org/officeDocument/2006/relationships" xmlns:p="http://schemas.openxmlformats.org/presentationml/2006/main">
  <p:tag name="FULLLENGTH" val="True"/>
</p:tagLst>
</file>

<file path=ppt/tags/tag881.xml><?xml version="1.0" encoding="utf-8"?>
<p:tagLst xmlns:a="http://schemas.openxmlformats.org/drawingml/2006/main" xmlns:r="http://schemas.openxmlformats.org/officeDocument/2006/relationships" xmlns:p="http://schemas.openxmlformats.org/presentationml/2006/main">
  <p:tag name="FULLLENGTH" val="True"/>
</p:tagLst>
</file>

<file path=ppt/tags/tag882.xml><?xml version="1.0" encoding="utf-8"?>
<p:tagLst xmlns:a="http://schemas.openxmlformats.org/drawingml/2006/main" xmlns:r="http://schemas.openxmlformats.org/officeDocument/2006/relationships" xmlns:p="http://schemas.openxmlformats.org/presentationml/2006/main">
  <p:tag name="FULLLENGTH" val="True"/>
</p:tagLst>
</file>

<file path=ppt/tags/tag88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8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8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8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8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88.xml><?xml version="1.0" encoding="utf-8"?>
<p:tagLst xmlns:a="http://schemas.openxmlformats.org/drawingml/2006/main" xmlns:r="http://schemas.openxmlformats.org/officeDocument/2006/relationships" xmlns:p="http://schemas.openxmlformats.org/presentationml/2006/main">
  <p:tag name="FULLLENGTH" val="True"/>
</p:tagLst>
</file>

<file path=ppt/tags/tag88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9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9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9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9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9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9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9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9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98.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89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9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00.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901.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90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0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0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0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0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07.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90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09.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9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10.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91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1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1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1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1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16.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91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18.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919.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9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2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2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2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2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2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25.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92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27.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928.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92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3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3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3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3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35.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936.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937.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938.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93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9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40.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941.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942.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943.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944.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945.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946.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947.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948.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949.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9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50.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951.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95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95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954.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955.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956.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957.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958.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959.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9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60.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961.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962.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963.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vlgjm1fHYMOhIrdPwU7zL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maX.HVZatVS1VrAJ5D9ZY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Xe1Velj2wVIdvXXIWH5If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XQxC_G5F2Am9U9q7Re5_f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IdO_UnBFE3D332z2YU5WMA"/>
</p:tagLst>
</file>

<file path=ppt/tags/tag9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0ns3wqjCQPiuQcf.3V2VH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f_cTXlCwQPee1qa_S.nj1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e3_YhO.jAcZvSGIFgnhMv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abFlw9Fn4mi.8BYn7fmwV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QprNoDp4QgvTlimXvxV1N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P8g6RQzQ02mEpCN83Krn.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ceTxBAUK1.RW5evnR1w89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eTxBAUK1.RW5evnR1w89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TD2IUhoShSLW7WvFtHF3f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Gen69shHx8HlMF9E3wJ7R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KwbTSM4UFIeWJAwpvS5eY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TguWNEq5Ey8SWgfcjM.iS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vSMp4JiSMgHPaxOzUeQNl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jlvhothZBJ2YrpssbNa2V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esBAZc1Fi3vya44uH5pD8w"/>
</p:tagLst>
</file>

<file path=ppt/theme/theme1.xml><?xml version="1.0" encoding="utf-8"?>
<a:theme xmlns:a="http://schemas.openxmlformats.org/drawingml/2006/main" name="PwC Smart">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Smart" id="{EBCEFFED-2F4C-4610-B3D1-C5FEABF08696}" vid="{147AACE8-1487-4472-AA95-F3AF2FAD5022}"/>
    </a:ext>
  </a:extLst>
</a:theme>
</file>

<file path=ppt/theme/theme2.xml><?xml version="1.0" encoding="utf-8"?>
<a:theme xmlns:a="http://schemas.openxmlformats.org/drawingml/2006/main" name="1_PwC Smart">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Smart" id="{EBCEFFED-2F4C-4610-B3D1-C5FEABF08696}" vid="{147AACE8-1487-4472-AA95-F3AF2FAD5022}"/>
    </a:ext>
  </a:extLst>
</a:theme>
</file>

<file path=ppt/theme/theme3.xml><?xml version="1.0" encoding="utf-8"?>
<a:theme xmlns:a="http://schemas.openxmlformats.org/drawingml/2006/main" name="2_PwC Smart">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Smart" id="{EBCEFFED-2F4C-4610-B3D1-C5FEABF08696}" vid="{147AACE8-1487-4472-AA95-F3AF2FAD5022}"/>
    </a:ext>
  </a:extLst>
</a:theme>
</file>

<file path=ppt/theme/theme4.xml><?xml version="1.0" encoding="utf-8"?>
<a:theme xmlns:a="http://schemas.openxmlformats.org/drawingml/2006/main" name="3_PwC Smart">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Smart" id="{EBCEFFED-2F4C-4610-B3D1-C5FEABF08696}" vid="{147AACE8-1487-4472-AA95-F3AF2FAD502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rgbClr val="D04A0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16x9 PowerPoint.potx" id="{D4DCA9A9-A671-44E4-915A-C83629F99A90}" vid="{6074E35A-D868-441C-8EFF-8DE4FA24430B}"/>
    </a:ext>
  </a:extLst>
</a:theme>
</file>

<file path=ppt/theme/theme7.xml><?xml version="1.0" encoding="utf-8"?>
<a:theme xmlns:a="http://schemas.openxmlformats.org/drawingml/2006/main" name="2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F263BB68-960B-4111-8EAF-7ABCA2913049}" vid="{623EEB51-A4CC-4CFC-90F3-A67DAF2F600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4F625478DEA614D968EE1EE5C3902FB" ma:contentTypeVersion="16" ma:contentTypeDescription="Create a new document." ma:contentTypeScope="" ma:versionID="c14a4fcb58f38daaaa8b80a6b6b21d32">
  <xsd:schema xmlns:xsd="http://www.w3.org/2001/XMLSchema" xmlns:xs="http://www.w3.org/2001/XMLSchema" xmlns:p="http://schemas.microsoft.com/office/2006/metadata/properties" xmlns:ns3="6ae2becb-1b35-47ed-8600-cadc0c7e851b" xmlns:ns4="109aea68-7353-4d73-8710-7f7efb2c2a6f" targetNamespace="http://schemas.microsoft.com/office/2006/metadata/properties" ma:root="true" ma:fieldsID="a598a5b775107971960c6fb886e8d28f" ns3:_="" ns4:_="">
    <xsd:import namespace="6ae2becb-1b35-47ed-8600-cadc0c7e851b"/>
    <xsd:import namespace="109aea68-7353-4d73-8710-7f7efb2c2a6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_activity"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e2becb-1b35-47ed-8600-cadc0c7e8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9aea68-7353-4d73-8710-7f7efb2c2a6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DcR_SlideID>938ad693-db7f-4f9b-9528-de4090377bdb</DcR_SlideID>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DcR_SlideID>bbf6e58a-5a93-4dcc-8f87-4ce07fe81a09</DcR_SlideID>
</file>

<file path=customXml/item13.xml><?xml version="1.0" encoding="utf-8"?>
<DcR_SlideID>b7a49e03-dc56-4759-8209-9cb4427ef913</DcR_SlideID>
</file>

<file path=customXml/item14.xml><?xml version="1.0" encoding="utf-8"?>
<DcR_SlideID>a1c98a80-d47c-4cb8-bd43-ff0427571893</DcR_SlideID>
</file>

<file path=customXml/item15.xml><?xml version="1.0" encoding="utf-8"?>
<DcR_SlideID>981b909e-a505-4b8c-84b0-540fb531dc79</DcR_SlideID>
</file>

<file path=customXml/item16.xml><?xml version="1.0" encoding="utf-8"?>
<DcR_SlideID>e534f36f-2dfc-4b08-9d3a-337bb4f74219</DcR_SlideID>
</file>

<file path=customXml/item17.xml><?xml version="1.0" encoding="utf-8"?>
<DcR_SlideID>fefe0bae-817a-4f69-bf04-49bccd2b6357</DcR_SlideID>
</file>

<file path=customXml/item18.xml><?xml version="1.0" encoding="utf-8"?>
<DcR_SlideID>28781599-d1b4-4091-8ecc-455fe8742ae8</DcR_SlideID>
</file>

<file path=customXml/item19.xml><?xml version="1.0" encoding="utf-8"?>
<DcR_SlideID>909171fe-b68e-48f3-af13-9f698ee7cc10</DcR_SlideID>
</file>

<file path=customXml/item2.xml><?xml version="1.0" encoding="utf-8"?>
<DcR_SlideID>b8b65443-f43e-4448-a230-79142af6e63f</DcR_SlideID>
</file>

<file path=customXml/item20.xml><?xml version="1.0" encoding="utf-8"?>
<DcR_SlideID>94410e75-28db-4139-815b-77cf9254b60f</DcR_SlideID>
</file>

<file path=customXml/item21.xml><?xml version="1.0" encoding="utf-8"?>
<DcR_SlideID>72fba399-0505-41b9-9fe3-7aa941ad3a43</DcR_SlideID>
</file>

<file path=customXml/item22.xml><?xml version="1.0" encoding="utf-8"?>
<DcR_SlideID>981b909e-a505-4b8c-84b0-540fb531dc79</DcR_SlideID>
</file>

<file path=customXml/item23.xml><?xml version="1.0" encoding="utf-8"?>
<DcR_SlideID>335696d5-5b1c-46b7-a26a-3fdfe59dd6a6</DcR_SlideID>
</file>

<file path=customXml/item24.xml><?xml version="1.0" encoding="utf-8"?>
<DcR_SlideID>e1e741e4-87db-416a-a87a-bd3ad146398b</DcR_SlideID>
</file>

<file path=customXml/item25.xml><?xml version="1.0" encoding="utf-8"?>
<DcR_SlideID>972d74dd-8aab-436e-b3b2-85c46f4a6d0f</DcR_SlideID>
</file>

<file path=customXml/item26.xml><?xml version="1.0" encoding="utf-8"?>
<DcR_SlideID>c788551d-9a60-4247-ad18-0ddd2fe87deb</DcR_SlideID>
</file>

<file path=customXml/item27.xml><?xml version="1.0" encoding="utf-8"?>
<DcR_SlideID>ffce969d-6e0b-44f7-b6f2-fb77ac5f7ffc</DcR_SlideID>
</file>

<file path=customXml/item28.xml><?xml version="1.0" encoding="utf-8"?>
<DcR_SlideID>cfbae514-7757-4984-a08a-dbd4f4757582</DcR_SlideID>
</file>

<file path=customXml/item29.xml><?xml version="1.0" encoding="utf-8"?>
<DcR_SlideID>624393b1-c122-46e7-8821-1e19287a7ca5</DcR_SlideID>
</file>

<file path=customXml/item3.xml><?xml version="1.0" encoding="utf-8"?>
<DcR_SlideID>ace8de8f-54a1-4d1f-9e54-49f56b6e1cd7</DcR_SlideID>
</file>

<file path=customXml/item30.xml><?xml version="1.0" encoding="utf-8"?>
<DcR_SlideID>ca274660-b6e6-419f-a63d-0633cff53611</DcR_SlideID>
</file>

<file path=customXml/item31.xml><?xml version="1.0" encoding="utf-8"?>
<DcR_SlideID>ee18a143-e1f6-45c3-ba44-cb6d8f49f230</DcR_SlideID>
</file>

<file path=customXml/item32.xml><?xml version="1.0" encoding="utf-8"?>
<DcR_SlideID>e40887e9-5a1d-4d7b-bf55-081391b06e06</DcR_SlideID>
</file>

<file path=customXml/item33.xml><?xml version="1.0" encoding="utf-8"?>
<DcR_SlideID>744dacf9-bc30-48e1-a3bb-2a37151d9292</DcR_SlideID>
</file>

<file path=customXml/item34.xml><?xml version="1.0" encoding="utf-8"?>
<DcR_SlideID>cee28bd4-73b2-416d-8cab-9453159cc4fc</DcR_SlideID>
</file>

<file path=customXml/item35.xml><?xml version="1.0" encoding="utf-8"?>
<DcR_SlideID>8a4b5a62-ba35-4f6d-b5dd-a89750dae290</DcR_SlideID>
</file>

<file path=customXml/item36.xml><?xml version="1.0" encoding="utf-8"?>
<DcR_SlideID>c4e248d0-cec7-4d73-bd77-7ae0a3db58bd</DcR_SlideID>
</file>

<file path=customXml/item37.xml><?xml version="1.0" encoding="utf-8"?>
<DcR_SlideID>a8b8f9f4-20a1-4d0a-979e-477f1aa0231e</DcR_SlideID>
</file>

<file path=customXml/item4.xml><?xml version="1.0" encoding="utf-8"?>
<DcR_SlideID>0dd37571-14b6-4ea3-9d7e-45d08afb2533</DcR_SlideID>
</file>

<file path=customXml/item5.xml><?xml version="1.0" encoding="utf-8"?>
<DcR_SlideID>ab4bf618-3b17-4e7e-a146-2d335ea4eb42</DcR_SlideID>
</file>

<file path=customXml/item6.xml><?xml version="1.0" encoding="utf-8"?>
<DcR_SlideID>e5cc07f8-0186-4cda-9f84-caaf86abaf2d</DcR_SlideID>
</file>

<file path=customXml/item7.xml><?xml version="1.0" encoding="utf-8"?>
<p:properties xmlns:p="http://schemas.microsoft.com/office/2006/metadata/properties" xmlns:xsi="http://www.w3.org/2001/XMLSchema-instance" xmlns:pc="http://schemas.microsoft.com/office/infopath/2007/PartnerControls">
  <documentManagement>
    <_activity xmlns="6ae2becb-1b35-47ed-8600-cadc0c7e851b" xsi:nil="true"/>
  </documentManagement>
</p:properties>
</file>

<file path=customXml/item8.xml><?xml version="1.0" encoding="utf-8"?>
<DcR_SlideID>a711f86e-6379-4ea0-a615-b5a4c665697f</DcR_SlideID>
</file>

<file path=customXml/item9.xml><?xml version="1.0" encoding="utf-8"?>
<DcR_SlideID>e5030261-0e6e-4cc0-b373-2ed36e4316ea</DcR_SlideID>
</file>

<file path=customXml/itemProps1.xml><?xml version="1.0" encoding="utf-8"?>
<ds:datastoreItem xmlns:ds="http://schemas.openxmlformats.org/officeDocument/2006/customXml" ds:itemID="{2706E168-0541-4DDF-BECA-B99E7EBCCF2A}">
  <ds:schemaRefs>
    <ds:schemaRef ds:uri="109aea68-7353-4d73-8710-7f7efb2c2a6f"/>
    <ds:schemaRef ds:uri="6ae2becb-1b35-47ed-8600-cadc0c7e851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10.xml><?xml version="1.0" encoding="utf-8"?>
<ds:datastoreItem xmlns:ds="http://schemas.openxmlformats.org/officeDocument/2006/customXml" ds:itemID="{9FE03659-B436-43B6-8A84-3D1B2E8D5AF8}">
  <ds:schemaRefs/>
</ds:datastoreItem>
</file>

<file path=customXml/itemProps11.xml><?xml version="1.0" encoding="utf-8"?>
<ds:datastoreItem xmlns:ds="http://schemas.openxmlformats.org/officeDocument/2006/customXml" ds:itemID="{2D0C0F16-686D-46B4-840F-972057AEB457}">
  <ds:schemaRefs>
    <ds:schemaRef ds:uri="http://schemas.microsoft.com/sharepoint/v3/contenttype/forms"/>
  </ds:schemaRefs>
</ds:datastoreItem>
</file>

<file path=customXml/itemProps12.xml><?xml version="1.0" encoding="utf-8"?>
<ds:datastoreItem xmlns:ds="http://schemas.openxmlformats.org/officeDocument/2006/customXml" ds:itemID="{C2EEE2AF-60F1-4A1A-A6C2-2633D2D0022D}">
  <ds:schemaRefs/>
</ds:datastoreItem>
</file>

<file path=customXml/itemProps13.xml><?xml version="1.0" encoding="utf-8"?>
<ds:datastoreItem xmlns:ds="http://schemas.openxmlformats.org/officeDocument/2006/customXml" ds:itemID="{03BD4C03-4D49-4D57-810D-AD3715AEBE47}">
  <ds:schemaRefs/>
</ds:datastoreItem>
</file>

<file path=customXml/itemProps14.xml><?xml version="1.0" encoding="utf-8"?>
<ds:datastoreItem xmlns:ds="http://schemas.openxmlformats.org/officeDocument/2006/customXml" ds:itemID="{CF1DC6E5-FE59-412A-8BA9-E8C6CE96BF26}">
  <ds:schemaRefs/>
</ds:datastoreItem>
</file>

<file path=customXml/itemProps15.xml><?xml version="1.0" encoding="utf-8"?>
<ds:datastoreItem xmlns:ds="http://schemas.openxmlformats.org/officeDocument/2006/customXml" ds:itemID="{28CC8965-7865-41AE-AA1A-97F418E26103}">
  <ds:schemaRefs/>
</ds:datastoreItem>
</file>

<file path=customXml/itemProps16.xml><?xml version="1.0" encoding="utf-8"?>
<ds:datastoreItem xmlns:ds="http://schemas.openxmlformats.org/officeDocument/2006/customXml" ds:itemID="{CE6407D0-B4AD-458E-999B-D370CEC2B7FA}">
  <ds:schemaRefs/>
</ds:datastoreItem>
</file>

<file path=customXml/itemProps17.xml><?xml version="1.0" encoding="utf-8"?>
<ds:datastoreItem xmlns:ds="http://schemas.openxmlformats.org/officeDocument/2006/customXml" ds:itemID="{ED3A7CA4-4036-4447-89C1-858225AA60BB}">
  <ds:schemaRefs/>
</ds:datastoreItem>
</file>

<file path=customXml/itemProps18.xml><?xml version="1.0" encoding="utf-8"?>
<ds:datastoreItem xmlns:ds="http://schemas.openxmlformats.org/officeDocument/2006/customXml" ds:itemID="{BE4D2A51-D4D5-47D2-8049-82058923689B}">
  <ds:schemaRefs/>
</ds:datastoreItem>
</file>

<file path=customXml/itemProps19.xml><?xml version="1.0" encoding="utf-8"?>
<ds:datastoreItem xmlns:ds="http://schemas.openxmlformats.org/officeDocument/2006/customXml" ds:itemID="{6D95B0F6-65B3-4B29-88B0-F14CDAAA60B2}">
  <ds:schemaRefs/>
</ds:datastoreItem>
</file>

<file path=customXml/itemProps2.xml><?xml version="1.0" encoding="utf-8"?>
<ds:datastoreItem xmlns:ds="http://schemas.openxmlformats.org/officeDocument/2006/customXml" ds:itemID="{2F720C30-A463-4BBC-8809-6CC0E5C41282}">
  <ds:schemaRefs/>
</ds:datastoreItem>
</file>

<file path=customXml/itemProps20.xml><?xml version="1.0" encoding="utf-8"?>
<ds:datastoreItem xmlns:ds="http://schemas.openxmlformats.org/officeDocument/2006/customXml" ds:itemID="{B15ABA61-5CAB-408C-BFCE-DA3D6C174835}">
  <ds:schemaRefs/>
</ds:datastoreItem>
</file>

<file path=customXml/itemProps21.xml><?xml version="1.0" encoding="utf-8"?>
<ds:datastoreItem xmlns:ds="http://schemas.openxmlformats.org/officeDocument/2006/customXml" ds:itemID="{3F5C45F6-5F13-4536-A9EB-521092225219}">
  <ds:schemaRefs/>
</ds:datastoreItem>
</file>

<file path=customXml/itemProps22.xml><?xml version="1.0" encoding="utf-8"?>
<ds:datastoreItem xmlns:ds="http://schemas.openxmlformats.org/officeDocument/2006/customXml" ds:itemID="{E071B964-18ED-42DD-B366-D8DF79C5243A}">
  <ds:schemaRefs/>
</ds:datastoreItem>
</file>

<file path=customXml/itemProps23.xml><?xml version="1.0" encoding="utf-8"?>
<ds:datastoreItem xmlns:ds="http://schemas.openxmlformats.org/officeDocument/2006/customXml" ds:itemID="{EC80D4D1-ECDC-43B2-9D18-DF1D2DC89413}">
  <ds:schemaRefs/>
</ds:datastoreItem>
</file>

<file path=customXml/itemProps24.xml><?xml version="1.0" encoding="utf-8"?>
<ds:datastoreItem xmlns:ds="http://schemas.openxmlformats.org/officeDocument/2006/customXml" ds:itemID="{22385448-F385-4EFA-842B-E5D7580DC2F7}">
  <ds:schemaRefs/>
</ds:datastoreItem>
</file>

<file path=customXml/itemProps25.xml><?xml version="1.0" encoding="utf-8"?>
<ds:datastoreItem xmlns:ds="http://schemas.openxmlformats.org/officeDocument/2006/customXml" ds:itemID="{8EBB72F0-156C-47FE-B59B-6267D228B95D}">
  <ds:schemaRefs/>
</ds:datastoreItem>
</file>

<file path=customXml/itemProps26.xml><?xml version="1.0" encoding="utf-8"?>
<ds:datastoreItem xmlns:ds="http://schemas.openxmlformats.org/officeDocument/2006/customXml" ds:itemID="{C7569F19-4D20-47B4-AB57-EBD6A0162491}">
  <ds:schemaRefs/>
</ds:datastoreItem>
</file>

<file path=customXml/itemProps27.xml><?xml version="1.0" encoding="utf-8"?>
<ds:datastoreItem xmlns:ds="http://schemas.openxmlformats.org/officeDocument/2006/customXml" ds:itemID="{090D46AB-581B-4B99-A841-A94F749C1957}">
  <ds:schemaRefs/>
</ds:datastoreItem>
</file>

<file path=customXml/itemProps28.xml><?xml version="1.0" encoding="utf-8"?>
<ds:datastoreItem xmlns:ds="http://schemas.openxmlformats.org/officeDocument/2006/customXml" ds:itemID="{DDB15C9D-CD77-4B1A-8543-3442078D736D}">
  <ds:schemaRefs/>
</ds:datastoreItem>
</file>

<file path=customXml/itemProps29.xml><?xml version="1.0" encoding="utf-8"?>
<ds:datastoreItem xmlns:ds="http://schemas.openxmlformats.org/officeDocument/2006/customXml" ds:itemID="{BD591E7E-A9A0-4E32-B3A4-663D451EF98F}">
  <ds:schemaRefs/>
</ds:datastoreItem>
</file>

<file path=customXml/itemProps3.xml><?xml version="1.0" encoding="utf-8"?>
<ds:datastoreItem xmlns:ds="http://schemas.openxmlformats.org/officeDocument/2006/customXml" ds:itemID="{25D36F56-6BB3-4273-BFB3-21E7BBD1E7A7}">
  <ds:schemaRefs/>
</ds:datastoreItem>
</file>

<file path=customXml/itemProps30.xml><?xml version="1.0" encoding="utf-8"?>
<ds:datastoreItem xmlns:ds="http://schemas.openxmlformats.org/officeDocument/2006/customXml" ds:itemID="{7CCFC231-147C-4D05-8D67-FB7034A23F86}">
  <ds:schemaRefs/>
</ds:datastoreItem>
</file>

<file path=customXml/itemProps31.xml><?xml version="1.0" encoding="utf-8"?>
<ds:datastoreItem xmlns:ds="http://schemas.openxmlformats.org/officeDocument/2006/customXml" ds:itemID="{E5E9407C-9B16-4DD5-869C-C42C7ADA4EA9}">
  <ds:schemaRefs/>
</ds:datastoreItem>
</file>

<file path=customXml/itemProps32.xml><?xml version="1.0" encoding="utf-8"?>
<ds:datastoreItem xmlns:ds="http://schemas.openxmlformats.org/officeDocument/2006/customXml" ds:itemID="{CDFBA06C-FFCA-4D36-9DAE-B2B2CEC96EF3}">
  <ds:schemaRefs/>
</ds:datastoreItem>
</file>

<file path=customXml/itemProps33.xml><?xml version="1.0" encoding="utf-8"?>
<ds:datastoreItem xmlns:ds="http://schemas.openxmlformats.org/officeDocument/2006/customXml" ds:itemID="{8E15A070-C3FB-4EAC-8B94-065BC3D8A3B0}">
  <ds:schemaRefs/>
</ds:datastoreItem>
</file>

<file path=customXml/itemProps34.xml><?xml version="1.0" encoding="utf-8"?>
<ds:datastoreItem xmlns:ds="http://schemas.openxmlformats.org/officeDocument/2006/customXml" ds:itemID="{8DB8B7E3-CF7C-4CD6-8327-7C4F65E48269}">
  <ds:schemaRefs/>
</ds:datastoreItem>
</file>

<file path=customXml/itemProps35.xml><?xml version="1.0" encoding="utf-8"?>
<ds:datastoreItem xmlns:ds="http://schemas.openxmlformats.org/officeDocument/2006/customXml" ds:itemID="{1927F6BF-1349-4820-8746-E293E6D08711}">
  <ds:schemaRefs/>
</ds:datastoreItem>
</file>

<file path=customXml/itemProps36.xml><?xml version="1.0" encoding="utf-8"?>
<ds:datastoreItem xmlns:ds="http://schemas.openxmlformats.org/officeDocument/2006/customXml" ds:itemID="{A4A1E698-C6AF-46CC-B3A4-435625B264B3}">
  <ds:schemaRefs/>
</ds:datastoreItem>
</file>

<file path=customXml/itemProps37.xml><?xml version="1.0" encoding="utf-8"?>
<ds:datastoreItem xmlns:ds="http://schemas.openxmlformats.org/officeDocument/2006/customXml" ds:itemID="{4FC076A8-85B3-437E-8118-B8EA4E848297}">
  <ds:schemaRefs/>
</ds:datastoreItem>
</file>

<file path=customXml/itemProps4.xml><?xml version="1.0" encoding="utf-8"?>
<ds:datastoreItem xmlns:ds="http://schemas.openxmlformats.org/officeDocument/2006/customXml" ds:itemID="{0BEAF839-39BD-4210-8326-CB5F84BC77FF}">
  <ds:schemaRefs/>
</ds:datastoreItem>
</file>

<file path=customXml/itemProps5.xml><?xml version="1.0" encoding="utf-8"?>
<ds:datastoreItem xmlns:ds="http://schemas.openxmlformats.org/officeDocument/2006/customXml" ds:itemID="{97D00B80-CA6A-44BE-BB70-734704963587}">
  <ds:schemaRefs/>
</ds:datastoreItem>
</file>

<file path=customXml/itemProps6.xml><?xml version="1.0" encoding="utf-8"?>
<ds:datastoreItem xmlns:ds="http://schemas.openxmlformats.org/officeDocument/2006/customXml" ds:itemID="{38DD86AF-9E2C-409C-BC03-F834AA49855A}">
  <ds:schemaRefs/>
</ds:datastoreItem>
</file>

<file path=customXml/itemProps7.xml><?xml version="1.0" encoding="utf-8"?>
<ds:datastoreItem xmlns:ds="http://schemas.openxmlformats.org/officeDocument/2006/customXml" ds:itemID="{6D5CB940-2B4C-4519-A531-D252B7575F7D}">
  <ds:schemaRefs>
    <ds:schemaRef ds:uri="http://purl.org/dc/elements/1.1/"/>
    <ds:schemaRef ds:uri="http://purl.org/dc/dcmitype/"/>
    <ds:schemaRef ds:uri="http://www.w3.org/XML/1998/namespace"/>
    <ds:schemaRef ds:uri="http://schemas.microsoft.com/office/2006/documentManagement/types"/>
    <ds:schemaRef ds:uri="6ae2becb-1b35-47ed-8600-cadc0c7e851b"/>
    <ds:schemaRef ds:uri="http://purl.org/dc/terms/"/>
    <ds:schemaRef ds:uri="http://schemas.microsoft.com/office/infopath/2007/PartnerControls"/>
    <ds:schemaRef ds:uri="http://schemas.openxmlformats.org/package/2006/metadata/core-properties"/>
    <ds:schemaRef ds:uri="http://schemas.microsoft.com/office/2006/metadata/properties"/>
    <ds:schemaRef ds:uri="109aea68-7353-4d73-8710-7f7efb2c2a6f"/>
  </ds:schemaRefs>
</ds:datastoreItem>
</file>

<file path=customXml/itemProps8.xml><?xml version="1.0" encoding="utf-8"?>
<ds:datastoreItem xmlns:ds="http://schemas.openxmlformats.org/officeDocument/2006/customXml" ds:itemID="{E82A236A-DA97-4530-9618-55E30E4BE914}">
  <ds:schemaRefs/>
</ds:datastoreItem>
</file>

<file path=customXml/itemProps9.xml><?xml version="1.0" encoding="utf-8"?>
<ds:datastoreItem xmlns:ds="http://schemas.openxmlformats.org/officeDocument/2006/customXml" ds:itemID="{4852008C-5D47-4BC1-BCE2-B88C7C8B686D}">
  <ds:schemaRefs/>
</ds:datastoreItem>
</file>

<file path=docProps/app.xml><?xml version="1.0" encoding="utf-8"?>
<Properties xmlns="http://schemas.openxmlformats.org/officeDocument/2006/extended-properties" xmlns:vt="http://schemas.openxmlformats.org/officeDocument/2006/docPropsVTypes">
  <TotalTime>233</TotalTime>
  <Words>2902</Words>
  <Application>Microsoft Office PowerPoint</Application>
  <PresentationFormat>Widescreen</PresentationFormat>
  <Paragraphs>544</Paragraphs>
  <Slides>25</Slides>
  <Notes>19</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41" baseType="lpstr">
      <vt:lpstr>Arial </vt:lpstr>
      <vt:lpstr>Helvetica Neue</vt:lpstr>
      <vt:lpstr>Arial</vt:lpstr>
      <vt:lpstr>Calibri</vt:lpstr>
      <vt:lpstr>Calibri Light</vt:lpstr>
      <vt:lpstr>Georgia</vt:lpstr>
      <vt:lpstr>Times New Roman</vt:lpstr>
      <vt:lpstr>Wingdings</vt:lpstr>
      <vt:lpstr>PwC Smart</vt:lpstr>
      <vt:lpstr>1_PwC Smart</vt:lpstr>
      <vt:lpstr>2_PwC Smart</vt:lpstr>
      <vt:lpstr>3_PwC Smart</vt:lpstr>
      <vt:lpstr>Office Theme</vt:lpstr>
      <vt:lpstr>PwC</vt:lpstr>
      <vt:lpstr>2_PwC</vt:lpstr>
      <vt:lpstr>think-cell Slide</vt:lpstr>
      <vt:lpstr>PowerPoint Presentation</vt:lpstr>
      <vt:lpstr>Agenda for Discussion</vt:lpstr>
      <vt:lpstr>Contents</vt:lpstr>
      <vt:lpstr>PowerPoint Presentation</vt:lpstr>
      <vt:lpstr>Project Background and Progress Update</vt:lpstr>
      <vt:lpstr>Stakeholders and Key Inputs</vt:lpstr>
      <vt:lpstr>PowerPoint Presentation</vt:lpstr>
      <vt:lpstr>Bilateral Trade and Manufacturing Growth in Kazakhstan and Uzbekistan</vt:lpstr>
      <vt:lpstr>Non-Tariff Barriers between Kazakhstan and Uzbekistan</vt:lpstr>
      <vt:lpstr>Rationale for ICIC Development</vt:lpstr>
      <vt:lpstr>PowerPoint Presentation</vt:lpstr>
      <vt:lpstr>Framework for ICIC Concept Plan</vt:lpstr>
      <vt:lpstr>Overview of the Proposed ICIC Site near Atameken (Kazakhstan)-Gulistan (Uzbekistan) Road BCP</vt:lpstr>
      <vt:lpstr>Shortlisted Sectors for ICIC Development</vt:lpstr>
      <vt:lpstr>Fiscal and Non-Fiscal Incentives for Investors</vt:lpstr>
      <vt:lpstr>Institutional Structure for ICIC</vt:lpstr>
      <vt:lpstr>Components for ICIC</vt:lpstr>
      <vt:lpstr>Zoning Plan under Two Proposed Institutional Models</vt:lpstr>
      <vt:lpstr>PowerPoint Presentation</vt:lpstr>
      <vt:lpstr>Financial Assessment</vt:lpstr>
      <vt:lpstr>PowerPoint Presentation</vt:lpstr>
      <vt:lpstr>Infrastructure Investment and Trade Facilitation</vt:lpstr>
      <vt:lpstr>Legal and Regulatory Framework</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ivani Sharma (IN)</dc:creator>
  <cp:lastModifiedBy>Xinglan Hu</cp:lastModifiedBy>
  <cp:revision>21</cp:revision>
  <dcterms:created xsi:type="dcterms:W3CDTF">2023-08-14T05:42:59Z</dcterms:created>
  <dcterms:modified xsi:type="dcterms:W3CDTF">2023-09-05T05:5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F625478DEA614D968EE1EE5C3902FB</vt:lpwstr>
  </property>
  <property fmtid="{D5CDD505-2E9C-101B-9397-08002B2CF9AE}" pid="3" name="MSIP_Label_817d4574-7375-4d17-b29c-6e4c6df0fcb0_Enabled">
    <vt:lpwstr>true</vt:lpwstr>
  </property>
  <property fmtid="{D5CDD505-2E9C-101B-9397-08002B2CF9AE}" pid="4" name="MSIP_Label_817d4574-7375-4d17-b29c-6e4c6df0fcb0_SetDate">
    <vt:lpwstr>2023-09-03T02:57:10Z</vt:lpwstr>
  </property>
  <property fmtid="{D5CDD505-2E9C-101B-9397-08002B2CF9AE}" pid="5" name="MSIP_Label_817d4574-7375-4d17-b29c-6e4c6df0fcb0_Method">
    <vt:lpwstr>Standard</vt:lpwstr>
  </property>
  <property fmtid="{D5CDD505-2E9C-101B-9397-08002B2CF9AE}" pid="6" name="MSIP_Label_817d4574-7375-4d17-b29c-6e4c6df0fcb0_Name">
    <vt:lpwstr>ADB Internal</vt:lpwstr>
  </property>
  <property fmtid="{D5CDD505-2E9C-101B-9397-08002B2CF9AE}" pid="7" name="MSIP_Label_817d4574-7375-4d17-b29c-6e4c6df0fcb0_SiteId">
    <vt:lpwstr>9495d6bb-41c2-4c58-848f-92e52cf3d640</vt:lpwstr>
  </property>
  <property fmtid="{D5CDD505-2E9C-101B-9397-08002B2CF9AE}" pid="8" name="MSIP_Label_817d4574-7375-4d17-b29c-6e4c6df0fcb0_ActionId">
    <vt:lpwstr>1c380188-e3ab-4aec-9df6-26a68a159f13</vt:lpwstr>
  </property>
  <property fmtid="{D5CDD505-2E9C-101B-9397-08002B2CF9AE}" pid="9" name="MSIP_Label_817d4574-7375-4d17-b29c-6e4c6df0fcb0_ContentBits">
    <vt:lpwstr>2</vt:lpwstr>
  </property>
</Properties>
</file>